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5.xml" ContentType="application/vnd.openxmlformats-officedocument.presentationml.tags+xml"/>
  <Override PartName="/ppt/notesSlides/notesSlide44.xml" ContentType="application/vnd.openxmlformats-officedocument.presentationml.notesSlide+xml"/>
  <Override PartName="/ppt/tags/tag6.xml" ContentType="application/vnd.openxmlformats-officedocument.presentationml.tags+xml"/>
  <Override PartName="/ppt/notesSlides/notesSlide45.xml" ContentType="application/vnd.openxmlformats-officedocument.presentationml.notesSlide+xml"/>
  <Override PartName="/ppt/comments/modernComment_135_819D9188.xml" ContentType="application/vnd.ms-powerpoint.comments+xml"/>
  <Override PartName="/ppt/tags/tag7.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8.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 id="2147483676" r:id="rId2"/>
    <p:sldMasterId id="2147483703" r:id="rId3"/>
  </p:sldMasterIdLst>
  <p:notesMasterIdLst>
    <p:notesMasterId r:id="rId63"/>
  </p:notesMasterIdLst>
  <p:sldIdLst>
    <p:sldId id="256" r:id="rId4"/>
    <p:sldId id="257" r:id="rId5"/>
    <p:sldId id="258" r:id="rId6"/>
    <p:sldId id="259" r:id="rId7"/>
    <p:sldId id="260" r:id="rId8"/>
    <p:sldId id="261" r:id="rId9"/>
    <p:sldId id="262" r:id="rId10"/>
    <p:sldId id="263"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 id="276" r:id="rId24"/>
    <p:sldId id="277" r:id="rId25"/>
    <p:sldId id="278" r:id="rId26"/>
    <p:sldId id="279" r:id="rId27"/>
    <p:sldId id="280" r:id="rId28"/>
    <p:sldId id="281" r:id="rId29"/>
    <p:sldId id="282" r:id="rId30"/>
    <p:sldId id="283" r:id="rId31"/>
    <p:sldId id="284" r:id="rId32"/>
    <p:sldId id="285" r:id="rId33"/>
    <p:sldId id="286" r:id="rId34"/>
    <p:sldId id="287" r:id="rId35"/>
    <p:sldId id="288" r:id="rId36"/>
    <p:sldId id="289" r:id="rId37"/>
    <p:sldId id="290" r:id="rId38"/>
    <p:sldId id="291" r:id="rId39"/>
    <p:sldId id="292" r:id="rId40"/>
    <p:sldId id="293" r:id="rId41"/>
    <p:sldId id="294" r:id="rId42"/>
    <p:sldId id="295" r:id="rId43"/>
    <p:sldId id="296" r:id="rId44"/>
    <p:sldId id="297" r:id="rId45"/>
    <p:sldId id="298" r:id="rId46"/>
    <p:sldId id="308" r:id="rId47"/>
    <p:sldId id="309" r:id="rId48"/>
    <p:sldId id="310" r:id="rId49"/>
    <p:sldId id="311" r:id="rId50"/>
    <p:sldId id="312" r:id="rId51"/>
    <p:sldId id="315" r:id="rId52"/>
    <p:sldId id="316" r:id="rId53"/>
    <p:sldId id="299" r:id="rId54"/>
    <p:sldId id="300" r:id="rId55"/>
    <p:sldId id="301" r:id="rId56"/>
    <p:sldId id="302" r:id="rId57"/>
    <p:sldId id="303" r:id="rId58"/>
    <p:sldId id="304" r:id="rId59"/>
    <p:sldId id="305" r:id="rId60"/>
    <p:sldId id="306" r:id="rId61"/>
    <p:sldId id="307" r:id="rId62"/>
  </p:sldIdLst>
  <p:sldSz cx="12192000" cy="6858000"/>
  <p:notesSz cx="6858000" cy="9144000"/>
  <p:embeddedFontLst>
    <p:embeddedFont>
      <p:font typeface="Calibri" panose="020F0502020204030204" pitchFamily="34" charset="0"/>
      <p:regular r:id="rId64"/>
      <p:bold r:id="rId65"/>
      <p:italic r:id="rId66"/>
      <p:boldItalic r:id="rId67"/>
    </p:embeddedFont>
    <p:embeddedFont>
      <p:font typeface="Franklin Gothic" panose="020B0604020202020204" charset="0"/>
      <p:bold r:id="rId68"/>
    </p:embeddedFont>
    <p:embeddedFont>
      <p:font typeface="Lato" panose="020F0502020204030203" pitchFamily="34" charset="0"/>
      <p:regular r:id="rId69"/>
      <p:bold r:id="rId70"/>
      <p:italic r:id="rId71"/>
      <p:boldItalic r:id="rId72"/>
    </p:embeddedFont>
    <p:embeddedFont>
      <p:font typeface="Lato Black" panose="020F0502020204030203" pitchFamily="34" charset="0"/>
      <p:bold r:id="rId73"/>
      <p:boldItalic r:id="rId74"/>
    </p:embeddedFont>
    <p:embeddedFont>
      <p:font typeface="Libre Franklin" pitchFamily="2" charset="0"/>
      <p:regular r:id="rId75"/>
      <p:bold r:id="rId76"/>
      <p:italic r:id="rId77"/>
      <p:boldItalic r:id="rId78"/>
    </p:embeddedFont>
    <p:embeddedFont>
      <p:font typeface="Noto Sans Symbols" panose="020B0604020202020204" charset="0"/>
      <p:regular r:id="rId79"/>
    </p:embeddedFont>
    <p:embeddedFont>
      <p:font typeface="Trebuchet MS" panose="020B0603020202020204" pitchFamily="34" charset="0"/>
      <p:regular r:id="rId80"/>
      <p:bold r:id="rId81"/>
      <p:italic r:id="rId82"/>
      <p:boldItalic r:id="rId83"/>
    </p:embeddedFont>
  </p:embeddedFontLst>
  <p:custDataLst>
    <p:tags r:id="rId8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85" roundtripDataSignature="AMtx7mh5WaOC4DUZ5+b+TgGGUwPFDILQCQ=="/>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7D791D-E184-DA20-C4F8-8A00B79EF1D7}" name="Casa 2" initials="C2" userId="S::casa2@infomineo.onmicrosoft.com::d7e8ebbf-1ff4-46f1-9a57-24baf09ba88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47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410035E7-BAF8-4B9D-805A-DB07596FDFCD}">
  <a:tblStyle styleId="{410035E7-BAF8-4B9D-805A-DB07596FDFCD}" styleName="Table_0">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6F3FF"/>
          </a:solidFill>
        </a:fill>
      </a:tcStyle>
    </a:wholeTbl>
    <a:band1H>
      <a:tcTxStyle b="off" i="off"/>
      <a:tcStyle>
        <a:tcBdr/>
        <a:fill>
          <a:solidFill>
            <a:srgbClr val="CAE6FF"/>
          </a:solidFill>
        </a:fill>
      </a:tcStyle>
    </a:band1H>
    <a:band2H>
      <a:tcTxStyle b="off" i="off"/>
      <a:tcStyle>
        <a:tcBdr/>
      </a:tcStyle>
    </a:band2H>
    <a:band1V>
      <a:tcTxStyle b="off" i="off"/>
      <a:tcStyle>
        <a:tcBdr/>
        <a:fill>
          <a:solidFill>
            <a:srgbClr val="CAE6FF"/>
          </a:solidFill>
        </a:fill>
      </a:tcStyle>
    </a:band1V>
    <a:band2V>
      <a:tcTxStyle b="off" i="off"/>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b="off" i="off"/>
      <a:tcStyle>
        <a:tcBdr/>
      </a:tcStyle>
    </a:seCell>
    <a:swCell>
      <a:tcTxStyle b="off" i="off"/>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b="off" i="off"/>
      <a:tcStyle>
        <a:tcBdr/>
      </a:tcStyle>
    </a:neCell>
    <a:nwCell>
      <a:tcTxStyle b="off" i="off"/>
      <a:tcStyle>
        <a:tcBdr/>
      </a:tcStyle>
    </a:nwCell>
  </a:tblStyle>
  <a:tblStyle styleId="{3149A09B-1AD0-4F29-9B92-C1F1A84BDCC0}" styleName="Table_1">
    <a:wholeTbl>
      <a:tcTxStyle b="off" i="off">
        <a:font>
          <a:latin typeface="Arial"/>
          <a:ea typeface="Arial"/>
          <a:cs typeface="Arial"/>
        </a:font>
        <a:srgbClr val="000000"/>
      </a:tcTxStyle>
      <a:tcStyle>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0" d="100"/>
          <a:sy n="100" d="100"/>
        </p:scale>
        <p:origin x="954"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notesMaster" Target="notesMasters/notesMaster1.xml"/><Relationship Id="rId68" Type="http://schemas.openxmlformats.org/officeDocument/2006/relationships/font" Target="fonts/font5.fntdata"/><Relationship Id="rId84" Type="http://schemas.openxmlformats.org/officeDocument/2006/relationships/tags" Target="tags/tag1.xml"/><Relationship Id="rId89" Type="http://schemas.openxmlformats.org/officeDocument/2006/relationships/tableStyles" Target="tableStyles.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font" Target="fonts/font11.fntdata"/><Relationship Id="rId79" Type="http://schemas.openxmlformats.org/officeDocument/2006/relationships/font" Target="fonts/font16.fntdata"/><Relationship Id="rId5" Type="http://schemas.openxmlformats.org/officeDocument/2006/relationships/slide" Target="slides/slide2.xml"/><Relationship Id="rId90" Type="http://schemas.microsoft.com/office/2018/10/relationships/authors" Target="authors.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font" Target="fonts/font1.fntdata"/><Relationship Id="rId69" Type="http://schemas.openxmlformats.org/officeDocument/2006/relationships/font" Target="fonts/font6.fntdata"/><Relationship Id="rId77" Type="http://schemas.openxmlformats.org/officeDocument/2006/relationships/font" Target="fonts/font14.fntdata"/><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font" Target="fonts/font9.fntdata"/><Relationship Id="rId80" Type="http://schemas.openxmlformats.org/officeDocument/2006/relationships/font" Target="fonts/font17.fntdata"/><Relationship Id="rId85" Type="http://customschemas.google.com/relationships/presentationmetadata" Target="metadata"/><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font" Target="fonts/font4.fntdata"/><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font" Target="fonts/font7.fntdata"/><Relationship Id="rId75" Type="http://schemas.openxmlformats.org/officeDocument/2006/relationships/font" Target="fonts/font12.fntdata"/><Relationship Id="rId83" Type="http://schemas.openxmlformats.org/officeDocument/2006/relationships/font" Target="fonts/font20.fntdata"/><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font" Target="fonts/font2.fntdata"/><Relationship Id="rId73" Type="http://schemas.openxmlformats.org/officeDocument/2006/relationships/font" Target="fonts/font10.fntdata"/><Relationship Id="rId78" Type="http://schemas.openxmlformats.org/officeDocument/2006/relationships/font" Target="fonts/font15.fntdata"/><Relationship Id="rId81" Type="http://schemas.openxmlformats.org/officeDocument/2006/relationships/font" Target="fonts/font18.fntdata"/><Relationship Id="rId86"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font" Target="fonts/font13.fntdata"/><Relationship Id="rId7" Type="http://schemas.openxmlformats.org/officeDocument/2006/relationships/slide" Target="slides/slide4.xml"/><Relationship Id="rId71" Type="http://schemas.openxmlformats.org/officeDocument/2006/relationships/font" Target="fonts/font8.fntdata"/><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font" Target="fonts/font3.fntdata"/><Relationship Id="rId87" Type="http://schemas.openxmlformats.org/officeDocument/2006/relationships/viewProps" Target="viewProps.xml"/><Relationship Id="rId61" Type="http://schemas.openxmlformats.org/officeDocument/2006/relationships/slide" Target="slides/slide58.xml"/><Relationship Id="rId82" Type="http://schemas.openxmlformats.org/officeDocument/2006/relationships/font" Target="fonts/font19.fntdata"/><Relationship Id="rId19" Type="http://schemas.openxmlformats.org/officeDocument/2006/relationships/slide" Target="slides/slide1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067376405440109E-2"/>
          <c:y val="6.3406907131801943E-2"/>
          <c:w val="0.89424499850915251"/>
          <c:h val="0.71541327959405054"/>
        </c:manualLayout>
      </c:layout>
      <c:lineChart>
        <c:grouping val="standard"/>
        <c:varyColors val="0"/>
        <c:ser>
          <c:idx val="0"/>
          <c:order val="0"/>
          <c:tx>
            <c:strRef>
              <c:f>Sheet1!$B$1</c:f>
              <c:strCache>
                <c:ptCount val="1"/>
                <c:pt idx="0">
                  <c:v>FTE</c:v>
                </c:pt>
              </c:strCache>
            </c:strRef>
          </c:tx>
          <c:spPr>
            <a:ln w="28575" cap="rnd">
              <a:solidFill>
                <a:schemeClr val="accent1"/>
              </a:solidFill>
              <a:round/>
            </a:ln>
            <a:effectLst/>
          </c:spPr>
          <c:marker>
            <c:symbol val="none"/>
          </c:marker>
          <c:cat>
            <c:numRef>
              <c:f>Sheet1!$A$2:$A$12</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Sheet1!$B$2:$B$12</c:f>
              <c:numCache>
                <c:formatCode>General</c:formatCode>
                <c:ptCount val="11"/>
                <c:pt idx="0">
                  <c:v>4</c:v>
                </c:pt>
                <c:pt idx="1">
                  <c:v>5</c:v>
                </c:pt>
                <c:pt idx="2">
                  <c:v>7</c:v>
                </c:pt>
                <c:pt idx="3">
                  <c:v>13</c:v>
                </c:pt>
                <c:pt idx="4">
                  <c:v>15</c:v>
                </c:pt>
                <c:pt idx="5">
                  <c:v>17</c:v>
                </c:pt>
                <c:pt idx="6">
                  <c:v>19</c:v>
                </c:pt>
                <c:pt idx="7">
                  <c:v>20</c:v>
                </c:pt>
                <c:pt idx="8">
                  <c:v>22</c:v>
                </c:pt>
                <c:pt idx="9">
                  <c:v>39</c:v>
                </c:pt>
                <c:pt idx="10">
                  <c:v>53</c:v>
                </c:pt>
              </c:numCache>
            </c:numRef>
          </c:val>
          <c:smooth val="0"/>
          <c:extLst>
            <c:ext xmlns:c16="http://schemas.microsoft.com/office/drawing/2014/chart" uri="{C3380CC4-5D6E-409C-BE32-E72D297353CC}">
              <c16:uniqueId val="{00000000-1F42-4694-A4D0-B5C915572C45}"/>
            </c:ext>
          </c:extLst>
        </c:ser>
        <c:dLbls>
          <c:showLegendKey val="0"/>
          <c:showVal val="0"/>
          <c:showCatName val="0"/>
          <c:showSerName val="0"/>
          <c:showPercent val="0"/>
          <c:showBubbleSize val="0"/>
        </c:dLbls>
        <c:smooth val="0"/>
        <c:axId val="997189423"/>
        <c:axId val="997166127"/>
      </c:lineChart>
      <c:catAx>
        <c:axId val="9971894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800" b="1" i="0" u="none" strike="noStrike" kern="1200" baseline="0">
                <a:solidFill>
                  <a:schemeClr val="tx1"/>
                </a:solidFill>
                <a:latin typeface="Verdana" panose="020B0604030504040204" pitchFamily="34" charset="0"/>
                <a:ea typeface="Verdana" panose="020B0604030504040204" pitchFamily="34" charset="0"/>
                <a:cs typeface="+mn-cs"/>
              </a:defRPr>
            </a:pPr>
            <a:endParaRPr lang="en-US"/>
          </a:p>
        </c:txPr>
        <c:crossAx val="997166127"/>
        <c:crosses val="autoZero"/>
        <c:auto val="1"/>
        <c:lblAlgn val="ctr"/>
        <c:lblOffset val="100"/>
        <c:noMultiLvlLbl val="0"/>
      </c:catAx>
      <c:valAx>
        <c:axId val="997166127"/>
        <c:scaling>
          <c:orientation val="minMax"/>
          <c:max val="6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1" i="0" u="none" strike="noStrike" kern="1200" baseline="0">
                <a:solidFill>
                  <a:schemeClr val="tx1"/>
                </a:solidFill>
                <a:latin typeface="Verdana" panose="020B0604030504040204" pitchFamily="34" charset="0"/>
                <a:ea typeface="Verdana" panose="020B0604030504040204" pitchFamily="34" charset="0"/>
                <a:cs typeface="+mn-cs"/>
              </a:defRPr>
            </a:pPr>
            <a:endParaRPr lang="en-US"/>
          </a:p>
        </c:txPr>
        <c:crossAx val="9971894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1">
          <a:solidFill>
            <a:schemeClr val="tx1"/>
          </a:solidFill>
          <a:latin typeface="Verdana" panose="020B0604030504040204" pitchFamily="34" charset="0"/>
          <a:ea typeface="Verdana" panose="020B060403050404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35_819D9188.xml><?xml version="1.0" encoding="utf-8"?>
<p188:cmLst xmlns:a="http://schemas.openxmlformats.org/drawingml/2006/main" xmlns:r="http://schemas.openxmlformats.org/officeDocument/2006/relationships" xmlns:p188="http://schemas.microsoft.com/office/powerpoint/2018/8/main">
  <p188:cm id="{F0C57567-2D26-4D99-AA84-29117828EF47}" authorId="{947D791D-E184-DA20-C4F8-8A00B79EF1D7}" created="2023-01-17T11:08:01.003">
    <pc:sldMkLst xmlns:pc="http://schemas.microsoft.com/office/powerpoint/2013/main/command">
      <pc:docMk/>
      <pc:sldMk cId="2174587272" sldId="309"/>
    </pc:sldMkLst>
    <p188:txBody>
      <a:bodyPr/>
      <a:lstStyle/>
      <a:p>
        <a:r>
          <a:rPr lang="en-US"/>
          <a:t>Not sure it is true</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8"/>
        <p:cNvGrpSpPr/>
        <p:nvPr/>
      </p:nvGrpSpPr>
      <p:grpSpPr>
        <a:xfrm>
          <a:off x="0" y="0"/>
          <a:ext cx="0" cy="0"/>
          <a:chOff x="0" y="0"/>
          <a:chExt cx="0" cy="0"/>
        </a:xfrm>
      </p:grpSpPr>
      <p:sp>
        <p:nvSpPr>
          <p:cNvPr id="1079" name="Google Shape;1079;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80" name="Google Shape;1080;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81" name="Google Shape;1081;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3"/>
        <p:cNvGrpSpPr/>
        <p:nvPr/>
      </p:nvGrpSpPr>
      <p:grpSpPr>
        <a:xfrm>
          <a:off x="0" y="0"/>
          <a:ext cx="0" cy="0"/>
          <a:chOff x="0" y="0"/>
          <a:chExt cx="0" cy="0"/>
        </a:xfrm>
      </p:grpSpPr>
      <p:sp>
        <p:nvSpPr>
          <p:cNvPr id="1404" name="Google Shape;1404;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05" name="Google Shape;1405;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9"/>
        <p:cNvGrpSpPr/>
        <p:nvPr/>
      </p:nvGrpSpPr>
      <p:grpSpPr>
        <a:xfrm>
          <a:off x="0" y="0"/>
          <a:ext cx="0" cy="0"/>
          <a:chOff x="0" y="0"/>
          <a:chExt cx="0" cy="0"/>
        </a:xfrm>
      </p:grpSpPr>
      <p:sp>
        <p:nvSpPr>
          <p:cNvPr id="1450" name="Google Shape;1450;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51" name="Google Shape;1451;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5"/>
        <p:cNvGrpSpPr/>
        <p:nvPr/>
      </p:nvGrpSpPr>
      <p:grpSpPr>
        <a:xfrm>
          <a:off x="0" y="0"/>
          <a:ext cx="0" cy="0"/>
          <a:chOff x="0" y="0"/>
          <a:chExt cx="0" cy="0"/>
        </a:xfrm>
      </p:grpSpPr>
      <p:sp>
        <p:nvSpPr>
          <p:cNvPr id="1506" name="Google Shape;1506;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07" name="Google Shape;1507;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8"/>
        <p:cNvGrpSpPr/>
        <p:nvPr/>
      </p:nvGrpSpPr>
      <p:grpSpPr>
        <a:xfrm>
          <a:off x="0" y="0"/>
          <a:ext cx="0" cy="0"/>
          <a:chOff x="0" y="0"/>
          <a:chExt cx="0" cy="0"/>
        </a:xfrm>
      </p:grpSpPr>
      <p:sp>
        <p:nvSpPr>
          <p:cNvPr id="1539" name="Google Shape;1539;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40" name="Google Shape;1540;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5"/>
        <p:cNvGrpSpPr/>
        <p:nvPr/>
      </p:nvGrpSpPr>
      <p:grpSpPr>
        <a:xfrm>
          <a:off x="0" y="0"/>
          <a:ext cx="0" cy="0"/>
          <a:chOff x="0" y="0"/>
          <a:chExt cx="0" cy="0"/>
        </a:xfrm>
      </p:grpSpPr>
      <p:sp>
        <p:nvSpPr>
          <p:cNvPr id="1586" name="Google Shape;1586;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87" name="Google Shape;1587;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1"/>
        <p:cNvGrpSpPr/>
        <p:nvPr/>
      </p:nvGrpSpPr>
      <p:grpSpPr>
        <a:xfrm>
          <a:off x="0" y="0"/>
          <a:ext cx="0" cy="0"/>
          <a:chOff x="0" y="0"/>
          <a:chExt cx="0" cy="0"/>
        </a:xfrm>
      </p:grpSpPr>
      <p:sp>
        <p:nvSpPr>
          <p:cNvPr id="1632" name="Google Shape;1632;p7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33" name="Google Shape;1633;p7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SzPts val="1400"/>
              <a:buNone/>
            </a:pPr>
            <a:endParaRPr/>
          </a:p>
        </p:txBody>
      </p:sp>
      <p:sp>
        <p:nvSpPr>
          <p:cNvPr id="1634" name="Google Shape;1634;p7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5</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3"/>
        <p:cNvGrpSpPr/>
        <p:nvPr/>
      </p:nvGrpSpPr>
      <p:grpSpPr>
        <a:xfrm>
          <a:off x="0" y="0"/>
          <a:ext cx="0" cy="0"/>
          <a:chOff x="0" y="0"/>
          <a:chExt cx="0" cy="0"/>
        </a:xfrm>
      </p:grpSpPr>
      <p:sp>
        <p:nvSpPr>
          <p:cNvPr id="1844" name="Google Shape;1844;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845" name="Google Shape;1845;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7"/>
        <p:cNvGrpSpPr/>
        <p:nvPr/>
      </p:nvGrpSpPr>
      <p:grpSpPr>
        <a:xfrm>
          <a:off x="0" y="0"/>
          <a:ext cx="0" cy="0"/>
          <a:chOff x="0" y="0"/>
          <a:chExt cx="0" cy="0"/>
        </a:xfrm>
      </p:grpSpPr>
      <p:sp>
        <p:nvSpPr>
          <p:cNvPr id="1968" name="Google Shape;1968;p7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969" name="Google Shape;1969;p7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73"/>
        <p:cNvGrpSpPr/>
        <p:nvPr/>
      </p:nvGrpSpPr>
      <p:grpSpPr>
        <a:xfrm>
          <a:off x="0" y="0"/>
          <a:ext cx="0" cy="0"/>
          <a:chOff x="0" y="0"/>
          <a:chExt cx="0" cy="0"/>
        </a:xfrm>
      </p:grpSpPr>
      <p:sp>
        <p:nvSpPr>
          <p:cNvPr id="1974" name="Google Shape;1974;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975" name="Google Shape;1975;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7"/>
        <p:cNvGrpSpPr/>
        <p:nvPr/>
      </p:nvGrpSpPr>
      <p:grpSpPr>
        <a:xfrm>
          <a:off x="0" y="0"/>
          <a:ext cx="0" cy="0"/>
          <a:chOff x="0" y="0"/>
          <a:chExt cx="0" cy="0"/>
        </a:xfrm>
      </p:grpSpPr>
      <p:sp>
        <p:nvSpPr>
          <p:cNvPr id="1988" name="Google Shape;1988;p1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989" name="Google Shape;1989;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4"/>
        <p:cNvGrpSpPr/>
        <p:nvPr/>
      </p:nvGrpSpPr>
      <p:grpSpPr>
        <a:xfrm>
          <a:off x="0" y="0"/>
          <a:ext cx="0" cy="0"/>
          <a:chOff x="0" y="0"/>
          <a:chExt cx="0" cy="0"/>
        </a:xfrm>
      </p:grpSpPr>
      <p:sp>
        <p:nvSpPr>
          <p:cNvPr id="1085" name="Google Shape;1085;p7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86" name="Google Shape;1086;p7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18"/>
        <p:cNvGrpSpPr/>
        <p:nvPr/>
      </p:nvGrpSpPr>
      <p:grpSpPr>
        <a:xfrm>
          <a:off x="0" y="0"/>
          <a:ext cx="0" cy="0"/>
          <a:chOff x="0" y="0"/>
          <a:chExt cx="0" cy="0"/>
        </a:xfrm>
      </p:grpSpPr>
      <p:sp>
        <p:nvSpPr>
          <p:cNvPr id="2019" name="Google Shape;2019;p1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020" name="Google Shape;2020;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54"/>
        <p:cNvGrpSpPr/>
        <p:nvPr/>
      </p:nvGrpSpPr>
      <p:grpSpPr>
        <a:xfrm>
          <a:off x="0" y="0"/>
          <a:ext cx="0" cy="0"/>
          <a:chOff x="0" y="0"/>
          <a:chExt cx="0" cy="0"/>
        </a:xfrm>
      </p:grpSpPr>
      <p:sp>
        <p:nvSpPr>
          <p:cNvPr id="2055" name="Google Shape;2055;p17:notes"/>
          <p:cNvSpPr>
            <a:spLocks noGrp="1" noRot="1" noChangeAspect="1"/>
          </p:cNvSpPr>
          <p:nvPr>
            <p:ph type="sldImg" idx="2"/>
          </p:nvPr>
        </p:nvSpPr>
        <p:spPr>
          <a:xfrm>
            <a:off x="155575" y="574675"/>
            <a:ext cx="6621463" cy="37242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56" name="Google Shape;2056;p1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endParaRPr/>
          </a:p>
        </p:txBody>
      </p:sp>
      <p:sp>
        <p:nvSpPr>
          <p:cNvPr id="2057" name="Google Shape;2057;p1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r>
              <a:rPr lang="en-US"/>
              <a:t>Notes view: </a:t>
            </a:r>
            <a:fld id="{00000000-1234-1234-1234-123412341234}" type="slidenum">
              <a:rPr lang="en-US"/>
              <a:t>21</a:t>
            </a:fld>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2"/>
        <p:cNvGrpSpPr/>
        <p:nvPr/>
      </p:nvGrpSpPr>
      <p:grpSpPr>
        <a:xfrm>
          <a:off x="0" y="0"/>
          <a:ext cx="0" cy="0"/>
          <a:chOff x="0" y="0"/>
          <a:chExt cx="0" cy="0"/>
        </a:xfrm>
      </p:grpSpPr>
      <p:sp>
        <p:nvSpPr>
          <p:cNvPr id="2073" name="Google Shape;2073;p18:notes"/>
          <p:cNvSpPr>
            <a:spLocks noGrp="1" noRot="1" noChangeAspect="1"/>
          </p:cNvSpPr>
          <p:nvPr>
            <p:ph type="sldImg" idx="2"/>
          </p:nvPr>
        </p:nvSpPr>
        <p:spPr>
          <a:xfrm>
            <a:off x="155575" y="574675"/>
            <a:ext cx="6621463" cy="37242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74" name="Google Shape;2074;p1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endParaRPr/>
          </a:p>
        </p:txBody>
      </p:sp>
      <p:sp>
        <p:nvSpPr>
          <p:cNvPr id="2075" name="Google Shape;2075;p1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r>
              <a:rPr lang="en-US"/>
              <a:t>Notes view: </a:t>
            </a:r>
            <a:fld id="{00000000-1234-1234-1234-123412341234}" type="slidenum">
              <a:rPr lang="en-US"/>
              <a:t>22</a:t>
            </a:fld>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9"/>
        <p:cNvGrpSpPr/>
        <p:nvPr/>
      </p:nvGrpSpPr>
      <p:grpSpPr>
        <a:xfrm>
          <a:off x="0" y="0"/>
          <a:ext cx="0" cy="0"/>
          <a:chOff x="0" y="0"/>
          <a:chExt cx="0" cy="0"/>
        </a:xfrm>
      </p:grpSpPr>
      <p:sp>
        <p:nvSpPr>
          <p:cNvPr id="2100" name="Google Shape;2100;p19:notes"/>
          <p:cNvSpPr>
            <a:spLocks noGrp="1" noRot="1" noChangeAspect="1"/>
          </p:cNvSpPr>
          <p:nvPr>
            <p:ph type="sldImg" idx="2"/>
          </p:nvPr>
        </p:nvSpPr>
        <p:spPr>
          <a:xfrm>
            <a:off x="155575" y="574675"/>
            <a:ext cx="6621463" cy="37242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01" name="Google Shape;2101;p1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endParaRPr/>
          </a:p>
        </p:txBody>
      </p:sp>
      <p:sp>
        <p:nvSpPr>
          <p:cNvPr id="2102" name="Google Shape;2102;p1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r>
              <a:rPr lang="en-US"/>
              <a:t>Notes view: </a:t>
            </a:r>
            <a:fld id="{00000000-1234-1234-1234-123412341234}" type="slidenum">
              <a:rPr lang="en-US"/>
              <a:t>23</a:t>
            </a:fld>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15"/>
        <p:cNvGrpSpPr/>
        <p:nvPr/>
      </p:nvGrpSpPr>
      <p:grpSpPr>
        <a:xfrm>
          <a:off x="0" y="0"/>
          <a:ext cx="0" cy="0"/>
          <a:chOff x="0" y="0"/>
          <a:chExt cx="0" cy="0"/>
        </a:xfrm>
      </p:grpSpPr>
      <p:sp>
        <p:nvSpPr>
          <p:cNvPr id="2116" name="Google Shape;2116;p20:notes"/>
          <p:cNvSpPr>
            <a:spLocks noGrp="1" noRot="1" noChangeAspect="1"/>
          </p:cNvSpPr>
          <p:nvPr>
            <p:ph type="sldImg" idx="2"/>
          </p:nvPr>
        </p:nvSpPr>
        <p:spPr>
          <a:xfrm>
            <a:off x="155575" y="574675"/>
            <a:ext cx="6621463" cy="37242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17" name="Google Shape;2117;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endParaRPr/>
          </a:p>
        </p:txBody>
      </p:sp>
      <p:sp>
        <p:nvSpPr>
          <p:cNvPr id="2118" name="Google Shape;2118;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r>
              <a:rPr lang="en-US"/>
              <a:t>Notes view: </a:t>
            </a:r>
            <a:fld id="{00000000-1234-1234-1234-123412341234}" type="slidenum">
              <a:rPr lang="en-US"/>
              <a:t>24</a:t>
            </a:fld>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1"/>
        <p:cNvGrpSpPr/>
        <p:nvPr/>
      </p:nvGrpSpPr>
      <p:grpSpPr>
        <a:xfrm>
          <a:off x="0" y="0"/>
          <a:ext cx="0" cy="0"/>
          <a:chOff x="0" y="0"/>
          <a:chExt cx="0" cy="0"/>
        </a:xfrm>
      </p:grpSpPr>
      <p:sp>
        <p:nvSpPr>
          <p:cNvPr id="2142" name="Google Shape;2142;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143" name="Google Shape;2143;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6"/>
        <p:cNvGrpSpPr/>
        <p:nvPr/>
      </p:nvGrpSpPr>
      <p:grpSpPr>
        <a:xfrm>
          <a:off x="0" y="0"/>
          <a:ext cx="0" cy="0"/>
          <a:chOff x="0" y="0"/>
          <a:chExt cx="0" cy="0"/>
        </a:xfrm>
      </p:grpSpPr>
      <p:sp>
        <p:nvSpPr>
          <p:cNvPr id="2157" name="Google Shape;2157;p22:notes"/>
          <p:cNvSpPr>
            <a:spLocks noGrp="1" noRot="1" noChangeAspect="1"/>
          </p:cNvSpPr>
          <p:nvPr>
            <p:ph type="sldImg" idx="2"/>
          </p:nvPr>
        </p:nvSpPr>
        <p:spPr>
          <a:xfrm>
            <a:off x="155575" y="574675"/>
            <a:ext cx="6621463" cy="37242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58" name="Google Shape;2158;p2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159" name="Google Shape;2159;p2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6</a:t>
            </a:fld>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75"/>
        <p:cNvGrpSpPr/>
        <p:nvPr/>
      </p:nvGrpSpPr>
      <p:grpSpPr>
        <a:xfrm>
          <a:off x="0" y="0"/>
          <a:ext cx="0" cy="0"/>
          <a:chOff x="0" y="0"/>
          <a:chExt cx="0" cy="0"/>
        </a:xfrm>
      </p:grpSpPr>
      <p:sp>
        <p:nvSpPr>
          <p:cNvPr id="2176" name="Google Shape;2176;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177" name="Google Shape;2177;p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86"/>
        <p:cNvGrpSpPr/>
        <p:nvPr/>
      </p:nvGrpSpPr>
      <p:grpSpPr>
        <a:xfrm>
          <a:off x="0" y="0"/>
          <a:ext cx="0" cy="0"/>
          <a:chOff x="0" y="0"/>
          <a:chExt cx="0" cy="0"/>
        </a:xfrm>
      </p:grpSpPr>
      <p:sp>
        <p:nvSpPr>
          <p:cNvPr id="2187" name="Google Shape;2187;p2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188" name="Google Shape;2188;p2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97"/>
        <p:cNvGrpSpPr/>
        <p:nvPr/>
      </p:nvGrpSpPr>
      <p:grpSpPr>
        <a:xfrm>
          <a:off x="0" y="0"/>
          <a:ext cx="0" cy="0"/>
          <a:chOff x="0" y="0"/>
          <a:chExt cx="0" cy="0"/>
        </a:xfrm>
      </p:grpSpPr>
      <p:sp>
        <p:nvSpPr>
          <p:cNvPr id="2198" name="Google Shape;2198;p2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199" name="Google Shape;2199;p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3"/>
        <p:cNvGrpSpPr/>
        <p:nvPr/>
      </p:nvGrpSpPr>
      <p:grpSpPr>
        <a:xfrm>
          <a:off x="0" y="0"/>
          <a:ext cx="0" cy="0"/>
          <a:chOff x="0" y="0"/>
          <a:chExt cx="0" cy="0"/>
        </a:xfrm>
      </p:grpSpPr>
      <p:sp>
        <p:nvSpPr>
          <p:cNvPr id="1114" name="Google Shape;1114;p7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15" name="Google Shape;1115;p7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2"/>
        <p:cNvGrpSpPr/>
        <p:nvPr/>
      </p:nvGrpSpPr>
      <p:grpSpPr>
        <a:xfrm>
          <a:off x="0" y="0"/>
          <a:ext cx="0" cy="0"/>
          <a:chOff x="0" y="0"/>
          <a:chExt cx="0" cy="0"/>
        </a:xfrm>
      </p:grpSpPr>
      <p:sp>
        <p:nvSpPr>
          <p:cNvPr id="2323" name="Google Shape;2323;p7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324" name="Google Shape;2324;p7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8"/>
        <p:cNvGrpSpPr/>
        <p:nvPr/>
      </p:nvGrpSpPr>
      <p:grpSpPr>
        <a:xfrm>
          <a:off x="0" y="0"/>
          <a:ext cx="0" cy="0"/>
          <a:chOff x="0" y="0"/>
          <a:chExt cx="0" cy="0"/>
        </a:xfrm>
      </p:grpSpPr>
      <p:sp>
        <p:nvSpPr>
          <p:cNvPr id="2329" name="Google Shape;2329;p2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330" name="Google Shape;2330;p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2"/>
        <p:cNvGrpSpPr/>
        <p:nvPr/>
      </p:nvGrpSpPr>
      <p:grpSpPr>
        <a:xfrm>
          <a:off x="0" y="0"/>
          <a:ext cx="0" cy="0"/>
          <a:chOff x="0" y="0"/>
          <a:chExt cx="0" cy="0"/>
        </a:xfrm>
      </p:grpSpPr>
      <p:sp>
        <p:nvSpPr>
          <p:cNvPr id="2353" name="Google Shape;2353;p2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354" name="Google Shape;2354;p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4"/>
        <p:cNvGrpSpPr/>
        <p:nvPr/>
      </p:nvGrpSpPr>
      <p:grpSpPr>
        <a:xfrm>
          <a:off x="0" y="0"/>
          <a:ext cx="0" cy="0"/>
          <a:chOff x="0" y="0"/>
          <a:chExt cx="0" cy="0"/>
        </a:xfrm>
      </p:grpSpPr>
      <p:sp>
        <p:nvSpPr>
          <p:cNvPr id="2385" name="Google Shape;2385;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386" name="Google Shape;2386;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0"/>
        <p:cNvGrpSpPr/>
        <p:nvPr/>
      </p:nvGrpSpPr>
      <p:grpSpPr>
        <a:xfrm>
          <a:off x="0" y="0"/>
          <a:ext cx="0" cy="0"/>
          <a:chOff x="0" y="0"/>
          <a:chExt cx="0" cy="0"/>
        </a:xfrm>
      </p:grpSpPr>
      <p:sp>
        <p:nvSpPr>
          <p:cNvPr id="2431" name="Google Shape;2431;p2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432" name="Google Shape;2432;p2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81"/>
        <p:cNvGrpSpPr/>
        <p:nvPr/>
      </p:nvGrpSpPr>
      <p:grpSpPr>
        <a:xfrm>
          <a:off x="0" y="0"/>
          <a:ext cx="0" cy="0"/>
          <a:chOff x="0" y="0"/>
          <a:chExt cx="0" cy="0"/>
        </a:xfrm>
      </p:grpSpPr>
      <p:sp>
        <p:nvSpPr>
          <p:cNvPr id="2482" name="Google Shape;2482;p3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483" name="Google Shape;2483;p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05"/>
        <p:cNvGrpSpPr/>
        <p:nvPr/>
      </p:nvGrpSpPr>
      <p:grpSpPr>
        <a:xfrm>
          <a:off x="0" y="0"/>
          <a:ext cx="0" cy="0"/>
          <a:chOff x="0" y="0"/>
          <a:chExt cx="0" cy="0"/>
        </a:xfrm>
      </p:grpSpPr>
      <p:sp>
        <p:nvSpPr>
          <p:cNvPr id="2506" name="Google Shape;2506;p3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507" name="Google Shape;2507;p3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7"/>
        <p:cNvGrpSpPr/>
        <p:nvPr/>
      </p:nvGrpSpPr>
      <p:grpSpPr>
        <a:xfrm>
          <a:off x="0" y="0"/>
          <a:ext cx="0" cy="0"/>
          <a:chOff x="0" y="0"/>
          <a:chExt cx="0" cy="0"/>
        </a:xfrm>
      </p:grpSpPr>
      <p:sp>
        <p:nvSpPr>
          <p:cNvPr id="2528" name="Google Shape;2528;p3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529" name="Google Shape;2529;p3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0"/>
        <p:cNvGrpSpPr/>
        <p:nvPr/>
      </p:nvGrpSpPr>
      <p:grpSpPr>
        <a:xfrm>
          <a:off x="0" y="0"/>
          <a:ext cx="0" cy="0"/>
          <a:chOff x="0" y="0"/>
          <a:chExt cx="0" cy="0"/>
        </a:xfrm>
      </p:grpSpPr>
      <p:sp>
        <p:nvSpPr>
          <p:cNvPr id="2551" name="Google Shape;2551;p3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552" name="Google Shape;2552;p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3"/>
        <p:cNvGrpSpPr/>
        <p:nvPr/>
      </p:nvGrpSpPr>
      <p:grpSpPr>
        <a:xfrm>
          <a:off x="0" y="0"/>
          <a:ext cx="0" cy="0"/>
          <a:chOff x="0" y="0"/>
          <a:chExt cx="0" cy="0"/>
        </a:xfrm>
      </p:grpSpPr>
      <p:sp>
        <p:nvSpPr>
          <p:cNvPr id="2574" name="Google Shape;2574;p3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575" name="Google Shape;2575;p3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4"/>
        <p:cNvGrpSpPr/>
        <p:nvPr/>
      </p:nvGrpSpPr>
      <p:grpSpPr>
        <a:xfrm>
          <a:off x="0" y="0"/>
          <a:ext cx="0" cy="0"/>
          <a:chOff x="0" y="0"/>
          <a:chExt cx="0" cy="0"/>
        </a:xfrm>
      </p:grpSpPr>
      <p:sp>
        <p:nvSpPr>
          <p:cNvPr id="1175" name="Google Shape;1175;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76" name="Google Shape;1176;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96"/>
        <p:cNvGrpSpPr/>
        <p:nvPr/>
      </p:nvGrpSpPr>
      <p:grpSpPr>
        <a:xfrm>
          <a:off x="0" y="0"/>
          <a:ext cx="0" cy="0"/>
          <a:chOff x="0" y="0"/>
          <a:chExt cx="0" cy="0"/>
        </a:xfrm>
      </p:grpSpPr>
      <p:sp>
        <p:nvSpPr>
          <p:cNvPr id="2597" name="Google Shape;2597;p3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598" name="Google Shape;2598;p3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24"/>
        <p:cNvGrpSpPr/>
        <p:nvPr/>
      </p:nvGrpSpPr>
      <p:grpSpPr>
        <a:xfrm>
          <a:off x="0" y="0"/>
          <a:ext cx="0" cy="0"/>
          <a:chOff x="0" y="0"/>
          <a:chExt cx="0" cy="0"/>
        </a:xfrm>
      </p:grpSpPr>
      <p:sp>
        <p:nvSpPr>
          <p:cNvPr id="2625" name="Google Shape;2625;p3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626" name="Google Shape;2626;p3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7"/>
        <p:cNvGrpSpPr/>
        <p:nvPr/>
      </p:nvGrpSpPr>
      <p:grpSpPr>
        <a:xfrm>
          <a:off x="0" y="0"/>
          <a:ext cx="0" cy="0"/>
          <a:chOff x="0" y="0"/>
          <a:chExt cx="0" cy="0"/>
        </a:xfrm>
      </p:grpSpPr>
      <p:sp>
        <p:nvSpPr>
          <p:cNvPr id="2648" name="Google Shape;2648;p3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649" name="Google Shape;2649;p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71"/>
        <p:cNvGrpSpPr/>
        <p:nvPr/>
      </p:nvGrpSpPr>
      <p:grpSpPr>
        <a:xfrm>
          <a:off x="0" y="0"/>
          <a:ext cx="0" cy="0"/>
          <a:chOff x="0" y="0"/>
          <a:chExt cx="0" cy="0"/>
        </a:xfrm>
      </p:grpSpPr>
      <p:sp>
        <p:nvSpPr>
          <p:cNvPr id="2672" name="Google Shape;2672;p3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673" name="Google Shape;2673;p3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4"/>
        <p:cNvGrpSpPr/>
        <p:nvPr/>
      </p:nvGrpSpPr>
      <p:grpSpPr>
        <a:xfrm>
          <a:off x="0" y="0"/>
          <a:ext cx="0" cy="0"/>
          <a:chOff x="0" y="0"/>
          <a:chExt cx="0" cy="0"/>
        </a:xfrm>
      </p:grpSpPr>
      <p:sp>
        <p:nvSpPr>
          <p:cNvPr id="1385" name="Google Shape;1385;p7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86" name="Google Shape;1386;p7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28151972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0"/>
        <p:cNvGrpSpPr/>
        <p:nvPr/>
      </p:nvGrpSpPr>
      <p:grpSpPr>
        <a:xfrm>
          <a:off x="0" y="0"/>
          <a:ext cx="0" cy="0"/>
          <a:chOff x="0" y="0"/>
          <a:chExt cx="0" cy="0"/>
        </a:xfrm>
      </p:grpSpPr>
      <p:sp>
        <p:nvSpPr>
          <p:cNvPr id="1391" name="Google Shape;1391;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92" name="Google Shape;1392;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58742528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3"/>
        <p:cNvGrpSpPr/>
        <p:nvPr/>
      </p:nvGrpSpPr>
      <p:grpSpPr>
        <a:xfrm>
          <a:off x="0" y="0"/>
          <a:ext cx="0" cy="0"/>
          <a:chOff x="0" y="0"/>
          <a:chExt cx="0" cy="0"/>
        </a:xfrm>
      </p:grpSpPr>
      <p:sp>
        <p:nvSpPr>
          <p:cNvPr id="1404" name="Google Shape;1404;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05" name="Google Shape;1405;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5463288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9"/>
        <p:cNvGrpSpPr/>
        <p:nvPr/>
      </p:nvGrpSpPr>
      <p:grpSpPr>
        <a:xfrm>
          <a:off x="0" y="0"/>
          <a:ext cx="0" cy="0"/>
          <a:chOff x="0" y="0"/>
          <a:chExt cx="0" cy="0"/>
        </a:xfrm>
      </p:grpSpPr>
      <p:sp>
        <p:nvSpPr>
          <p:cNvPr id="1450" name="Google Shape;1450;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51" name="Google Shape;1451;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96791057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5"/>
        <p:cNvGrpSpPr/>
        <p:nvPr/>
      </p:nvGrpSpPr>
      <p:grpSpPr>
        <a:xfrm>
          <a:off x="0" y="0"/>
          <a:ext cx="0" cy="0"/>
          <a:chOff x="0" y="0"/>
          <a:chExt cx="0" cy="0"/>
        </a:xfrm>
      </p:grpSpPr>
      <p:sp>
        <p:nvSpPr>
          <p:cNvPr id="1506" name="Google Shape;1506;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07" name="Google Shape;1507;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9522010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1"/>
        <p:cNvGrpSpPr/>
        <p:nvPr/>
      </p:nvGrpSpPr>
      <p:grpSpPr>
        <a:xfrm>
          <a:off x="0" y="0"/>
          <a:ext cx="0" cy="0"/>
          <a:chOff x="0" y="0"/>
          <a:chExt cx="0" cy="0"/>
        </a:xfrm>
      </p:grpSpPr>
      <p:sp>
        <p:nvSpPr>
          <p:cNvPr id="1632" name="Google Shape;1632;p7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33" name="Google Shape;1633;p7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SzPts val="1400"/>
              <a:buNone/>
            </a:pPr>
            <a:endParaRPr/>
          </a:p>
        </p:txBody>
      </p:sp>
      <p:sp>
        <p:nvSpPr>
          <p:cNvPr id="1634" name="Google Shape;1634;p7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49</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2416284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1"/>
        <p:cNvGrpSpPr/>
        <p:nvPr/>
      </p:nvGrpSpPr>
      <p:grpSpPr>
        <a:xfrm>
          <a:off x="0" y="0"/>
          <a:ext cx="0" cy="0"/>
          <a:chOff x="0" y="0"/>
          <a:chExt cx="0" cy="0"/>
        </a:xfrm>
      </p:grpSpPr>
      <p:sp>
        <p:nvSpPr>
          <p:cNvPr id="1222" name="Google Shape;1222;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23" name="Google Shape;1223;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3"/>
        <p:cNvGrpSpPr/>
        <p:nvPr/>
      </p:nvGrpSpPr>
      <p:grpSpPr>
        <a:xfrm>
          <a:off x="0" y="0"/>
          <a:ext cx="0" cy="0"/>
          <a:chOff x="0" y="0"/>
          <a:chExt cx="0" cy="0"/>
        </a:xfrm>
      </p:grpSpPr>
      <p:sp>
        <p:nvSpPr>
          <p:cNvPr id="1844" name="Google Shape;1844;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845" name="Google Shape;1845;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9665045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06"/>
        <p:cNvGrpSpPr/>
        <p:nvPr/>
      </p:nvGrpSpPr>
      <p:grpSpPr>
        <a:xfrm>
          <a:off x="0" y="0"/>
          <a:ext cx="0" cy="0"/>
          <a:chOff x="0" y="0"/>
          <a:chExt cx="0" cy="0"/>
        </a:xfrm>
      </p:grpSpPr>
      <p:sp>
        <p:nvSpPr>
          <p:cNvPr id="2807" name="Google Shape;2807;p7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808" name="Google Shape;2808;p7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12"/>
        <p:cNvGrpSpPr/>
        <p:nvPr/>
      </p:nvGrpSpPr>
      <p:grpSpPr>
        <a:xfrm>
          <a:off x="0" y="0"/>
          <a:ext cx="0" cy="0"/>
          <a:chOff x="0" y="0"/>
          <a:chExt cx="0" cy="0"/>
        </a:xfrm>
      </p:grpSpPr>
      <p:sp>
        <p:nvSpPr>
          <p:cNvPr id="2813" name="Google Shape;2813;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814" name="Google Shape;2814;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26"/>
        <p:cNvGrpSpPr/>
        <p:nvPr/>
      </p:nvGrpSpPr>
      <p:grpSpPr>
        <a:xfrm>
          <a:off x="0" y="0"/>
          <a:ext cx="0" cy="0"/>
          <a:chOff x="0" y="0"/>
          <a:chExt cx="0" cy="0"/>
        </a:xfrm>
      </p:grpSpPr>
      <p:sp>
        <p:nvSpPr>
          <p:cNvPr id="2827" name="Google Shape;2827;p4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828" name="Google Shape;2828;p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49"/>
        <p:cNvGrpSpPr/>
        <p:nvPr/>
      </p:nvGrpSpPr>
      <p:grpSpPr>
        <a:xfrm>
          <a:off x="0" y="0"/>
          <a:ext cx="0" cy="0"/>
          <a:chOff x="0" y="0"/>
          <a:chExt cx="0" cy="0"/>
        </a:xfrm>
      </p:grpSpPr>
      <p:sp>
        <p:nvSpPr>
          <p:cNvPr id="2850" name="Google Shape;2850;p13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851" name="Google Shape;2851;p1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2"/>
        <p:cNvGrpSpPr/>
        <p:nvPr/>
      </p:nvGrpSpPr>
      <p:grpSpPr>
        <a:xfrm>
          <a:off x="0" y="0"/>
          <a:ext cx="0" cy="0"/>
          <a:chOff x="0" y="0"/>
          <a:chExt cx="0" cy="0"/>
        </a:xfrm>
      </p:grpSpPr>
      <p:sp>
        <p:nvSpPr>
          <p:cNvPr id="2873" name="Google Shape;2873;p13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874" name="Google Shape;2874;p13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95"/>
        <p:cNvGrpSpPr/>
        <p:nvPr/>
      </p:nvGrpSpPr>
      <p:grpSpPr>
        <a:xfrm>
          <a:off x="0" y="0"/>
          <a:ext cx="0" cy="0"/>
          <a:chOff x="0" y="0"/>
          <a:chExt cx="0" cy="0"/>
        </a:xfrm>
      </p:grpSpPr>
      <p:sp>
        <p:nvSpPr>
          <p:cNvPr id="2896" name="Google Shape;2896;p7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897" name="Google Shape;2897;p7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36"/>
        <p:cNvGrpSpPr/>
        <p:nvPr/>
      </p:nvGrpSpPr>
      <p:grpSpPr>
        <a:xfrm>
          <a:off x="0" y="0"/>
          <a:ext cx="0" cy="0"/>
          <a:chOff x="0" y="0"/>
          <a:chExt cx="0" cy="0"/>
        </a:xfrm>
      </p:grpSpPr>
      <p:sp>
        <p:nvSpPr>
          <p:cNvPr id="2937" name="Google Shape;2937;p42:notes"/>
          <p:cNvSpPr>
            <a:spLocks noGrp="1" noRot="1" noChangeAspect="1"/>
          </p:cNvSpPr>
          <p:nvPr>
            <p:ph type="sldImg" idx="2"/>
          </p:nvPr>
        </p:nvSpPr>
        <p:spPr>
          <a:xfrm>
            <a:off x="2514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38" name="Google Shape;2938;p4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939" name="Google Shape;2939;p4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57</a:t>
            </a:fld>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75"/>
        <p:cNvGrpSpPr/>
        <p:nvPr/>
      </p:nvGrpSpPr>
      <p:grpSpPr>
        <a:xfrm>
          <a:off x="0" y="0"/>
          <a:ext cx="0" cy="0"/>
          <a:chOff x="0" y="0"/>
          <a:chExt cx="0" cy="0"/>
        </a:xfrm>
      </p:grpSpPr>
      <p:sp>
        <p:nvSpPr>
          <p:cNvPr id="2976" name="Google Shape;2976;p4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977" name="Google Shape;2977;p4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87"/>
        <p:cNvGrpSpPr/>
        <p:nvPr/>
      </p:nvGrpSpPr>
      <p:grpSpPr>
        <a:xfrm>
          <a:off x="0" y="0"/>
          <a:ext cx="0" cy="0"/>
          <a:chOff x="0" y="0"/>
          <a:chExt cx="0" cy="0"/>
        </a:xfrm>
      </p:grpSpPr>
      <p:sp>
        <p:nvSpPr>
          <p:cNvPr id="2988" name="Google Shape;2988;p4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89" name="Google Shape;2989;p4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990" name="Google Shape;2990;p4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59</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0"/>
        <p:cNvGrpSpPr/>
        <p:nvPr/>
      </p:nvGrpSpPr>
      <p:grpSpPr>
        <a:xfrm>
          <a:off x="0" y="0"/>
          <a:ext cx="0" cy="0"/>
          <a:chOff x="0" y="0"/>
          <a:chExt cx="0" cy="0"/>
        </a:xfrm>
      </p:grpSpPr>
      <p:sp>
        <p:nvSpPr>
          <p:cNvPr id="1281" name="Google Shape;1281;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82" name="Google Shape;1282;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3"/>
        <p:cNvGrpSpPr/>
        <p:nvPr/>
      </p:nvGrpSpPr>
      <p:grpSpPr>
        <a:xfrm>
          <a:off x="0" y="0"/>
          <a:ext cx="0" cy="0"/>
          <a:chOff x="0" y="0"/>
          <a:chExt cx="0" cy="0"/>
        </a:xfrm>
      </p:grpSpPr>
      <p:sp>
        <p:nvSpPr>
          <p:cNvPr id="1334" name="Google Shape;1334;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35" name="Google Shape;1335;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4"/>
        <p:cNvGrpSpPr/>
        <p:nvPr/>
      </p:nvGrpSpPr>
      <p:grpSpPr>
        <a:xfrm>
          <a:off x="0" y="0"/>
          <a:ext cx="0" cy="0"/>
          <a:chOff x="0" y="0"/>
          <a:chExt cx="0" cy="0"/>
        </a:xfrm>
      </p:grpSpPr>
      <p:sp>
        <p:nvSpPr>
          <p:cNvPr id="1385" name="Google Shape;1385;p7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86" name="Google Shape;1386;p7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0"/>
        <p:cNvGrpSpPr/>
        <p:nvPr/>
      </p:nvGrpSpPr>
      <p:grpSpPr>
        <a:xfrm>
          <a:off x="0" y="0"/>
          <a:ext cx="0" cy="0"/>
          <a:chOff x="0" y="0"/>
          <a:chExt cx="0" cy="0"/>
        </a:xfrm>
      </p:grpSpPr>
      <p:sp>
        <p:nvSpPr>
          <p:cNvPr id="1391" name="Google Shape;1391;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92" name="Google Shape;1392;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hyperlink" Target="https://infomineo.com/insights/blog/" TargetMode="External"/><Relationship Id="rId7" Type="http://schemas.openxmlformats.org/officeDocument/2006/relationships/hyperlink" Target="https://www.facebook.com/Infomineo/" TargetMode="External"/><Relationship Id="rId2" Type="http://schemas.openxmlformats.org/officeDocument/2006/relationships/hyperlink" Target="https://infomineo.com/" TargetMode="External"/><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hyperlink" Target="https://www.linkedin.com/company-beta/2416143/admin/updates/" TargetMode="External"/><Relationship Id="rId4" Type="http://schemas.openxmlformats.org/officeDocument/2006/relationships/image" Target="../media/image7.png"/><Relationship Id="rId9"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8" Type="http://schemas.openxmlformats.org/officeDocument/2006/relationships/hyperlink" Target="https://www.facebook.com/Infomineo/" TargetMode="External"/><Relationship Id="rId3" Type="http://schemas.openxmlformats.org/officeDocument/2006/relationships/image" Target="../media/image12.png"/><Relationship Id="rId7" Type="http://schemas.openxmlformats.org/officeDocument/2006/relationships/image" Target="../media/image8.png"/><Relationship Id="rId2" Type="http://schemas.openxmlformats.org/officeDocument/2006/relationships/hyperlink" Target="https://infomineo.com/" TargetMode="External"/><Relationship Id="rId1" Type="http://schemas.openxmlformats.org/officeDocument/2006/relationships/slideMaster" Target="../slideMasters/slideMaster2.xml"/><Relationship Id="rId6" Type="http://schemas.openxmlformats.org/officeDocument/2006/relationships/hyperlink" Target="https://www.linkedin.com/company-beta/2416143/admin/updates/" TargetMode="External"/><Relationship Id="rId5" Type="http://schemas.openxmlformats.org/officeDocument/2006/relationships/image" Target="../media/image7.png"/><Relationship Id="rId4" Type="http://schemas.openxmlformats.org/officeDocument/2006/relationships/hyperlink" Target="https://infomineo.com/insights/blog/" TargetMode="External"/><Relationship Id="rId9" Type="http://schemas.openxmlformats.org/officeDocument/2006/relationships/image" Target="../media/image9.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8" Type="http://schemas.openxmlformats.org/officeDocument/2006/relationships/hyperlink" Target="https://www.facebook.com/Infomineo/" TargetMode="External"/><Relationship Id="rId3" Type="http://schemas.openxmlformats.org/officeDocument/2006/relationships/image" Target="../media/image12.png"/><Relationship Id="rId7" Type="http://schemas.openxmlformats.org/officeDocument/2006/relationships/image" Target="../media/image8.png"/><Relationship Id="rId2" Type="http://schemas.openxmlformats.org/officeDocument/2006/relationships/hyperlink" Target="https://infomineo.com/" TargetMode="External"/><Relationship Id="rId1" Type="http://schemas.openxmlformats.org/officeDocument/2006/relationships/slideMaster" Target="../slideMasters/slideMaster3.xml"/><Relationship Id="rId6" Type="http://schemas.openxmlformats.org/officeDocument/2006/relationships/hyperlink" Target="https://www.linkedin.com/company-beta/2416143/admin/updates/" TargetMode="External"/><Relationship Id="rId5" Type="http://schemas.openxmlformats.org/officeDocument/2006/relationships/image" Target="../media/image7.png"/><Relationship Id="rId4" Type="http://schemas.openxmlformats.org/officeDocument/2006/relationships/hyperlink" Target="https://infomineo.com/insights/blog/" TargetMode="External"/><Relationship Id="rId9" Type="http://schemas.openxmlformats.org/officeDocument/2006/relationships/image" Target="../media/image9.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Option 2)" type="title">
  <p:cSld name="TITLE">
    <p:spTree>
      <p:nvGrpSpPr>
        <p:cNvPr id="1" name="Shape 32"/>
        <p:cNvGrpSpPr/>
        <p:nvPr/>
      </p:nvGrpSpPr>
      <p:grpSpPr>
        <a:xfrm>
          <a:off x="0" y="0"/>
          <a:ext cx="0" cy="0"/>
          <a:chOff x="0" y="0"/>
          <a:chExt cx="0" cy="0"/>
        </a:xfrm>
      </p:grpSpPr>
      <p:pic>
        <p:nvPicPr>
          <p:cNvPr id="33" name="Google Shape;33;p46" descr="A large body of water with a city in the background&#10;&#10;Description automatically generated"/>
          <p:cNvPicPr preferRelativeResize="0"/>
          <p:nvPr/>
        </p:nvPicPr>
        <p:blipFill rotWithShape="1">
          <a:blip r:embed="rId2">
            <a:alphaModFix/>
          </a:blip>
          <a:srcRect/>
          <a:stretch/>
        </p:blipFill>
        <p:spPr>
          <a:xfrm>
            <a:off x="269998" y="270000"/>
            <a:ext cx="11652001" cy="6318000"/>
          </a:xfrm>
          <a:prstGeom prst="rect">
            <a:avLst/>
          </a:prstGeom>
          <a:noFill/>
          <a:ln>
            <a:noFill/>
          </a:ln>
        </p:spPr>
      </p:pic>
      <p:sp>
        <p:nvSpPr>
          <p:cNvPr id="34" name="Google Shape;34;p46"/>
          <p:cNvSpPr/>
          <p:nvPr/>
        </p:nvSpPr>
        <p:spPr>
          <a:xfrm>
            <a:off x="536448" y="540000"/>
            <a:ext cx="6363891" cy="6318000"/>
          </a:xfrm>
          <a:prstGeom prst="rect">
            <a:avLst/>
          </a:prstGeom>
          <a:gradFill>
            <a:gsLst>
              <a:gs pos="0">
                <a:srgbClr val="062379"/>
              </a:gs>
              <a:gs pos="26000">
                <a:srgbClr val="0934B6">
                  <a:alpha val="87843"/>
                </a:srgbClr>
              </a:gs>
              <a:gs pos="64000">
                <a:srgbClr val="036DFF">
                  <a:alpha val="80000"/>
                </a:srgbClr>
              </a:gs>
              <a:gs pos="100000">
                <a:srgbClr val="43E1D3">
                  <a:alpha val="87843"/>
                </a:srgbClr>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 name="Google Shape;35;p46"/>
          <p:cNvSpPr txBox="1">
            <a:spLocks noGrp="1"/>
          </p:cNvSpPr>
          <p:nvPr>
            <p:ph type="ctrTitle"/>
          </p:nvPr>
        </p:nvSpPr>
        <p:spPr>
          <a:xfrm>
            <a:off x="902896" y="3066686"/>
            <a:ext cx="5337943" cy="1231106"/>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 name="Google Shape;36;p46"/>
          <p:cNvSpPr txBox="1">
            <a:spLocks noGrp="1"/>
          </p:cNvSpPr>
          <p:nvPr>
            <p:ph type="subTitle" idx="1"/>
          </p:nvPr>
        </p:nvSpPr>
        <p:spPr>
          <a:xfrm>
            <a:off x="902896" y="4348579"/>
            <a:ext cx="5337943"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37" name="Google Shape;37;p46"/>
          <p:cNvSpPr txBox="1">
            <a:spLocks noGrp="1"/>
          </p:cNvSpPr>
          <p:nvPr>
            <p:ph type="dt" idx="10"/>
          </p:nvPr>
        </p:nvSpPr>
        <p:spPr>
          <a:xfrm>
            <a:off x="902896" y="5923689"/>
            <a:ext cx="1599925" cy="193899"/>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lt1"/>
                </a:solidFill>
                <a:latin typeface="Libre Franklin"/>
                <a:ea typeface="Libre Franklin"/>
                <a:cs typeface="Libre Franklin"/>
                <a:sym typeface="Libre Franklin"/>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pic>
        <p:nvPicPr>
          <p:cNvPr id="38" name="Google Shape;38;p46"/>
          <p:cNvPicPr preferRelativeResize="0"/>
          <p:nvPr/>
        </p:nvPicPr>
        <p:blipFill>
          <a:blip r:embed="rId3">
            <a:alphaModFix/>
          </a:blip>
          <a:stretch>
            <a:fillRect/>
          </a:stretch>
        </p:blipFill>
        <p:spPr>
          <a:xfrm>
            <a:off x="902900" y="919750"/>
            <a:ext cx="2700452" cy="611825"/>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7_Full-width Page">
  <p:cSld name="7_Full-width Page">
    <p:spTree>
      <p:nvGrpSpPr>
        <p:cNvPr id="1" name="Shape 108"/>
        <p:cNvGrpSpPr/>
        <p:nvPr/>
      </p:nvGrpSpPr>
      <p:grpSpPr>
        <a:xfrm>
          <a:off x="0" y="0"/>
          <a:ext cx="0" cy="0"/>
          <a:chOff x="0" y="0"/>
          <a:chExt cx="0" cy="0"/>
        </a:xfrm>
      </p:grpSpPr>
      <p:sp>
        <p:nvSpPr>
          <p:cNvPr id="109" name="Google Shape;109;p54"/>
          <p:cNvSpPr/>
          <p:nvPr/>
        </p:nvSpPr>
        <p:spPr>
          <a:xfrm>
            <a:off x="0" y="0"/>
            <a:ext cx="3657600" cy="6858000"/>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 name="Google Shape;110;p54"/>
          <p:cNvSpPr txBox="1">
            <a:spLocks noGrp="1"/>
          </p:cNvSpPr>
          <p:nvPr>
            <p:ph type="title"/>
          </p:nvPr>
        </p:nvSpPr>
        <p:spPr>
          <a:xfrm>
            <a:off x="1375547" y="360215"/>
            <a:ext cx="2101944" cy="125572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111" name="Google Shape;111;p54"/>
          <p:cNvCxnSpPr/>
          <p:nvPr/>
        </p:nvCxnSpPr>
        <p:spPr>
          <a:xfrm>
            <a:off x="361750" y="1394256"/>
            <a:ext cx="2963341" cy="0"/>
          </a:xfrm>
          <a:prstGeom prst="straightConnector1">
            <a:avLst/>
          </a:prstGeom>
          <a:noFill/>
          <a:ln w="19050" cap="flat" cmpd="sng">
            <a:solidFill>
              <a:schemeClr val="dk2"/>
            </a:solidFill>
            <a:prstDash val="solid"/>
            <a:miter lim="800000"/>
            <a:headEnd type="none" w="sm" len="sm"/>
            <a:tailEnd type="none" w="sm" len="sm"/>
          </a:ln>
        </p:spPr>
      </p:cxnSp>
      <p:pic>
        <p:nvPicPr>
          <p:cNvPr id="112" name="Google Shape;112;p54"/>
          <p:cNvPicPr preferRelativeResize="0"/>
          <p:nvPr/>
        </p:nvPicPr>
        <p:blipFill rotWithShape="1">
          <a:blip r:embed="rId2">
            <a:alphaModFix/>
          </a:blip>
          <a:srcRect/>
          <a:stretch/>
        </p:blipFill>
        <p:spPr>
          <a:xfrm>
            <a:off x="361750" y="403759"/>
            <a:ext cx="848783" cy="766477"/>
          </a:xfrm>
          <a:prstGeom prst="rect">
            <a:avLst/>
          </a:prstGeom>
          <a:noFill/>
          <a:ln>
            <a:noFill/>
          </a:ln>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Full-width Page">
  <p:cSld name="10_Full-width Page">
    <p:spTree>
      <p:nvGrpSpPr>
        <p:cNvPr id="1" name="Shape 113"/>
        <p:cNvGrpSpPr/>
        <p:nvPr/>
      </p:nvGrpSpPr>
      <p:grpSpPr>
        <a:xfrm>
          <a:off x="0" y="0"/>
          <a:ext cx="0" cy="0"/>
          <a:chOff x="0" y="0"/>
          <a:chExt cx="0" cy="0"/>
        </a:xfrm>
      </p:grpSpPr>
      <p:sp>
        <p:nvSpPr>
          <p:cNvPr id="114" name="Google Shape;114;p55"/>
          <p:cNvSpPr/>
          <p:nvPr/>
        </p:nvSpPr>
        <p:spPr>
          <a:xfrm>
            <a:off x="0" y="0"/>
            <a:ext cx="12192000" cy="1577340"/>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5" name="Google Shape;115;p55"/>
          <p:cNvSpPr txBox="1">
            <a:spLocks noGrp="1"/>
          </p:cNvSpPr>
          <p:nvPr>
            <p:ph type="title"/>
          </p:nvPr>
        </p:nvSpPr>
        <p:spPr>
          <a:xfrm>
            <a:off x="1375547" y="348339"/>
            <a:ext cx="2133600" cy="1255728"/>
          </a:xfrm>
          <a:prstGeom prst="rect">
            <a:avLst/>
          </a:prstGeom>
          <a:noFill/>
          <a:ln>
            <a:noFill/>
          </a:ln>
        </p:spPr>
        <p:txBody>
          <a:bodyPr spcFirstLastPara="1" wrap="square" lIns="0" tIns="0" rIns="0" bIns="0" anchor="t" anchorCtr="0">
            <a:spAutoFit/>
          </a:bodyPr>
          <a:lstStyle>
            <a:lvl1pPr lvl="0" algn="l">
              <a:lnSpc>
                <a:spcPct val="109375"/>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116" name="Google Shape;116;p55"/>
          <p:cNvCxnSpPr/>
          <p:nvPr/>
        </p:nvCxnSpPr>
        <p:spPr>
          <a:xfrm>
            <a:off x="3329033" y="396729"/>
            <a:ext cx="0" cy="813093"/>
          </a:xfrm>
          <a:prstGeom prst="straightConnector1">
            <a:avLst/>
          </a:prstGeom>
          <a:noFill/>
          <a:ln w="19050" cap="flat" cmpd="sng">
            <a:solidFill>
              <a:schemeClr val="dk2"/>
            </a:solidFill>
            <a:prstDash val="solid"/>
            <a:miter lim="800000"/>
            <a:headEnd type="none" w="sm" len="sm"/>
            <a:tailEnd type="none" w="sm" len="sm"/>
          </a:ln>
        </p:spPr>
      </p:cxnSp>
      <p:pic>
        <p:nvPicPr>
          <p:cNvPr id="117" name="Google Shape;117;p55"/>
          <p:cNvPicPr preferRelativeResize="0"/>
          <p:nvPr/>
        </p:nvPicPr>
        <p:blipFill rotWithShape="1">
          <a:blip r:embed="rId2">
            <a:alphaModFix/>
          </a:blip>
          <a:srcRect/>
          <a:stretch/>
        </p:blipFill>
        <p:spPr>
          <a:xfrm>
            <a:off x="361750" y="403759"/>
            <a:ext cx="848783" cy="766477"/>
          </a:xfrm>
          <a:prstGeom prst="rect">
            <a:avLst/>
          </a:prstGeom>
          <a:noFill/>
          <a:ln>
            <a:noFill/>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4 Column">
  <p:cSld name="4 Column">
    <p:spTree>
      <p:nvGrpSpPr>
        <p:cNvPr id="1" name="Shape 118"/>
        <p:cNvGrpSpPr/>
        <p:nvPr/>
      </p:nvGrpSpPr>
      <p:grpSpPr>
        <a:xfrm>
          <a:off x="0" y="0"/>
          <a:ext cx="0" cy="0"/>
          <a:chOff x="0" y="0"/>
          <a:chExt cx="0" cy="0"/>
        </a:xfrm>
      </p:grpSpPr>
      <p:sp>
        <p:nvSpPr>
          <p:cNvPr id="119" name="Google Shape;119;p61"/>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0" name="Google Shape;120;p61"/>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1" name="Google Shape;121;p61"/>
          <p:cNvSpPr txBox="1">
            <a:spLocks noGrp="1"/>
          </p:cNvSpPr>
          <p:nvPr>
            <p:ph type="body" idx="1"/>
          </p:nvPr>
        </p:nvSpPr>
        <p:spPr>
          <a:xfrm>
            <a:off x="550864" y="2175803"/>
            <a:ext cx="2559476"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228600" algn="l">
              <a:lnSpc>
                <a:spcPct val="95000"/>
              </a:lnSpc>
              <a:spcBef>
                <a:spcPts val="300"/>
              </a:spcBef>
              <a:spcAft>
                <a:spcPts val="0"/>
              </a:spcAft>
              <a:buSzPts val="1400"/>
              <a:buNone/>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 name="Google Shape;122;p61"/>
          <p:cNvSpPr txBox="1">
            <a:spLocks noGrp="1"/>
          </p:cNvSpPr>
          <p:nvPr>
            <p:ph type="body" idx="2"/>
          </p:nvPr>
        </p:nvSpPr>
        <p:spPr>
          <a:xfrm>
            <a:off x="550864" y="1857375"/>
            <a:ext cx="255947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 name="Google Shape;123;p61"/>
          <p:cNvSpPr txBox="1">
            <a:spLocks noGrp="1"/>
          </p:cNvSpPr>
          <p:nvPr>
            <p:ph type="body" idx="3"/>
          </p:nvPr>
        </p:nvSpPr>
        <p:spPr>
          <a:xfrm>
            <a:off x="6240464" y="2175803"/>
            <a:ext cx="2554875"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 name="Google Shape;124;p61"/>
          <p:cNvSpPr txBox="1">
            <a:spLocks noGrp="1"/>
          </p:cNvSpPr>
          <p:nvPr>
            <p:ph type="body" idx="4"/>
          </p:nvPr>
        </p:nvSpPr>
        <p:spPr>
          <a:xfrm>
            <a:off x="6240464" y="1857375"/>
            <a:ext cx="25548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5" name="Google Shape;125;p61"/>
          <p:cNvSpPr txBox="1">
            <a:spLocks noGrp="1"/>
          </p:cNvSpPr>
          <p:nvPr>
            <p:ph type="body" idx="5"/>
          </p:nvPr>
        </p:nvSpPr>
        <p:spPr>
          <a:xfrm>
            <a:off x="3395664" y="2175803"/>
            <a:ext cx="2559476"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228600" algn="l">
              <a:lnSpc>
                <a:spcPct val="95000"/>
              </a:lnSpc>
              <a:spcBef>
                <a:spcPts val="300"/>
              </a:spcBef>
              <a:spcAft>
                <a:spcPts val="0"/>
              </a:spcAft>
              <a:buSzPts val="1400"/>
              <a:buNone/>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 name="Google Shape;126;p61"/>
          <p:cNvSpPr txBox="1">
            <a:spLocks noGrp="1"/>
          </p:cNvSpPr>
          <p:nvPr>
            <p:ph type="body" idx="6"/>
          </p:nvPr>
        </p:nvSpPr>
        <p:spPr>
          <a:xfrm>
            <a:off x="3395664" y="1857375"/>
            <a:ext cx="255947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 name="Google Shape;127;p61"/>
          <p:cNvSpPr txBox="1">
            <a:spLocks noGrp="1"/>
          </p:cNvSpPr>
          <p:nvPr>
            <p:ph type="body" idx="7"/>
          </p:nvPr>
        </p:nvSpPr>
        <p:spPr>
          <a:xfrm>
            <a:off x="9086263" y="2175803"/>
            <a:ext cx="2554875"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 name="Google Shape;128;p61"/>
          <p:cNvSpPr txBox="1">
            <a:spLocks noGrp="1"/>
          </p:cNvSpPr>
          <p:nvPr>
            <p:ph type="body" idx="8"/>
          </p:nvPr>
        </p:nvSpPr>
        <p:spPr>
          <a:xfrm>
            <a:off x="9086263" y="1857375"/>
            <a:ext cx="25548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 name="Google Shape;129;p61"/>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3 Blue on Left">
  <p:cSld name="1/3 Blue on Left">
    <p:spTree>
      <p:nvGrpSpPr>
        <p:cNvPr id="1" name="Shape 130"/>
        <p:cNvGrpSpPr/>
        <p:nvPr/>
      </p:nvGrpSpPr>
      <p:grpSpPr>
        <a:xfrm>
          <a:off x="0" y="0"/>
          <a:ext cx="0" cy="0"/>
          <a:chOff x="0" y="0"/>
          <a:chExt cx="0" cy="0"/>
        </a:xfrm>
      </p:grpSpPr>
      <p:sp>
        <p:nvSpPr>
          <p:cNvPr id="131" name="Google Shape;131;p56"/>
          <p:cNvSpPr/>
          <p:nvPr/>
        </p:nvSpPr>
        <p:spPr>
          <a:xfrm>
            <a:off x="0" y="-1"/>
            <a:ext cx="4059776" cy="6857999"/>
          </a:xfrm>
          <a:prstGeom prst="rect">
            <a:avLst/>
          </a:prstGeom>
          <a:gradFill>
            <a:gsLst>
              <a:gs pos="0">
                <a:srgbClr val="062379"/>
              </a:gs>
              <a:gs pos="55000">
                <a:srgbClr val="385ED2"/>
              </a:gs>
              <a:gs pos="76000">
                <a:srgbClr val="4873F5">
                  <a:alpha val="8784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2" name="Google Shape;132;p56"/>
          <p:cNvSpPr txBox="1">
            <a:spLocks noGrp="1"/>
          </p:cNvSpPr>
          <p:nvPr>
            <p:ph type="title"/>
          </p:nvPr>
        </p:nvSpPr>
        <p:spPr>
          <a:xfrm>
            <a:off x="539400" y="562841"/>
            <a:ext cx="3077171"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 name="Google Shape;133;p56"/>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4" name="Google Shape;134;p56"/>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135" name="Google Shape;135;p56"/>
          <p:cNvSpPr txBox="1">
            <a:spLocks noGrp="1"/>
          </p:cNvSpPr>
          <p:nvPr>
            <p:ph type="ftr" idx="11"/>
          </p:nvPr>
        </p:nvSpPr>
        <p:spPr>
          <a:xfrm>
            <a:off x="436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Last Page">
  <p:cSld name="Last Page">
    <p:spTree>
      <p:nvGrpSpPr>
        <p:cNvPr id="1" name="Shape 136"/>
        <p:cNvGrpSpPr/>
        <p:nvPr/>
      </p:nvGrpSpPr>
      <p:grpSpPr>
        <a:xfrm>
          <a:off x="0" y="0"/>
          <a:ext cx="0" cy="0"/>
          <a:chOff x="0" y="0"/>
          <a:chExt cx="0" cy="0"/>
        </a:xfrm>
      </p:grpSpPr>
      <p:sp>
        <p:nvSpPr>
          <p:cNvPr id="137" name="Google Shape;137;p57"/>
          <p:cNvSpPr/>
          <p:nvPr/>
        </p:nvSpPr>
        <p:spPr>
          <a:xfrm>
            <a:off x="0" y="0"/>
            <a:ext cx="12192000" cy="6858000"/>
          </a:xfrm>
          <a:prstGeom prst="rect">
            <a:avLst/>
          </a:prstGeom>
          <a:gradFill>
            <a:gsLst>
              <a:gs pos="0">
                <a:srgbClr val="062379"/>
              </a:gs>
              <a:gs pos="16000">
                <a:srgbClr val="062379"/>
              </a:gs>
              <a:gs pos="45000">
                <a:srgbClr val="0934B6">
                  <a:alpha val="8784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8" name="Google Shape;138;p57"/>
          <p:cNvSpPr txBox="1"/>
          <p:nvPr/>
        </p:nvSpPr>
        <p:spPr>
          <a:xfrm>
            <a:off x="550863" y="5965461"/>
            <a:ext cx="3028906"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sng" strike="noStrike" cap="none">
                <a:solidFill>
                  <a:srgbClr val="43E1D3"/>
                </a:solidFill>
                <a:latin typeface="Calibri"/>
                <a:ea typeface="Calibri"/>
                <a:cs typeface="Calibri"/>
                <a:sym typeface="Calibri"/>
                <a:hlinkClick r:id="rId2">
                  <a:extLst>
                    <a:ext uri="{A12FA001-AC4F-418D-AE19-62706E023703}">
                      <ahyp:hlinkClr xmlns:ahyp="http://schemas.microsoft.com/office/drawing/2018/hyperlinkcolor" val="tx"/>
                    </a:ext>
                  </a:extLst>
                </a:hlinkClick>
              </a:rPr>
              <a:t>www.infomineo.com</a:t>
            </a:r>
            <a:endParaRPr sz="1200" b="1" i="0" u="none" strike="noStrike" cap="none">
              <a:solidFill>
                <a:srgbClr val="43E1D3"/>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lt1"/>
                </a:solidFill>
                <a:latin typeface="Calibri"/>
                <a:ea typeface="Calibri"/>
                <a:cs typeface="Calibri"/>
                <a:sym typeface="Calibri"/>
              </a:rPr>
              <a:t>Infomineo Copyright © 2020. All rights reserved.</a:t>
            </a:r>
            <a:endParaRPr sz="1400" b="0" i="0" u="none" strike="noStrike" cap="none">
              <a:solidFill>
                <a:srgbClr val="000000"/>
              </a:solidFill>
              <a:latin typeface="Arial"/>
              <a:ea typeface="Arial"/>
              <a:cs typeface="Arial"/>
              <a:sym typeface="Arial"/>
            </a:endParaRPr>
          </a:p>
        </p:txBody>
      </p:sp>
      <p:pic>
        <p:nvPicPr>
          <p:cNvPr id="139" name="Google Shape;139;p57">
            <a:hlinkClick r:id="rId3"/>
          </p:cNvPr>
          <p:cNvPicPr preferRelativeResize="0"/>
          <p:nvPr/>
        </p:nvPicPr>
        <p:blipFill rotWithShape="1">
          <a:blip r:embed="rId4">
            <a:alphaModFix/>
          </a:blip>
          <a:srcRect/>
          <a:stretch/>
        </p:blipFill>
        <p:spPr>
          <a:xfrm>
            <a:off x="11323329" y="5965461"/>
            <a:ext cx="370332" cy="370332"/>
          </a:xfrm>
          <a:prstGeom prst="rect">
            <a:avLst/>
          </a:prstGeom>
          <a:noFill/>
          <a:ln>
            <a:noFill/>
          </a:ln>
        </p:spPr>
      </p:pic>
      <p:pic>
        <p:nvPicPr>
          <p:cNvPr id="140" name="Google Shape;140;p57">
            <a:hlinkClick r:id="rId5"/>
          </p:cNvPr>
          <p:cNvPicPr preferRelativeResize="0"/>
          <p:nvPr/>
        </p:nvPicPr>
        <p:blipFill rotWithShape="1">
          <a:blip r:embed="rId6">
            <a:alphaModFix/>
          </a:blip>
          <a:srcRect/>
          <a:stretch/>
        </p:blipFill>
        <p:spPr>
          <a:xfrm>
            <a:off x="10825964" y="5965461"/>
            <a:ext cx="368808" cy="370332"/>
          </a:xfrm>
          <a:prstGeom prst="rect">
            <a:avLst/>
          </a:prstGeom>
          <a:noFill/>
          <a:ln>
            <a:noFill/>
          </a:ln>
        </p:spPr>
      </p:pic>
      <p:pic>
        <p:nvPicPr>
          <p:cNvPr id="141" name="Google Shape;141;p57">
            <a:hlinkClick r:id="rId7"/>
          </p:cNvPr>
          <p:cNvPicPr preferRelativeResize="0"/>
          <p:nvPr/>
        </p:nvPicPr>
        <p:blipFill rotWithShape="1">
          <a:blip r:embed="rId8">
            <a:alphaModFix/>
          </a:blip>
          <a:srcRect/>
          <a:stretch/>
        </p:blipFill>
        <p:spPr>
          <a:xfrm>
            <a:off x="10328599" y="5965461"/>
            <a:ext cx="368808" cy="370332"/>
          </a:xfrm>
          <a:prstGeom prst="rect">
            <a:avLst/>
          </a:prstGeom>
          <a:noFill/>
          <a:ln>
            <a:noFill/>
          </a:ln>
        </p:spPr>
      </p:pic>
      <p:pic>
        <p:nvPicPr>
          <p:cNvPr id="142" name="Google Shape;142;p57"/>
          <p:cNvPicPr preferRelativeResize="0"/>
          <p:nvPr/>
        </p:nvPicPr>
        <p:blipFill>
          <a:blip r:embed="rId9">
            <a:alphaModFix/>
          </a:blip>
          <a:stretch>
            <a:fillRect/>
          </a:stretch>
        </p:blipFill>
        <p:spPr>
          <a:xfrm>
            <a:off x="3581425" y="2859287"/>
            <a:ext cx="5029151" cy="1139425"/>
          </a:xfrm>
          <a:prstGeom prst="rect">
            <a:avLst/>
          </a:prstGeom>
          <a:noFill/>
          <a:ln>
            <a:noFill/>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1_Title only (with background)">
  <p:cSld name="1_Title only (with background)">
    <p:bg>
      <p:bgPr>
        <a:solidFill>
          <a:schemeClr val="lt2"/>
        </a:solidFill>
        <a:effectLst/>
      </p:bgPr>
    </p:bg>
    <p:spTree>
      <p:nvGrpSpPr>
        <p:cNvPr id="1" name="Shape 143"/>
        <p:cNvGrpSpPr/>
        <p:nvPr/>
      </p:nvGrpSpPr>
      <p:grpSpPr>
        <a:xfrm>
          <a:off x="0" y="0"/>
          <a:ext cx="0" cy="0"/>
          <a:chOff x="0" y="0"/>
          <a:chExt cx="0" cy="0"/>
        </a:xfrm>
      </p:grpSpPr>
      <p:sp>
        <p:nvSpPr>
          <p:cNvPr id="144" name="Google Shape;144;p50"/>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5" name="Google Shape;145;p50"/>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46" name="Google Shape;146;p50"/>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7" name="Google Shape;147;p50"/>
          <p:cNvSpPr txBox="1">
            <a:spLocks noGrp="1"/>
          </p:cNvSpPr>
          <p:nvPr>
            <p:ph type="body" idx="1"/>
          </p:nvPr>
        </p:nvSpPr>
        <p:spPr>
          <a:xfrm>
            <a:off x="550862" y="1028324"/>
            <a:ext cx="11089972" cy="292388"/>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rgbClr val="6D90F8"/>
              </a:buClr>
              <a:buSzPts val="2000"/>
              <a:buNone/>
              <a:defRPr sz="2000">
                <a:solidFill>
                  <a:srgbClr val="6D90F8"/>
                </a:solidFill>
                <a:latin typeface="Libre Franklin"/>
                <a:ea typeface="Libre Franklin"/>
                <a:cs typeface="Libre Franklin"/>
                <a:sym typeface="Libre Franklin"/>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Without Title">
  <p:cSld name="Without Title">
    <p:spTree>
      <p:nvGrpSpPr>
        <p:cNvPr id="1" name="Shape 148"/>
        <p:cNvGrpSpPr/>
        <p:nvPr/>
      </p:nvGrpSpPr>
      <p:grpSpPr>
        <a:xfrm>
          <a:off x="0" y="0"/>
          <a:ext cx="0" cy="0"/>
          <a:chOff x="0" y="0"/>
          <a:chExt cx="0" cy="0"/>
        </a:xfrm>
      </p:grpSpPr>
      <p:sp>
        <p:nvSpPr>
          <p:cNvPr id="149" name="Google Shape;149;p58"/>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grpSp>
        <p:nvGrpSpPr>
          <p:cNvPr id="150" name="Google Shape;150;p58"/>
          <p:cNvGrpSpPr/>
          <p:nvPr/>
        </p:nvGrpSpPr>
        <p:grpSpPr>
          <a:xfrm>
            <a:off x="11998459" y="6162188"/>
            <a:ext cx="68500" cy="441925"/>
            <a:chOff x="11998459" y="6162188"/>
            <a:chExt cx="68500" cy="441925"/>
          </a:xfrm>
        </p:grpSpPr>
        <p:sp>
          <p:nvSpPr>
            <p:cNvPr id="151" name="Google Shape;151;p58"/>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52" name="Google Shape;152;p58"/>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53" name="Google Shape;153;p58"/>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54" name="Google Shape;154;p58"/>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55" name="Google Shape;155;p58"/>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56" name="Google Shape;156;p58"/>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57" name="Google Shape;157;p58"/>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58" name="Google Shape;158;p58"/>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59" name="Google Shape;159;p58"/>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60" name="Google Shape;160;p58"/>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61" name="Google Shape;161;p58"/>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62" name="Google Shape;162;p58"/>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63" name="Google Shape;163;p58"/>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grpSp>
      <p:pic>
        <p:nvPicPr>
          <p:cNvPr id="164" name="Google Shape;164;p58"/>
          <p:cNvPicPr preferRelativeResize="0"/>
          <p:nvPr/>
        </p:nvPicPr>
        <p:blipFill rotWithShape="1">
          <a:blip r:embed="rId2">
            <a:alphaModFix/>
          </a:blip>
          <a:srcRect/>
          <a:stretch/>
        </p:blipFill>
        <p:spPr>
          <a:xfrm rot="-5400000">
            <a:off x="11811887" y="6349041"/>
            <a:ext cx="441438" cy="68706"/>
          </a:xfrm>
          <a:prstGeom prst="rect">
            <a:avLst/>
          </a:prstGeom>
          <a:noFill/>
          <a:ln>
            <a:noFill/>
          </a:ln>
        </p:spPr>
      </p:pic>
      <p:sp>
        <p:nvSpPr>
          <p:cNvPr id="165" name="Google Shape;165;p58"/>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rgbClr val="B4B4B4"/>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sp>
        <p:nvSpPr>
          <p:cNvPr id="166" name="Google Shape;166;p58"/>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2 Column">
  <p:cSld name="2 Column">
    <p:spTree>
      <p:nvGrpSpPr>
        <p:cNvPr id="1" name="Shape 167"/>
        <p:cNvGrpSpPr/>
        <p:nvPr/>
      </p:nvGrpSpPr>
      <p:grpSpPr>
        <a:xfrm>
          <a:off x="0" y="0"/>
          <a:ext cx="0" cy="0"/>
          <a:chOff x="0" y="0"/>
          <a:chExt cx="0" cy="0"/>
        </a:xfrm>
      </p:grpSpPr>
      <p:sp>
        <p:nvSpPr>
          <p:cNvPr id="168" name="Google Shape;168;p59"/>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 name="Google Shape;169;p59"/>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70" name="Google Shape;170;p59"/>
          <p:cNvSpPr txBox="1">
            <a:spLocks noGrp="1"/>
          </p:cNvSpPr>
          <p:nvPr>
            <p:ph type="body" idx="1"/>
          </p:nvPr>
        </p:nvSpPr>
        <p:spPr>
          <a:xfrm>
            <a:off x="550863" y="2175803"/>
            <a:ext cx="5400675"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228600" algn="l">
              <a:lnSpc>
                <a:spcPct val="95000"/>
              </a:lnSpc>
              <a:spcBef>
                <a:spcPts val="300"/>
              </a:spcBef>
              <a:spcAft>
                <a:spcPts val="0"/>
              </a:spcAft>
              <a:buSzPts val="1400"/>
              <a:buNone/>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 name="Google Shape;171;p59"/>
          <p:cNvSpPr txBox="1">
            <a:spLocks noGrp="1"/>
          </p:cNvSpPr>
          <p:nvPr>
            <p:ph type="body" idx="2"/>
          </p:nvPr>
        </p:nvSpPr>
        <p:spPr>
          <a:xfrm>
            <a:off x="550863" y="1857375"/>
            <a:ext cx="54006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 name="Google Shape;172;p59"/>
          <p:cNvSpPr txBox="1">
            <a:spLocks noGrp="1"/>
          </p:cNvSpPr>
          <p:nvPr>
            <p:ph type="body" idx="3"/>
          </p:nvPr>
        </p:nvSpPr>
        <p:spPr>
          <a:xfrm>
            <a:off x="6240464" y="2175803"/>
            <a:ext cx="5400675"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 name="Google Shape;173;p59"/>
          <p:cNvSpPr txBox="1">
            <a:spLocks noGrp="1"/>
          </p:cNvSpPr>
          <p:nvPr>
            <p:ph type="body" idx="4"/>
          </p:nvPr>
        </p:nvSpPr>
        <p:spPr>
          <a:xfrm>
            <a:off x="6240464" y="1857375"/>
            <a:ext cx="54006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 name="Google Shape;174;p59"/>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3 Column">
  <p:cSld name="3 Column">
    <p:spTree>
      <p:nvGrpSpPr>
        <p:cNvPr id="1" name="Shape 175"/>
        <p:cNvGrpSpPr/>
        <p:nvPr/>
      </p:nvGrpSpPr>
      <p:grpSpPr>
        <a:xfrm>
          <a:off x="0" y="0"/>
          <a:ext cx="0" cy="0"/>
          <a:chOff x="0" y="0"/>
          <a:chExt cx="0" cy="0"/>
        </a:xfrm>
      </p:grpSpPr>
      <p:sp>
        <p:nvSpPr>
          <p:cNvPr id="176" name="Google Shape;176;p60"/>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 name="Google Shape;177;p60"/>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78" name="Google Shape;178;p60"/>
          <p:cNvSpPr txBox="1">
            <a:spLocks noGrp="1"/>
          </p:cNvSpPr>
          <p:nvPr>
            <p:ph type="body" idx="1"/>
          </p:nvPr>
        </p:nvSpPr>
        <p:spPr>
          <a:xfrm>
            <a:off x="550864" y="2175803"/>
            <a:ext cx="3506976"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228600" algn="l">
              <a:lnSpc>
                <a:spcPct val="95000"/>
              </a:lnSpc>
              <a:spcBef>
                <a:spcPts val="300"/>
              </a:spcBef>
              <a:spcAft>
                <a:spcPts val="0"/>
              </a:spcAft>
              <a:buSzPts val="1400"/>
              <a:buNone/>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 name="Google Shape;179;p60"/>
          <p:cNvSpPr txBox="1">
            <a:spLocks noGrp="1"/>
          </p:cNvSpPr>
          <p:nvPr>
            <p:ph type="body" idx="2"/>
          </p:nvPr>
        </p:nvSpPr>
        <p:spPr>
          <a:xfrm>
            <a:off x="550864" y="1857375"/>
            <a:ext cx="350697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0" name="Google Shape;180;p60"/>
          <p:cNvSpPr txBox="1">
            <a:spLocks noGrp="1"/>
          </p:cNvSpPr>
          <p:nvPr>
            <p:ph type="body" idx="3"/>
          </p:nvPr>
        </p:nvSpPr>
        <p:spPr>
          <a:xfrm>
            <a:off x="8135839" y="2175803"/>
            <a:ext cx="35053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 name="Google Shape;181;p60"/>
          <p:cNvSpPr txBox="1">
            <a:spLocks noGrp="1"/>
          </p:cNvSpPr>
          <p:nvPr>
            <p:ph type="body" idx="4"/>
          </p:nvPr>
        </p:nvSpPr>
        <p:spPr>
          <a:xfrm>
            <a:off x="8135839" y="1857375"/>
            <a:ext cx="35053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 name="Google Shape;182;p60"/>
          <p:cNvSpPr txBox="1">
            <a:spLocks noGrp="1"/>
          </p:cNvSpPr>
          <p:nvPr>
            <p:ph type="body" idx="5"/>
          </p:nvPr>
        </p:nvSpPr>
        <p:spPr>
          <a:xfrm>
            <a:off x="4344162" y="2175803"/>
            <a:ext cx="35053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 name="Google Shape;183;p60"/>
          <p:cNvSpPr txBox="1">
            <a:spLocks noGrp="1"/>
          </p:cNvSpPr>
          <p:nvPr>
            <p:ph type="body" idx="6"/>
          </p:nvPr>
        </p:nvSpPr>
        <p:spPr>
          <a:xfrm>
            <a:off x="4344162" y="1857375"/>
            <a:ext cx="35053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4" name="Google Shape;184;p60"/>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5 Column">
  <p:cSld name="5 Column">
    <p:spTree>
      <p:nvGrpSpPr>
        <p:cNvPr id="1" name="Shape 185"/>
        <p:cNvGrpSpPr/>
        <p:nvPr/>
      </p:nvGrpSpPr>
      <p:grpSpPr>
        <a:xfrm>
          <a:off x="0" y="0"/>
          <a:ext cx="0" cy="0"/>
          <a:chOff x="0" y="0"/>
          <a:chExt cx="0" cy="0"/>
        </a:xfrm>
      </p:grpSpPr>
      <p:sp>
        <p:nvSpPr>
          <p:cNvPr id="186" name="Google Shape;186;p62"/>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7" name="Google Shape;187;p62"/>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88" name="Google Shape;188;p62"/>
          <p:cNvSpPr txBox="1">
            <a:spLocks noGrp="1"/>
          </p:cNvSpPr>
          <p:nvPr>
            <p:ph type="body" idx="1"/>
          </p:nvPr>
        </p:nvSpPr>
        <p:spPr>
          <a:xfrm>
            <a:off x="550864" y="2175803"/>
            <a:ext cx="19836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228600" algn="l">
              <a:lnSpc>
                <a:spcPct val="95000"/>
              </a:lnSpc>
              <a:spcBef>
                <a:spcPts val="300"/>
              </a:spcBef>
              <a:spcAft>
                <a:spcPts val="0"/>
              </a:spcAft>
              <a:buSzPts val="1400"/>
              <a:buNone/>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 name="Google Shape;189;p62"/>
          <p:cNvSpPr txBox="1">
            <a:spLocks noGrp="1"/>
          </p:cNvSpPr>
          <p:nvPr>
            <p:ph type="body" idx="2"/>
          </p:nvPr>
        </p:nvSpPr>
        <p:spPr>
          <a:xfrm>
            <a:off x="550864" y="1857375"/>
            <a:ext cx="19836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 name="Google Shape;190;p62"/>
          <p:cNvSpPr txBox="1">
            <a:spLocks noGrp="1"/>
          </p:cNvSpPr>
          <p:nvPr>
            <p:ph type="body" idx="3"/>
          </p:nvPr>
        </p:nvSpPr>
        <p:spPr>
          <a:xfrm>
            <a:off x="5104050" y="2175803"/>
            <a:ext cx="1980034"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 name="Google Shape;191;p62"/>
          <p:cNvSpPr txBox="1">
            <a:spLocks noGrp="1"/>
          </p:cNvSpPr>
          <p:nvPr>
            <p:ph type="body" idx="4"/>
          </p:nvPr>
        </p:nvSpPr>
        <p:spPr>
          <a:xfrm>
            <a:off x="5104050"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 name="Google Shape;192;p62"/>
          <p:cNvSpPr txBox="1">
            <a:spLocks noGrp="1"/>
          </p:cNvSpPr>
          <p:nvPr>
            <p:ph type="body" idx="5"/>
          </p:nvPr>
        </p:nvSpPr>
        <p:spPr>
          <a:xfrm>
            <a:off x="2827457" y="2175803"/>
            <a:ext cx="19836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228600" algn="l">
              <a:lnSpc>
                <a:spcPct val="95000"/>
              </a:lnSpc>
              <a:spcBef>
                <a:spcPts val="300"/>
              </a:spcBef>
              <a:spcAft>
                <a:spcPts val="0"/>
              </a:spcAft>
              <a:buSzPts val="1400"/>
              <a:buNone/>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 name="Google Shape;193;p62"/>
          <p:cNvSpPr txBox="1">
            <a:spLocks noGrp="1"/>
          </p:cNvSpPr>
          <p:nvPr>
            <p:ph type="body" idx="6"/>
          </p:nvPr>
        </p:nvSpPr>
        <p:spPr>
          <a:xfrm>
            <a:off x="2827457" y="1857375"/>
            <a:ext cx="19836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 name="Google Shape;194;p62"/>
          <p:cNvSpPr txBox="1">
            <a:spLocks noGrp="1"/>
          </p:cNvSpPr>
          <p:nvPr>
            <p:ph type="body" idx="7"/>
          </p:nvPr>
        </p:nvSpPr>
        <p:spPr>
          <a:xfrm>
            <a:off x="7380643" y="2175803"/>
            <a:ext cx="1980034"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 name="Google Shape;195;p62"/>
          <p:cNvSpPr txBox="1">
            <a:spLocks noGrp="1"/>
          </p:cNvSpPr>
          <p:nvPr>
            <p:ph type="body" idx="8"/>
          </p:nvPr>
        </p:nvSpPr>
        <p:spPr>
          <a:xfrm>
            <a:off x="7380643"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 name="Google Shape;196;p62"/>
          <p:cNvSpPr txBox="1">
            <a:spLocks noGrp="1"/>
          </p:cNvSpPr>
          <p:nvPr>
            <p:ph type="body" idx="9"/>
          </p:nvPr>
        </p:nvSpPr>
        <p:spPr>
          <a:xfrm>
            <a:off x="9660801" y="2175803"/>
            <a:ext cx="1980034"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 name="Google Shape;197;p62"/>
          <p:cNvSpPr txBox="1">
            <a:spLocks noGrp="1"/>
          </p:cNvSpPr>
          <p:nvPr>
            <p:ph type="body" idx="13"/>
          </p:nvPr>
        </p:nvSpPr>
        <p:spPr>
          <a:xfrm>
            <a:off x="9660801"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 name="Google Shape;198;p62"/>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9"/>
        <p:cNvGrpSpPr/>
        <p:nvPr/>
      </p:nvGrpSpPr>
      <p:grpSpPr>
        <a:xfrm>
          <a:off x="0" y="0"/>
          <a:ext cx="0" cy="0"/>
          <a:chOff x="0" y="0"/>
          <a:chExt cx="0" cy="0"/>
        </a:xfrm>
      </p:grpSpPr>
      <p:sp>
        <p:nvSpPr>
          <p:cNvPr id="40" name="Google Shape;40;p47"/>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47"/>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42" name="Google Shape;42;p47"/>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3 Blue on Left_2">
  <p:cSld name="1/3 Blue on Left_2">
    <p:spTree>
      <p:nvGrpSpPr>
        <p:cNvPr id="1" name="Shape 199"/>
        <p:cNvGrpSpPr/>
        <p:nvPr/>
      </p:nvGrpSpPr>
      <p:grpSpPr>
        <a:xfrm>
          <a:off x="0" y="0"/>
          <a:ext cx="0" cy="0"/>
          <a:chOff x="0" y="0"/>
          <a:chExt cx="0" cy="0"/>
        </a:xfrm>
      </p:grpSpPr>
      <p:sp>
        <p:nvSpPr>
          <p:cNvPr id="200" name="Google Shape;200;p63"/>
          <p:cNvSpPr/>
          <p:nvPr/>
        </p:nvSpPr>
        <p:spPr>
          <a:xfrm>
            <a:off x="0" y="-1"/>
            <a:ext cx="4059776" cy="6857999"/>
          </a:xfrm>
          <a:prstGeom prst="rect">
            <a:avLst/>
          </a:prstGeom>
          <a:gradFill>
            <a:gsLst>
              <a:gs pos="0">
                <a:srgbClr val="062379"/>
              </a:gs>
              <a:gs pos="55000">
                <a:srgbClr val="385ED2"/>
              </a:gs>
              <a:gs pos="76000">
                <a:srgbClr val="4873F5">
                  <a:alpha val="8784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1" name="Google Shape;201;p63"/>
          <p:cNvSpPr txBox="1">
            <a:spLocks noGrp="1"/>
          </p:cNvSpPr>
          <p:nvPr>
            <p:ph type="title"/>
          </p:nvPr>
        </p:nvSpPr>
        <p:spPr>
          <a:xfrm>
            <a:off x="566141" y="2546064"/>
            <a:ext cx="3032465" cy="176586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lt1"/>
              </a:buClr>
              <a:buSzPts val="4500"/>
              <a:buFont typeface="Franklin Gothic"/>
              <a:buNone/>
              <a:defRPr sz="45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 name="Google Shape;202;p63"/>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03" name="Google Shape;203;p63"/>
          <p:cNvSpPr txBox="1">
            <a:spLocks noGrp="1"/>
          </p:cNvSpPr>
          <p:nvPr>
            <p:ph type="ftr" idx="11"/>
          </p:nvPr>
        </p:nvSpPr>
        <p:spPr>
          <a:xfrm>
            <a:off x="436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2 Blue on Left">
  <p:cSld name="1/2 Blue on Left">
    <p:spTree>
      <p:nvGrpSpPr>
        <p:cNvPr id="1" name="Shape 204"/>
        <p:cNvGrpSpPr/>
        <p:nvPr/>
      </p:nvGrpSpPr>
      <p:grpSpPr>
        <a:xfrm>
          <a:off x="0" y="0"/>
          <a:ext cx="0" cy="0"/>
          <a:chOff x="0" y="0"/>
          <a:chExt cx="0" cy="0"/>
        </a:xfrm>
      </p:grpSpPr>
      <p:sp>
        <p:nvSpPr>
          <p:cNvPr id="205" name="Google Shape;205;p64"/>
          <p:cNvSpPr/>
          <p:nvPr/>
        </p:nvSpPr>
        <p:spPr>
          <a:xfrm>
            <a:off x="0" y="-1"/>
            <a:ext cx="6098537" cy="6857999"/>
          </a:xfrm>
          <a:prstGeom prst="rect">
            <a:avLst/>
          </a:prstGeom>
          <a:gradFill>
            <a:gsLst>
              <a:gs pos="0">
                <a:srgbClr val="062379"/>
              </a:gs>
              <a:gs pos="55000">
                <a:srgbClr val="385ED2"/>
              </a:gs>
              <a:gs pos="76000">
                <a:srgbClr val="4873F5">
                  <a:alpha val="8784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6" name="Google Shape;206;p64"/>
          <p:cNvSpPr txBox="1">
            <a:spLocks noGrp="1"/>
          </p:cNvSpPr>
          <p:nvPr>
            <p:ph type="title"/>
          </p:nvPr>
        </p:nvSpPr>
        <p:spPr>
          <a:xfrm>
            <a:off x="539400" y="562840"/>
            <a:ext cx="5074328"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7" name="Google Shape;207;p64"/>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8" name="Google Shape;208;p64"/>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209" name="Google Shape;209;p64"/>
          <p:cNvSpPr txBox="1">
            <a:spLocks noGrp="1"/>
          </p:cNvSpPr>
          <p:nvPr>
            <p:ph type="ftr" idx="11"/>
          </p:nvPr>
        </p:nvSpPr>
        <p:spPr>
          <a:xfrm>
            <a:off x="549232" y="6465614"/>
            <a:ext cx="507432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Gradient BG (with Title)">
  <p:cSld name="Gradient BG (with Title)">
    <p:spTree>
      <p:nvGrpSpPr>
        <p:cNvPr id="1" name="Shape 210"/>
        <p:cNvGrpSpPr/>
        <p:nvPr/>
      </p:nvGrpSpPr>
      <p:grpSpPr>
        <a:xfrm>
          <a:off x="0" y="0"/>
          <a:ext cx="0" cy="0"/>
          <a:chOff x="0" y="0"/>
          <a:chExt cx="0" cy="0"/>
        </a:xfrm>
      </p:grpSpPr>
      <p:sp>
        <p:nvSpPr>
          <p:cNvPr id="211" name="Google Shape;211;p65"/>
          <p:cNvSpPr/>
          <p:nvPr/>
        </p:nvSpPr>
        <p:spPr>
          <a:xfrm>
            <a:off x="0" y="0"/>
            <a:ext cx="12192000" cy="6858000"/>
          </a:xfrm>
          <a:prstGeom prst="rect">
            <a:avLst/>
          </a:prstGeom>
          <a:gradFill>
            <a:gsLst>
              <a:gs pos="0">
                <a:srgbClr val="062379"/>
              </a:gs>
              <a:gs pos="16000">
                <a:srgbClr val="062379"/>
              </a:gs>
              <a:gs pos="45000">
                <a:srgbClr val="0934B6">
                  <a:alpha val="8784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2" name="Google Shape;212;p65"/>
          <p:cNvSpPr txBox="1">
            <a:spLocks noGrp="1"/>
          </p:cNvSpPr>
          <p:nvPr>
            <p:ph type="title"/>
          </p:nvPr>
        </p:nvSpPr>
        <p:spPr>
          <a:xfrm>
            <a:off x="539400" y="560588"/>
            <a:ext cx="11089972"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13" name="Google Shape;213;p65"/>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grpSp>
        <p:nvGrpSpPr>
          <p:cNvPr id="214" name="Google Shape;214;p65"/>
          <p:cNvGrpSpPr/>
          <p:nvPr/>
        </p:nvGrpSpPr>
        <p:grpSpPr>
          <a:xfrm>
            <a:off x="11998459" y="6162188"/>
            <a:ext cx="68500" cy="441925"/>
            <a:chOff x="11998459" y="6162188"/>
            <a:chExt cx="68500" cy="441925"/>
          </a:xfrm>
        </p:grpSpPr>
        <p:sp>
          <p:nvSpPr>
            <p:cNvPr id="215" name="Google Shape;215;p6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6" name="Google Shape;216;p6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7" name="Google Shape;217;p6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8" name="Google Shape;218;p6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9" name="Google Shape;219;p6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0" name="Google Shape;220;p6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1" name="Google Shape;221;p6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2" name="Google Shape;222;p6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3" name="Google Shape;223;p6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4" name="Google Shape;224;p6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5" name="Google Shape;225;p6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6" name="Google Shape;226;p6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7" name="Google Shape;227;p6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28" name="Google Shape;228;p65"/>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1"/>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sp>
        <p:nvSpPr>
          <p:cNvPr id="229" name="Google Shape;229;p6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30" name="Google Shape;230;p65"/>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1_Gradient BG (with Title)">
  <p:cSld name="1_Gradient BG (with Title)">
    <p:spTree>
      <p:nvGrpSpPr>
        <p:cNvPr id="1" name="Shape 231"/>
        <p:cNvGrpSpPr/>
        <p:nvPr/>
      </p:nvGrpSpPr>
      <p:grpSpPr>
        <a:xfrm>
          <a:off x="0" y="0"/>
          <a:ext cx="0" cy="0"/>
          <a:chOff x="0" y="0"/>
          <a:chExt cx="0" cy="0"/>
        </a:xfrm>
      </p:grpSpPr>
      <p:sp>
        <p:nvSpPr>
          <p:cNvPr id="232" name="Google Shape;232;p66"/>
          <p:cNvSpPr/>
          <p:nvPr/>
        </p:nvSpPr>
        <p:spPr>
          <a:xfrm>
            <a:off x="0" y="0"/>
            <a:ext cx="12192000" cy="6858000"/>
          </a:xfrm>
          <a:prstGeom prst="rect">
            <a:avLst/>
          </a:prstGeom>
          <a:gradFill>
            <a:gsLst>
              <a:gs pos="0">
                <a:srgbClr val="062379"/>
              </a:gs>
              <a:gs pos="16000">
                <a:srgbClr val="062379"/>
              </a:gs>
              <a:gs pos="45000">
                <a:srgbClr val="0934B6">
                  <a:alpha val="8784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nvGrpSpPr>
          <p:cNvPr id="233" name="Google Shape;233;p66"/>
          <p:cNvGrpSpPr/>
          <p:nvPr/>
        </p:nvGrpSpPr>
        <p:grpSpPr>
          <a:xfrm>
            <a:off x="11998459" y="6162188"/>
            <a:ext cx="68500" cy="441925"/>
            <a:chOff x="11998459" y="6162188"/>
            <a:chExt cx="68500" cy="441925"/>
          </a:xfrm>
        </p:grpSpPr>
        <p:sp>
          <p:nvSpPr>
            <p:cNvPr id="234" name="Google Shape;234;p66"/>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5" name="Google Shape;235;p66"/>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6" name="Google Shape;236;p66"/>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7" name="Google Shape;237;p66"/>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8" name="Google Shape;238;p66"/>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9" name="Google Shape;239;p66"/>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0" name="Google Shape;240;p66"/>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1" name="Google Shape;241;p66"/>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2" name="Google Shape;242;p66"/>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3" name="Google Shape;243;p66"/>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4" name="Google Shape;244;p66"/>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5" name="Google Shape;245;p66"/>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6" name="Google Shape;246;p66"/>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47" name="Google Shape;247;p66"/>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1"/>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sp>
        <p:nvSpPr>
          <p:cNvPr id="248" name="Google Shape;248;p66"/>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49" name="Google Shape;249;p66"/>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3 Blue on Right">
  <p:cSld name="1/3 Blue on Right">
    <p:spTree>
      <p:nvGrpSpPr>
        <p:cNvPr id="1" name="Shape 250"/>
        <p:cNvGrpSpPr/>
        <p:nvPr/>
      </p:nvGrpSpPr>
      <p:grpSpPr>
        <a:xfrm>
          <a:off x="0" y="0"/>
          <a:ext cx="0" cy="0"/>
          <a:chOff x="0" y="0"/>
          <a:chExt cx="0" cy="0"/>
        </a:xfrm>
      </p:grpSpPr>
      <p:sp>
        <p:nvSpPr>
          <p:cNvPr id="251" name="Google Shape;251;p67"/>
          <p:cNvSpPr/>
          <p:nvPr/>
        </p:nvSpPr>
        <p:spPr>
          <a:xfrm>
            <a:off x="8134763" y="-1"/>
            <a:ext cx="4059776" cy="6858001"/>
          </a:xfrm>
          <a:prstGeom prst="rect">
            <a:avLst/>
          </a:prstGeom>
          <a:gradFill>
            <a:gsLst>
              <a:gs pos="0">
                <a:srgbClr val="062379"/>
              </a:gs>
              <a:gs pos="16000">
                <a:srgbClr val="062379"/>
              </a:gs>
              <a:gs pos="45000">
                <a:srgbClr val="0934B6">
                  <a:alpha val="8784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2" name="Google Shape;252;p67"/>
          <p:cNvSpPr txBox="1">
            <a:spLocks noGrp="1"/>
          </p:cNvSpPr>
          <p:nvPr>
            <p:ph type="title"/>
          </p:nvPr>
        </p:nvSpPr>
        <p:spPr>
          <a:xfrm>
            <a:off x="539400" y="562841"/>
            <a:ext cx="7261122"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3" name="Google Shape;253;p67"/>
          <p:cNvSpPr txBox="1">
            <a:spLocks noGrp="1"/>
          </p:cNvSpPr>
          <p:nvPr>
            <p:ph type="sldNum" idx="12"/>
          </p:nvPr>
        </p:nvSpPr>
        <p:spPr>
          <a:xfrm>
            <a:off x="11490453" y="6445294"/>
            <a:ext cx="150683"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4" name="Google Shape;254;p67"/>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grpSp>
        <p:nvGrpSpPr>
          <p:cNvPr id="255" name="Google Shape;255;p67"/>
          <p:cNvGrpSpPr/>
          <p:nvPr/>
        </p:nvGrpSpPr>
        <p:grpSpPr>
          <a:xfrm>
            <a:off x="11998459" y="6162188"/>
            <a:ext cx="68500" cy="441925"/>
            <a:chOff x="11998459" y="6162188"/>
            <a:chExt cx="68500" cy="441925"/>
          </a:xfrm>
        </p:grpSpPr>
        <p:sp>
          <p:nvSpPr>
            <p:cNvPr id="256" name="Google Shape;256;p67"/>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7" name="Google Shape;257;p67"/>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8" name="Google Shape;258;p67"/>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9" name="Google Shape;259;p67"/>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0" name="Google Shape;260;p67"/>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1" name="Google Shape;261;p67"/>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2" name="Google Shape;262;p67"/>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3" name="Google Shape;263;p67"/>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4" name="Google Shape;264;p67"/>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5" name="Google Shape;265;p67"/>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6" name="Google Shape;266;p67"/>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7" name="Google Shape;267;p67"/>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8" name="Google Shape;268;p67"/>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69" name="Google Shape;269;p67"/>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1"/>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sp>
        <p:nvSpPr>
          <p:cNvPr id="270" name="Google Shape;270;p67"/>
          <p:cNvSpPr txBox="1">
            <a:spLocks noGrp="1"/>
          </p:cNvSpPr>
          <p:nvPr>
            <p:ph type="ftr" idx="11"/>
          </p:nvPr>
        </p:nvSpPr>
        <p:spPr>
          <a:xfrm>
            <a:off x="550862" y="6465614"/>
            <a:ext cx="7276401"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matchingName="Breaker Slide_2">
  <p:cSld name="Breaker Slide_2">
    <p:bg>
      <p:bgPr>
        <a:solidFill>
          <a:schemeClr val="lt2"/>
        </a:solidFill>
        <a:effectLst/>
      </p:bgPr>
    </p:bg>
    <p:spTree>
      <p:nvGrpSpPr>
        <p:cNvPr id="1" name="Shape 271"/>
        <p:cNvGrpSpPr/>
        <p:nvPr/>
      </p:nvGrpSpPr>
      <p:grpSpPr>
        <a:xfrm>
          <a:off x="0" y="0"/>
          <a:ext cx="0" cy="0"/>
          <a:chOff x="0" y="0"/>
          <a:chExt cx="0" cy="0"/>
        </a:xfrm>
      </p:grpSpPr>
      <p:pic>
        <p:nvPicPr>
          <p:cNvPr id="272" name="Google Shape;272;p69"/>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273" name="Google Shape;273;p69"/>
          <p:cNvSpPr/>
          <p:nvPr/>
        </p:nvSpPr>
        <p:spPr>
          <a:xfrm>
            <a:off x="0" y="0"/>
            <a:ext cx="12192000" cy="6858000"/>
          </a:xfrm>
          <a:prstGeom prst="rect">
            <a:avLst/>
          </a:prstGeom>
          <a:gradFill>
            <a:gsLst>
              <a:gs pos="0">
                <a:srgbClr val="062379"/>
              </a:gs>
              <a:gs pos="16000">
                <a:srgbClr val="062379"/>
              </a:gs>
              <a:gs pos="55000">
                <a:srgbClr val="0934B6">
                  <a:alpha val="87843"/>
                </a:srgbClr>
              </a:gs>
              <a:gs pos="85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4" name="Google Shape;274;p69"/>
          <p:cNvSpPr txBox="1">
            <a:spLocks noGrp="1"/>
          </p:cNvSpPr>
          <p:nvPr>
            <p:ph type="title"/>
          </p:nvPr>
        </p:nvSpPr>
        <p:spPr>
          <a:xfrm>
            <a:off x="992390" y="4026897"/>
            <a:ext cx="6785798" cy="1569660"/>
          </a:xfrm>
          <a:prstGeom prst="rect">
            <a:avLst/>
          </a:prstGeom>
          <a:noFill/>
          <a:ln>
            <a:noFill/>
          </a:ln>
          <a:effectLst>
            <a:outerShdw blurRad="190500" algn="tl" rotWithShape="0">
              <a:srgbClr val="000000">
                <a:alpha val="27843"/>
              </a:srgbClr>
            </a:outerShdw>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75" name="Google Shape;275;p69"/>
          <p:cNvGrpSpPr/>
          <p:nvPr/>
        </p:nvGrpSpPr>
        <p:grpSpPr>
          <a:xfrm>
            <a:off x="11998459" y="6162188"/>
            <a:ext cx="68500" cy="441925"/>
            <a:chOff x="11998459" y="6162188"/>
            <a:chExt cx="68500" cy="441925"/>
          </a:xfrm>
        </p:grpSpPr>
        <p:sp>
          <p:nvSpPr>
            <p:cNvPr id="276" name="Google Shape;276;p69"/>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7" name="Google Shape;277;p69"/>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8" name="Google Shape;278;p69"/>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9" name="Google Shape;279;p69"/>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0" name="Google Shape;280;p69"/>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1" name="Google Shape;281;p69"/>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2" name="Google Shape;282;p69"/>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3" name="Google Shape;283;p69"/>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4" name="Google Shape;284;p69"/>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5" name="Google Shape;285;p69"/>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6" name="Google Shape;286;p69"/>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7" name="Google Shape;287;p69"/>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8" name="Google Shape;288;p69"/>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89" name="Google Shape;289;p69"/>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1"/>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sp>
        <p:nvSpPr>
          <p:cNvPr id="290" name="Google Shape;290;p69"/>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1" name="Google Shape;291;p69"/>
          <p:cNvCxnSpPr/>
          <p:nvPr/>
        </p:nvCxnSpPr>
        <p:spPr>
          <a:xfrm>
            <a:off x="992389" y="5712304"/>
            <a:ext cx="1542466" cy="0"/>
          </a:xfrm>
          <a:prstGeom prst="straightConnector1">
            <a:avLst/>
          </a:prstGeom>
          <a:noFill/>
          <a:ln w="38100" cap="flat" cmpd="sng">
            <a:solidFill>
              <a:schemeClr val="lt1"/>
            </a:solidFill>
            <a:prstDash val="solid"/>
            <a:miter lim="800000"/>
            <a:headEnd type="none" w="sm" len="sm"/>
            <a:tailEnd type="none" w="sm" len="sm"/>
          </a:ln>
        </p:spPr>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Guides">
  <p:cSld name="Guides">
    <p:spTree>
      <p:nvGrpSpPr>
        <p:cNvPr id="1" name="Shape 292"/>
        <p:cNvGrpSpPr/>
        <p:nvPr/>
      </p:nvGrpSpPr>
      <p:grpSpPr>
        <a:xfrm>
          <a:off x="0" y="0"/>
          <a:ext cx="0" cy="0"/>
          <a:chOff x="0" y="0"/>
          <a:chExt cx="0" cy="0"/>
        </a:xfrm>
      </p:grpSpPr>
      <p:sp>
        <p:nvSpPr>
          <p:cNvPr id="293" name="Google Shape;293;p70"/>
          <p:cNvSpPr/>
          <p:nvPr/>
        </p:nvSpPr>
        <p:spPr>
          <a:xfrm>
            <a:off x="0" y="0"/>
            <a:ext cx="12193200" cy="6858000"/>
          </a:xfrm>
          <a:custGeom>
            <a:avLst/>
            <a:gdLst/>
            <a:ahLst/>
            <a:cxnLst/>
            <a:rect l="l" t="t" r="r" b="b"/>
            <a:pathLst>
              <a:path w="12193200" h="6858000" extrusionOk="0">
                <a:moveTo>
                  <a:pt x="566584" y="549276"/>
                </a:moveTo>
                <a:lnTo>
                  <a:pt x="566584" y="6308726"/>
                </a:lnTo>
                <a:lnTo>
                  <a:pt x="11641138" y="6308726"/>
                </a:lnTo>
                <a:lnTo>
                  <a:pt x="11641138" y="549276"/>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0000">
              <a:alpha val="274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nvGrpSpPr>
          <p:cNvPr id="294" name="Google Shape;294;p70"/>
          <p:cNvGrpSpPr/>
          <p:nvPr/>
        </p:nvGrpSpPr>
        <p:grpSpPr>
          <a:xfrm>
            <a:off x="-600" y="549275"/>
            <a:ext cx="12193201" cy="5759450"/>
            <a:chOff x="-600" y="549275"/>
            <a:chExt cx="12193201" cy="5759450"/>
          </a:xfrm>
        </p:grpSpPr>
        <p:cxnSp>
          <p:nvCxnSpPr>
            <p:cNvPr id="295" name="Google Shape;295;p70"/>
            <p:cNvCxnSpPr/>
            <p:nvPr/>
          </p:nvCxnSpPr>
          <p:spPr>
            <a:xfrm>
              <a:off x="-600" y="54927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6" name="Google Shape;296;p70"/>
            <p:cNvCxnSpPr/>
            <p:nvPr/>
          </p:nvCxnSpPr>
          <p:spPr>
            <a:xfrm>
              <a:off x="-600" y="1072861"/>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7" name="Google Shape;297;p70"/>
            <p:cNvCxnSpPr/>
            <p:nvPr/>
          </p:nvCxnSpPr>
          <p:spPr>
            <a:xfrm>
              <a:off x="-600" y="1334654"/>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8" name="Google Shape;298;p70"/>
            <p:cNvCxnSpPr/>
            <p:nvPr/>
          </p:nvCxnSpPr>
          <p:spPr>
            <a:xfrm>
              <a:off x="-600" y="1596447"/>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9" name="Google Shape;299;p70"/>
            <p:cNvCxnSpPr/>
            <p:nvPr/>
          </p:nvCxnSpPr>
          <p:spPr>
            <a:xfrm>
              <a:off x="-600" y="1858240"/>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0" name="Google Shape;300;p70"/>
            <p:cNvCxnSpPr/>
            <p:nvPr/>
          </p:nvCxnSpPr>
          <p:spPr>
            <a:xfrm>
              <a:off x="-600" y="2120033"/>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1" name="Google Shape;301;p70"/>
            <p:cNvCxnSpPr/>
            <p:nvPr/>
          </p:nvCxnSpPr>
          <p:spPr>
            <a:xfrm>
              <a:off x="-600" y="2381826"/>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2" name="Google Shape;302;p70"/>
            <p:cNvCxnSpPr/>
            <p:nvPr/>
          </p:nvCxnSpPr>
          <p:spPr>
            <a:xfrm>
              <a:off x="-600" y="2643619"/>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3" name="Google Shape;303;p70"/>
            <p:cNvCxnSpPr/>
            <p:nvPr/>
          </p:nvCxnSpPr>
          <p:spPr>
            <a:xfrm>
              <a:off x="-600" y="2905412"/>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4" name="Google Shape;304;p70"/>
            <p:cNvCxnSpPr/>
            <p:nvPr/>
          </p:nvCxnSpPr>
          <p:spPr>
            <a:xfrm>
              <a:off x="-600" y="316720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5" name="Google Shape;305;p70"/>
            <p:cNvCxnSpPr/>
            <p:nvPr/>
          </p:nvCxnSpPr>
          <p:spPr>
            <a:xfrm>
              <a:off x="-600" y="342899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6" name="Google Shape;306;p70"/>
            <p:cNvCxnSpPr/>
            <p:nvPr/>
          </p:nvCxnSpPr>
          <p:spPr>
            <a:xfrm>
              <a:off x="-600" y="3690791"/>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7" name="Google Shape;307;p70"/>
            <p:cNvCxnSpPr/>
            <p:nvPr/>
          </p:nvCxnSpPr>
          <p:spPr>
            <a:xfrm>
              <a:off x="-600" y="3952584"/>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8" name="Google Shape;308;p70"/>
            <p:cNvCxnSpPr/>
            <p:nvPr/>
          </p:nvCxnSpPr>
          <p:spPr>
            <a:xfrm>
              <a:off x="-600" y="4214377"/>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9" name="Google Shape;309;p70"/>
            <p:cNvCxnSpPr/>
            <p:nvPr/>
          </p:nvCxnSpPr>
          <p:spPr>
            <a:xfrm>
              <a:off x="-600" y="4476170"/>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0" name="Google Shape;310;p70"/>
            <p:cNvCxnSpPr/>
            <p:nvPr/>
          </p:nvCxnSpPr>
          <p:spPr>
            <a:xfrm>
              <a:off x="-600" y="4737963"/>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1" name="Google Shape;311;p70"/>
            <p:cNvCxnSpPr/>
            <p:nvPr/>
          </p:nvCxnSpPr>
          <p:spPr>
            <a:xfrm>
              <a:off x="-600" y="4999756"/>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2" name="Google Shape;312;p70"/>
            <p:cNvCxnSpPr/>
            <p:nvPr/>
          </p:nvCxnSpPr>
          <p:spPr>
            <a:xfrm>
              <a:off x="-600" y="5261549"/>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3" name="Google Shape;313;p70"/>
            <p:cNvCxnSpPr/>
            <p:nvPr/>
          </p:nvCxnSpPr>
          <p:spPr>
            <a:xfrm>
              <a:off x="-600" y="5523342"/>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4" name="Google Shape;314;p70"/>
            <p:cNvCxnSpPr/>
            <p:nvPr/>
          </p:nvCxnSpPr>
          <p:spPr>
            <a:xfrm>
              <a:off x="-600" y="578513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5" name="Google Shape;315;p70"/>
            <p:cNvCxnSpPr/>
            <p:nvPr/>
          </p:nvCxnSpPr>
          <p:spPr>
            <a:xfrm>
              <a:off x="-600" y="81106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6" name="Google Shape;316;p70"/>
            <p:cNvCxnSpPr/>
            <p:nvPr/>
          </p:nvCxnSpPr>
          <p:spPr>
            <a:xfrm>
              <a:off x="-600" y="630872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7" name="Google Shape;317;p70"/>
            <p:cNvCxnSpPr/>
            <p:nvPr/>
          </p:nvCxnSpPr>
          <p:spPr>
            <a:xfrm>
              <a:off x="-600" y="604692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grpSp>
      <p:sp>
        <p:nvSpPr>
          <p:cNvPr id="318" name="Google Shape;318;p70"/>
          <p:cNvSpPr/>
          <p:nvPr/>
        </p:nvSpPr>
        <p:spPr>
          <a:xfrm>
            <a:off x="550263" y="6308721"/>
            <a:ext cx="11090873" cy="261799"/>
          </a:xfrm>
          <a:prstGeom prst="rect">
            <a:avLst/>
          </a:prstGeom>
          <a:solidFill>
            <a:srgbClr val="FF0000">
              <a:alpha val="7843"/>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9" name="Google Shape;319;p70"/>
          <p:cNvSpPr/>
          <p:nvPr/>
        </p:nvSpPr>
        <p:spPr>
          <a:xfrm>
            <a:off x="550864" y="1348221"/>
            <a:ext cx="11105556" cy="509202"/>
          </a:xfrm>
          <a:prstGeom prst="rect">
            <a:avLst/>
          </a:prstGeom>
          <a:solidFill>
            <a:srgbClr val="FF0000">
              <a:alpha val="274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0" name="Google Shape;320;p70"/>
          <p:cNvSpPr/>
          <p:nvPr/>
        </p:nvSpPr>
        <p:spPr>
          <a:xfrm>
            <a:off x="550863" y="2120033"/>
            <a:ext cx="11090275" cy="4188692"/>
          </a:xfrm>
          <a:custGeom>
            <a:avLst/>
            <a:gdLst/>
            <a:ahLst/>
            <a:cxnLst/>
            <a:rect l="l" t="t" r="r" b="b"/>
            <a:pathLst>
              <a:path w="10931999" h="5537797" extrusionOk="0">
                <a:moveTo>
                  <a:pt x="0" y="0"/>
                </a:moveTo>
                <a:lnTo>
                  <a:pt x="10931999" y="0"/>
                </a:lnTo>
                <a:lnTo>
                  <a:pt x="10931999" y="5537797"/>
                </a:lnTo>
                <a:lnTo>
                  <a:pt x="0" y="5537797"/>
                </a:lnTo>
                <a:close/>
              </a:path>
            </a:pathLst>
          </a:custGeom>
          <a:noFill/>
          <a:ln w="9525" cap="flat" cmpd="sng">
            <a:solidFill>
              <a:schemeClr val="dk2">
                <a:alpha val="32941"/>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1200" b="0" i="0" u="none" strike="noStrike" cap="none">
              <a:solidFill>
                <a:schemeClr val="lt1"/>
              </a:solidFill>
              <a:latin typeface="Calibri"/>
              <a:ea typeface="Calibri"/>
              <a:cs typeface="Calibri"/>
              <a:sym typeface="Calibri"/>
            </a:endParaRPr>
          </a:p>
        </p:txBody>
      </p:sp>
      <p:grpSp>
        <p:nvGrpSpPr>
          <p:cNvPr id="321" name="Google Shape;321;p70"/>
          <p:cNvGrpSpPr/>
          <p:nvPr/>
        </p:nvGrpSpPr>
        <p:grpSpPr>
          <a:xfrm>
            <a:off x="1215339" y="1857423"/>
            <a:ext cx="9763000" cy="4458091"/>
            <a:chOff x="1215339" y="549274"/>
            <a:chExt cx="9763000" cy="5759450"/>
          </a:xfrm>
        </p:grpSpPr>
        <p:sp>
          <p:nvSpPr>
            <p:cNvPr id="322" name="Google Shape;322;p70"/>
            <p:cNvSpPr/>
            <p:nvPr/>
          </p:nvSpPr>
          <p:spPr>
            <a:xfrm>
              <a:off x="6900339" y="549274"/>
              <a:ext cx="288000" cy="5759450"/>
            </a:xfrm>
            <a:prstGeom prst="rect">
              <a:avLst/>
            </a:prstGeom>
            <a:solidFill>
              <a:srgbClr val="9EB5FA">
                <a:alpha val="7843"/>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3" name="Google Shape;323;p70"/>
            <p:cNvSpPr/>
            <p:nvPr/>
          </p:nvSpPr>
          <p:spPr>
            <a:xfrm>
              <a:off x="8795339" y="549274"/>
              <a:ext cx="288000" cy="5759450"/>
            </a:xfrm>
            <a:prstGeom prst="rect">
              <a:avLst/>
            </a:prstGeom>
            <a:solidFill>
              <a:srgbClr val="9EB5FA">
                <a:alpha val="7843"/>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4" name="Google Shape;324;p70"/>
            <p:cNvSpPr/>
            <p:nvPr/>
          </p:nvSpPr>
          <p:spPr>
            <a:xfrm>
              <a:off x="7847839" y="549274"/>
              <a:ext cx="288000" cy="5759450"/>
            </a:xfrm>
            <a:prstGeom prst="rect">
              <a:avLst/>
            </a:prstGeom>
            <a:solidFill>
              <a:srgbClr val="9EB5FA">
                <a:alpha val="7843"/>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5" name="Google Shape;325;p70"/>
            <p:cNvSpPr/>
            <p:nvPr/>
          </p:nvSpPr>
          <p:spPr>
            <a:xfrm>
              <a:off x="9742839" y="549274"/>
              <a:ext cx="288000" cy="5759450"/>
            </a:xfrm>
            <a:prstGeom prst="rect">
              <a:avLst/>
            </a:prstGeom>
            <a:solidFill>
              <a:srgbClr val="9EB5FA">
                <a:alpha val="7843"/>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6" name="Google Shape;326;p70"/>
            <p:cNvSpPr/>
            <p:nvPr/>
          </p:nvSpPr>
          <p:spPr>
            <a:xfrm>
              <a:off x="10690339" y="549274"/>
              <a:ext cx="288000" cy="5759450"/>
            </a:xfrm>
            <a:prstGeom prst="rect">
              <a:avLst/>
            </a:prstGeom>
            <a:solidFill>
              <a:srgbClr val="9EB5FA">
                <a:alpha val="7843"/>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7" name="Google Shape;327;p70"/>
            <p:cNvSpPr/>
            <p:nvPr/>
          </p:nvSpPr>
          <p:spPr>
            <a:xfrm>
              <a:off x="5952839" y="549274"/>
              <a:ext cx="288000" cy="5759450"/>
            </a:xfrm>
            <a:prstGeom prst="rect">
              <a:avLst/>
            </a:prstGeom>
            <a:solidFill>
              <a:srgbClr val="9EB5FA">
                <a:alpha val="27843"/>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8" name="Google Shape;328;p70"/>
            <p:cNvSpPr/>
            <p:nvPr/>
          </p:nvSpPr>
          <p:spPr>
            <a:xfrm>
              <a:off x="1215339" y="549274"/>
              <a:ext cx="288000" cy="5759450"/>
            </a:xfrm>
            <a:prstGeom prst="rect">
              <a:avLst/>
            </a:prstGeom>
            <a:solidFill>
              <a:srgbClr val="9EB5FA">
                <a:alpha val="7843"/>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9" name="Google Shape;329;p70"/>
            <p:cNvSpPr/>
            <p:nvPr/>
          </p:nvSpPr>
          <p:spPr>
            <a:xfrm>
              <a:off x="2162839" y="549274"/>
              <a:ext cx="288000" cy="5759450"/>
            </a:xfrm>
            <a:prstGeom prst="rect">
              <a:avLst/>
            </a:prstGeom>
            <a:solidFill>
              <a:srgbClr val="9EB5FA">
                <a:alpha val="7843"/>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0" name="Google Shape;330;p70"/>
            <p:cNvSpPr/>
            <p:nvPr/>
          </p:nvSpPr>
          <p:spPr>
            <a:xfrm>
              <a:off x="3110339" y="549274"/>
              <a:ext cx="288000" cy="5759450"/>
            </a:xfrm>
            <a:prstGeom prst="rect">
              <a:avLst/>
            </a:prstGeom>
            <a:solidFill>
              <a:srgbClr val="9EB5FA">
                <a:alpha val="7843"/>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1" name="Google Shape;331;p70"/>
            <p:cNvSpPr/>
            <p:nvPr/>
          </p:nvSpPr>
          <p:spPr>
            <a:xfrm>
              <a:off x="4057839" y="549274"/>
              <a:ext cx="288000" cy="5759450"/>
            </a:xfrm>
            <a:prstGeom prst="rect">
              <a:avLst/>
            </a:prstGeom>
            <a:solidFill>
              <a:srgbClr val="9EB5FA">
                <a:alpha val="7843"/>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2" name="Google Shape;332;p70"/>
            <p:cNvSpPr/>
            <p:nvPr/>
          </p:nvSpPr>
          <p:spPr>
            <a:xfrm>
              <a:off x="5005339" y="549274"/>
              <a:ext cx="288000" cy="5759450"/>
            </a:xfrm>
            <a:prstGeom prst="rect">
              <a:avLst/>
            </a:prstGeom>
            <a:solidFill>
              <a:srgbClr val="9EB5FA">
                <a:alpha val="7843"/>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33" name="Google Shape;333;p70"/>
          <p:cNvSpPr txBox="1"/>
          <p:nvPr/>
        </p:nvSpPr>
        <p:spPr>
          <a:xfrm>
            <a:off x="550862" y="6309543"/>
            <a:ext cx="9030915" cy="277705"/>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7F7F7F"/>
              </a:buClr>
              <a:buSzPts val="1000"/>
              <a:buFont typeface="Calibri"/>
              <a:buNone/>
            </a:pPr>
            <a:r>
              <a:rPr lang="en-US" sz="1000" b="0" i="0" u="none" strike="noStrike" cap="none">
                <a:solidFill>
                  <a:srgbClr val="7F7F7F"/>
                </a:solidFill>
                <a:latin typeface="Calibri"/>
                <a:ea typeface="Calibri"/>
                <a:cs typeface="Calibri"/>
                <a:sym typeface="Calibri"/>
              </a:rPr>
              <a:t>Footnotes/Notes</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0"/>
              </a:spcBef>
              <a:spcAft>
                <a:spcPts val="0"/>
              </a:spcAft>
              <a:buClr>
                <a:srgbClr val="7F7F7F"/>
              </a:buClr>
              <a:buSzPts val="1000"/>
              <a:buFont typeface="Calibri"/>
              <a:buNone/>
            </a:pPr>
            <a:r>
              <a:rPr lang="en-US" sz="1000" b="0" i="0" u="none" strike="noStrike" cap="none">
                <a:solidFill>
                  <a:srgbClr val="7F7F7F"/>
                </a:solidFill>
                <a:latin typeface="Calibri"/>
                <a:ea typeface="Calibri"/>
                <a:cs typeface="Calibri"/>
                <a:sym typeface="Calibri"/>
              </a:rPr>
              <a:t>Source: Include a source here</a:t>
            </a:r>
            <a:endParaRPr sz="1400" b="0" i="0" u="none" strike="noStrike" cap="none">
              <a:solidFill>
                <a:srgbClr val="000000"/>
              </a:solidFill>
              <a:latin typeface="Arial"/>
              <a:ea typeface="Arial"/>
              <a:cs typeface="Arial"/>
              <a:sym typeface="Arial"/>
            </a:endParaRPr>
          </a:p>
        </p:txBody>
      </p:sp>
      <p:sp>
        <p:nvSpPr>
          <p:cNvPr id="334" name="Google Shape;334;p70"/>
          <p:cNvSpPr txBox="1">
            <a:spLocks noGrp="1"/>
          </p:cNvSpPr>
          <p:nvPr>
            <p:ph type="sldNum" idx="12"/>
          </p:nvPr>
        </p:nvSpPr>
        <p:spPr>
          <a:xfrm>
            <a:off x="11490153" y="6450225"/>
            <a:ext cx="150682" cy="15388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35" name="Google Shape;335;p70"/>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36" name="Google Shape;336;p70"/>
          <p:cNvGrpSpPr/>
          <p:nvPr/>
        </p:nvGrpSpPr>
        <p:grpSpPr>
          <a:xfrm>
            <a:off x="550864" y="6156603"/>
            <a:ext cx="11089971" cy="55199"/>
            <a:chOff x="550864" y="6156603"/>
            <a:chExt cx="11089971" cy="55199"/>
          </a:xfrm>
        </p:grpSpPr>
        <p:sp>
          <p:nvSpPr>
            <p:cNvPr id="337" name="Google Shape;337;p70"/>
            <p:cNvSpPr/>
            <p:nvPr/>
          </p:nvSpPr>
          <p:spPr>
            <a:xfrm>
              <a:off x="550864" y="6156603"/>
              <a:ext cx="1983600" cy="55199"/>
            </a:xfrm>
            <a:prstGeom prst="rect">
              <a:avLst/>
            </a:prstGeom>
            <a:solidFill>
              <a:srgbClr val="9EB5FA">
                <a:alpha val="27843"/>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8" name="Google Shape;338;p70"/>
            <p:cNvSpPr/>
            <p:nvPr/>
          </p:nvSpPr>
          <p:spPr>
            <a:xfrm>
              <a:off x="5104050" y="6156603"/>
              <a:ext cx="1983600" cy="55199"/>
            </a:xfrm>
            <a:prstGeom prst="rect">
              <a:avLst/>
            </a:prstGeom>
            <a:solidFill>
              <a:srgbClr val="9EB5FA">
                <a:alpha val="27843"/>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9" name="Google Shape;339;p70"/>
            <p:cNvSpPr/>
            <p:nvPr/>
          </p:nvSpPr>
          <p:spPr>
            <a:xfrm>
              <a:off x="7380643" y="6156603"/>
              <a:ext cx="1983600" cy="55199"/>
            </a:xfrm>
            <a:prstGeom prst="rect">
              <a:avLst/>
            </a:prstGeom>
            <a:solidFill>
              <a:srgbClr val="9EB5FA">
                <a:alpha val="27843"/>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40" name="Google Shape;340;p70"/>
            <p:cNvSpPr/>
            <p:nvPr/>
          </p:nvSpPr>
          <p:spPr>
            <a:xfrm>
              <a:off x="9657235" y="6156603"/>
              <a:ext cx="1983600" cy="55199"/>
            </a:xfrm>
            <a:prstGeom prst="rect">
              <a:avLst/>
            </a:prstGeom>
            <a:solidFill>
              <a:srgbClr val="9EB5FA">
                <a:alpha val="27843"/>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41" name="Google Shape;341;p70"/>
            <p:cNvSpPr/>
            <p:nvPr/>
          </p:nvSpPr>
          <p:spPr>
            <a:xfrm>
              <a:off x="2827457" y="6156603"/>
              <a:ext cx="1983600" cy="55199"/>
            </a:xfrm>
            <a:prstGeom prst="rect">
              <a:avLst/>
            </a:prstGeom>
            <a:solidFill>
              <a:srgbClr val="9EB5FA">
                <a:alpha val="27843"/>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5_Full-width Page">
  <p:cSld name="5_Full-width Page">
    <p:spTree>
      <p:nvGrpSpPr>
        <p:cNvPr id="1" name="Shape 342"/>
        <p:cNvGrpSpPr/>
        <p:nvPr/>
      </p:nvGrpSpPr>
      <p:grpSpPr>
        <a:xfrm>
          <a:off x="0" y="0"/>
          <a:ext cx="0" cy="0"/>
          <a:chOff x="0" y="0"/>
          <a:chExt cx="0" cy="0"/>
        </a:xfrm>
      </p:grpSpPr>
      <p:pic>
        <p:nvPicPr>
          <p:cNvPr id="343" name="Google Shape;343;p71"/>
          <p:cNvPicPr preferRelativeResize="0"/>
          <p:nvPr/>
        </p:nvPicPr>
        <p:blipFill rotWithShape="1">
          <a:blip r:embed="rId2">
            <a:alphaModFix/>
          </a:blip>
          <a:srcRect/>
          <a:stretch/>
        </p:blipFill>
        <p:spPr>
          <a:xfrm>
            <a:off x="2" y="0"/>
            <a:ext cx="3492498" cy="6858000"/>
          </a:xfrm>
          <a:prstGeom prst="rect">
            <a:avLst/>
          </a:prstGeom>
          <a:noFill/>
          <a:ln>
            <a:noFill/>
          </a:ln>
        </p:spPr>
      </p:pic>
      <p:sp>
        <p:nvSpPr>
          <p:cNvPr id="344" name="Google Shape;344;p71"/>
          <p:cNvSpPr/>
          <p:nvPr/>
        </p:nvSpPr>
        <p:spPr>
          <a:xfrm>
            <a:off x="0" y="-1"/>
            <a:ext cx="3492497" cy="6857999"/>
          </a:xfrm>
          <a:prstGeom prst="rect">
            <a:avLst/>
          </a:prstGeom>
          <a:gradFill>
            <a:gsLst>
              <a:gs pos="0">
                <a:schemeClr val="dk2"/>
              </a:gs>
              <a:gs pos="76000">
                <a:srgbClr val="4873F5">
                  <a:alpha val="82745"/>
                </a:srgbClr>
              </a:gs>
              <a:gs pos="100000">
                <a:srgbClr val="00B9FF">
                  <a:alpha val="80000"/>
                </a:srgbClr>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5" name="Google Shape;345;p71"/>
          <p:cNvSpPr txBox="1">
            <a:spLocks noGrp="1"/>
          </p:cNvSpPr>
          <p:nvPr>
            <p:ph type="title"/>
          </p:nvPr>
        </p:nvSpPr>
        <p:spPr>
          <a:xfrm>
            <a:off x="376385" y="410423"/>
            <a:ext cx="3023598" cy="830997"/>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346" name="Google Shape;346;p71"/>
          <p:cNvCxnSpPr/>
          <p:nvPr/>
        </p:nvCxnSpPr>
        <p:spPr>
          <a:xfrm>
            <a:off x="362847" y="361101"/>
            <a:ext cx="540000" cy="0"/>
          </a:xfrm>
          <a:prstGeom prst="straightConnector1">
            <a:avLst/>
          </a:prstGeom>
          <a:noFill/>
          <a:ln w="38100" cap="flat" cmpd="sng">
            <a:solidFill>
              <a:schemeClr val="lt1"/>
            </a:solidFill>
            <a:prstDash val="solid"/>
            <a:miter lim="800000"/>
            <a:headEnd type="none" w="sm" len="sm"/>
            <a:tailEnd type="none" w="sm" len="sm"/>
          </a:ln>
        </p:spPr>
      </p:cxn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1_Title only (with background)">
  <p:cSld name="2_Title only (with background)">
    <p:bg>
      <p:bgPr>
        <a:solidFill>
          <a:schemeClr val="lt2"/>
        </a:solidFill>
        <a:effectLst/>
      </p:bgPr>
    </p:bg>
    <p:spTree>
      <p:nvGrpSpPr>
        <p:cNvPr id="1" name="Shape 706"/>
        <p:cNvGrpSpPr/>
        <p:nvPr/>
      </p:nvGrpSpPr>
      <p:grpSpPr>
        <a:xfrm>
          <a:off x="0" y="0"/>
          <a:ext cx="0" cy="0"/>
          <a:chOff x="0" y="0"/>
          <a:chExt cx="0" cy="0"/>
        </a:xfrm>
      </p:grpSpPr>
      <p:sp>
        <p:nvSpPr>
          <p:cNvPr id="707" name="Google Shape;707;p83"/>
          <p:cNvSpPr txBox="1">
            <a:spLocks noGrp="1"/>
          </p:cNvSpPr>
          <p:nvPr>
            <p:ph type="ftr" idx="11"/>
          </p:nvPr>
        </p:nvSpPr>
        <p:spPr>
          <a:xfrm>
            <a:off x="550863" y="6465614"/>
            <a:ext cx="488916"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8" name="Google Shape;708;p83"/>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grpSp>
        <p:nvGrpSpPr>
          <p:cNvPr id="709" name="Google Shape;709;p83"/>
          <p:cNvGrpSpPr/>
          <p:nvPr/>
        </p:nvGrpSpPr>
        <p:grpSpPr>
          <a:xfrm>
            <a:off x="11979441" y="4535495"/>
            <a:ext cx="110800" cy="2041948"/>
            <a:chOff x="11979441" y="4535495"/>
            <a:chExt cx="110800" cy="2041948"/>
          </a:xfrm>
        </p:grpSpPr>
        <p:grpSp>
          <p:nvGrpSpPr>
            <p:cNvPr id="710" name="Google Shape;710;p83"/>
            <p:cNvGrpSpPr/>
            <p:nvPr/>
          </p:nvGrpSpPr>
          <p:grpSpPr>
            <a:xfrm>
              <a:off x="11998460" y="6135518"/>
              <a:ext cx="68500" cy="441925"/>
              <a:chOff x="11998459" y="6162188"/>
              <a:chExt cx="68500" cy="441925"/>
            </a:xfrm>
          </p:grpSpPr>
          <p:sp>
            <p:nvSpPr>
              <p:cNvPr id="711" name="Google Shape;711;p83"/>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12" name="Google Shape;712;p83"/>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13" name="Google Shape;713;p83"/>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14" name="Google Shape;714;p83"/>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15" name="Google Shape;715;p83"/>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16" name="Google Shape;716;p83"/>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17" name="Google Shape;717;p83"/>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18" name="Google Shape;718;p83"/>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19" name="Google Shape;719;p83"/>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20" name="Google Shape;720;p83"/>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21" name="Google Shape;721;p83"/>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22" name="Google Shape;722;p83"/>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23" name="Google Shape;723;p83"/>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grpSp>
        <p:pic>
          <p:nvPicPr>
            <p:cNvPr id="724" name="Google Shape;724;p83"/>
            <p:cNvPicPr preferRelativeResize="0"/>
            <p:nvPr/>
          </p:nvPicPr>
          <p:blipFill rotWithShape="1">
            <a:blip r:embed="rId2">
              <a:alphaModFix/>
            </a:blip>
            <a:srcRect/>
            <a:stretch/>
          </p:blipFill>
          <p:spPr>
            <a:xfrm rot="-5400000">
              <a:off x="11811888" y="6322371"/>
              <a:ext cx="441438" cy="68706"/>
            </a:xfrm>
            <a:prstGeom prst="rect">
              <a:avLst/>
            </a:prstGeom>
            <a:noFill/>
            <a:ln>
              <a:noFill/>
            </a:ln>
          </p:spPr>
        </p:pic>
        <p:sp>
          <p:nvSpPr>
            <p:cNvPr id="725" name="Google Shape;725;p83"/>
            <p:cNvSpPr txBox="1"/>
            <p:nvPr/>
          </p:nvSpPr>
          <p:spPr>
            <a:xfrm rot="-5400000">
              <a:off x="11250972" y="526396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rgbClr val="B4B4B4"/>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grpSp>
      <p:sp>
        <p:nvSpPr>
          <p:cNvPr id="726" name="Google Shape;726;p83"/>
          <p:cNvSpPr txBox="1"/>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Clr>
                <a:srgbClr val="000000"/>
              </a:buClr>
              <a:buSzPts val="1000"/>
              <a:buFont typeface="Arial"/>
              <a:buNone/>
            </a:pPr>
            <a:fld id="{00000000-1234-1234-1234-123412341234}" type="slidenum">
              <a:rPr lang="en-US" sz="1000" b="0" i="0" u="none" strike="noStrike" cap="none">
                <a:solidFill>
                  <a:srgbClr val="7F7F7F"/>
                </a:solidFill>
                <a:latin typeface="Calibri"/>
                <a:ea typeface="Calibri"/>
                <a:cs typeface="Calibri"/>
                <a:sym typeface="Calibri"/>
              </a:rPr>
              <a:t>‹#›</a:t>
            </a:fld>
            <a:endParaRPr sz="1000" b="0" i="0" u="none" strike="noStrike" cap="none">
              <a:solidFill>
                <a:srgbClr val="7F7F7F"/>
              </a:solidFill>
              <a:latin typeface="Calibri"/>
              <a:ea typeface="Calibri"/>
              <a:cs typeface="Calibri"/>
              <a:sym typeface="Calibri"/>
            </a:endParaRPr>
          </a:p>
        </p:txBody>
      </p:sp>
    </p:spTree>
    <p:extLst>
      <p:ext uri="{BB962C8B-B14F-4D97-AF65-F5344CB8AC3E}">
        <p14:creationId xmlns:p14="http://schemas.microsoft.com/office/powerpoint/2010/main" val="20977790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70"/>
        <p:cNvGrpSpPr/>
        <p:nvPr/>
      </p:nvGrpSpPr>
      <p:grpSpPr>
        <a:xfrm>
          <a:off x="0" y="0"/>
          <a:ext cx="0" cy="0"/>
          <a:chOff x="0" y="0"/>
          <a:chExt cx="0" cy="0"/>
        </a:xfrm>
      </p:grpSpPr>
      <p:sp>
        <p:nvSpPr>
          <p:cNvPr id="371" name="Google Shape;371;p81"/>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2" name="Google Shape;372;p81"/>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73" name="Google Shape;373;p81"/>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Breaker Slide_1">
  <p:cSld name="Breaker Slide_1">
    <p:bg>
      <p:bgPr>
        <a:solidFill>
          <a:schemeClr val="lt2"/>
        </a:solidFill>
        <a:effectLst/>
      </p:bgPr>
    </p:bg>
    <p:spTree>
      <p:nvGrpSpPr>
        <p:cNvPr id="1" name="Shape 43"/>
        <p:cNvGrpSpPr/>
        <p:nvPr/>
      </p:nvGrpSpPr>
      <p:grpSpPr>
        <a:xfrm>
          <a:off x="0" y="0"/>
          <a:ext cx="0" cy="0"/>
          <a:chOff x="0" y="0"/>
          <a:chExt cx="0" cy="0"/>
        </a:xfrm>
      </p:grpSpPr>
      <p:pic>
        <p:nvPicPr>
          <p:cNvPr id="44" name="Google Shape;44;p68"/>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45" name="Google Shape;45;p68"/>
          <p:cNvSpPr/>
          <p:nvPr/>
        </p:nvSpPr>
        <p:spPr>
          <a:xfrm>
            <a:off x="0" y="0"/>
            <a:ext cx="2682587" cy="6858000"/>
          </a:xfrm>
          <a:prstGeom prst="rect">
            <a:avLst/>
          </a:prstGeom>
          <a:solidFill>
            <a:schemeClr val="lt2">
              <a:alpha val="67843"/>
            </a:scheme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 name="Google Shape;46;p68"/>
          <p:cNvSpPr/>
          <p:nvPr/>
        </p:nvSpPr>
        <p:spPr>
          <a:xfrm>
            <a:off x="0" y="3700463"/>
            <a:ext cx="9412014" cy="2414587"/>
          </a:xfrm>
          <a:prstGeom prst="rect">
            <a:avLst/>
          </a:prstGeom>
          <a:gradFill>
            <a:gsLst>
              <a:gs pos="0">
                <a:srgbClr val="062379"/>
              </a:gs>
              <a:gs pos="55000">
                <a:srgbClr val="385ED2"/>
              </a:gs>
              <a:gs pos="76000">
                <a:srgbClr val="4873F5">
                  <a:alpha val="87843"/>
                </a:srgbClr>
              </a:gs>
              <a:gs pos="100000">
                <a:srgbClr val="43E1D3">
                  <a:alpha val="87843"/>
                </a:srgbClr>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 name="Google Shape;47;p68"/>
          <p:cNvSpPr txBox="1">
            <a:spLocks noGrp="1"/>
          </p:cNvSpPr>
          <p:nvPr>
            <p:ph type="title"/>
          </p:nvPr>
        </p:nvSpPr>
        <p:spPr>
          <a:xfrm>
            <a:off x="737591" y="4108436"/>
            <a:ext cx="8494899" cy="1569660"/>
          </a:xfrm>
          <a:prstGeom prst="rect">
            <a:avLst/>
          </a:prstGeom>
          <a:noFill/>
          <a:ln>
            <a:noFill/>
          </a:ln>
          <a:effectLst>
            <a:outerShdw blurRad="190500" algn="tl" rotWithShape="0">
              <a:srgbClr val="000000">
                <a:alpha val="27843"/>
              </a:srgbClr>
            </a:outerShdw>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8" name="Google Shape;48;p68"/>
          <p:cNvGrpSpPr/>
          <p:nvPr/>
        </p:nvGrpSpPr>
        <p:grpSpPr>
          <a:xfrm>
            <a:off x="11998459" y="6162188"/>
            <a:ext cx="68500" cy="441925"/>
            <a:chOff x="11998459" y="6162188"/>
            <a:chExt cx="68500" cy="441925"/>
          </a:xfrm>
        </p:grpSpPr>
        <p:sp>
          <p:nvSpPr>
            <p:cNvPr id="49" name="Google Shape;49;p68"/>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 name="Google Shape;50;p68"/>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1" name="Google Shape;51;p68"/>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 name="Google Shape;52;p68"/>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 name="Google Shape;53;p68"/>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 name="Google Shape;54;p68"/>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 name="Google Shape;55;p68"/>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 name="Google Shape;56;p68"/>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 name="Google Shape;57;p68"/>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 name="Google Shape;58;p68"/>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 name="Google Shape;59;p68"/>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 name="Google Shape;60;p68"/>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1" name="Google Shape;61;p68"/>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2" name="Google Shape;62;p68"/>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1"/>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sp>
        <p:nvSpPr>
          <p:cNvPr id="63" name="Google Shape;63;p68"/>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Slide (Option 2)" type="title">
  <p:cSld name="TITLE">
    <p:spTree>
      <p:nvGrpSpPr>
        <p:cNvPr id="1" name="Shape 374"/>
        <p:cNvGrpSpPr/>
        <p:nvPr/>
      </p:nvGrpSpPr>
      <p:grpSpPr>
        <a:xfrm>
          <a:off x="0" y="0"/>
          <a:ext cx="0" cy="0"/>
          <a:chOff x="0" y="0"/>
          <a:chExt cx="0" cy="0"/>
        </a:xfrm>
      </p:grpSpPr>
      <p:pic>
        <p:nvPicPr>
          <p:cNvPr id="375" name="Google Shape;375;p109" descr="A large body of water with a city in the background&#10;&#10;Description automatically generated"/>
          <p:cNvPicPr preferRelativeResize="0"/>
          <p:nvPr/>
        </p:nvPicPr>
        <p:blipFill rotWithShape="1">
          <a:blip r:embed="rId2">
            <a:alphaModFix/>
          </a:blip>
          <a:srcRect/>
          <a:stretch/>
        </p:blipFill>
        <p:spPr>
          <a:xfrm>
            <a:off x="269998" y="270000"/>
            <a:ext cx="11652001" cy="6318000"/>
          </a:xfrm>
          <a:prstGeom prst="rect">
            <a:avLst/>
          </a:prstGeom>
          <a:noFill/>
          <a:ln>
            <a:noFill/>
          </a:ln>
        </p:spPr>
      </p:pic>
      <p:sp>
        <p:nvSpPr>
          <p:cNvPr id="376" name="Google Shape;376;p109"/>
          <p:cNvSpPr/>
          <p:nvPr/>
        </p:nvSpPr>
        <p:spPr>
          <a:xfrm>
            <a:off x="536448" y="540000"/>
            <a:ext cx="6363891" cy="6318000"/>
          </a:xfrm>
          <a:prstGeom prst="rect">
            <a:avLst/>
          </a:prstGeom>
          <a:gradFill>
            <a:gsLst>
              <a:gs pos="0">
                <a:srgbClr val="062379"/>
              </a:gs>
              <a:gs pos="26000">
                <a:srgbClr val="0934B6">
                  <a:alpha val="88235"/>
                </a:srgbClr>
              </a:gs>
              <a:gs pos="64000">
                <a:srgbClr val="036DFF">
                  <a:alpha val="80000"/>
                </a:srgbClr>
              </a:gs>
              <a:gs pos="100000">
                <a:srgbClr val="43E1D3">
                  <a:alpha val="88235"/>
                </a:srgbClr>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377" name="Google Shape;377;p109"/>
          <p:cNvSpPr txBox="1">
            <a:spLocks noGrp="1"/>
          </p:cNvSpPr>
          <p:nvPr>
            <p:ph type="ctrTitle"/>
          </p:nvPr>
        </p:nvSpPr>
        <p:spPr>
          <a:xfrm>
            <a:off x="902896" y="3066686"/>
            <a:ext cx="5337943" cy="1231106"/>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8" name="Google Shape;378;p109"/>
          <p:cNvSpPr txBox="1">
            <a:spLocks noGrp="1"/>
          </p:cNvSpPr>
          <p:nvPr>
            <p:ph type="subTitle" idx="1"/>
          </p:nvPr>
        </p:nvSpPr>
        <p:spPr>
          <a:xfrm>
            <a:off x="902896" y="4348579"/>
            <a:ext cx="5337943"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379" name="Google Shape;379;p109"/>
          <p:cNvSpPr txBox="1">
            <a:spLocks noGrp="1"/>
          </p:cNvSpPr>
          <p:nvPr>
            <p:ph type="dt" idx="10"/>
          </p:nvPr>
        </p:nvSpPr>
        <p:spPr>
          <a:xfrm>
            <a:off x="902896" y="5923689"/>
            <a:ext cx="1599925" cy="193899"/>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lt1"/>
                </a:solidFill>
                <a:latin typeface="Libre Franklin"/>
                <a:ea typeface="Libre Franklin"/>
                <a:cs typeface="Libre Franklin"/>
                <a:sym typeface="Libre Franklin"/>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pic>
        <p:nvPicPr>
          <p:cNvPr id="380" name="Google Shape;380;p109"/>
          <p:cNvPicPr preferRelativeResize="0"/>
          <p:nvPr/>
        </p:nvPicPr>
        <p:blipFill rotWithShape="1">
          <a:blip r:embed="rId3">
            <a:alphaModFix/>
          </a:blip>
          <a:srcRect/>
          <a:stretch/>
        </p:blipFill>
        <p:spPr>
          <a:xfrm>
            <a:off x="902896" y="901732"/>
            <a:ext cx="2497452" cy="574280"/>
          </a:xfrm>
          <a:prstGeom prst="rect">
            <a:avLst/>
          </a:prstGeom>
          <a:noFill/>
          <a:ln>
            <a:noFill/>
          </a:ln>
        </p:spPr>
      </p:pic>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Subtitle">
  <p:cSld name="Title+Subtitle">
    <p:spTree>
      <p:nvGrpSpPr>
        <p:cNvPr id="1" name="Shape 381"/>
        <p:cNvGrpSpPr/>
        <p:nvPr/>
      </p:nvGrpSpPr>
      <p:grpSpPr>
        <a:xfrm>
          <a:off x="0" y="0"/>
          <a:ext cx="0" cy="0"/>
          <a:chOff x="0" y="0"/>
          <a:chExt cx="0" cy="0"/>
        </a:xfrm>
      </p:grpSpPr>
      <p:sp>
        <p:nvSpPr>
          <p:cNvPr id="382" name="Google Shape;382;p110"/>
          <p:cNvSpPr txBox="1">
            <a:spLocks noGrp="1"/>
          </p:cNvSpPr>
          <p:nvPr>
            <p:ph type="sldNum" idx="12"/>
          </p:nvPr>
        </p:nvSpPr>
        <p:spPr>
          <a:xfrm>
            <a:off x="11490153" y="6450225"/>
            <a:ext cx="150682" cy="153888"/>
          </a:xfrm>
          <a:prstGeom prst="rect">
            <a:avLst/>
          </a:prstGeom>
          <a:noFill/>
          <a:ln>
            <a:noFill/>
          </a:ln>
        </p:spPr>
        <p:txBody>
          <a:bodyPr spcFirstLastPara="1" wrap="square" lIns="0" tIns="0" rIns="0" bIns="0" anchor="b" anchorCtr="0">
            <a:sp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83" name="Google Shape;383;p110"/>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atin typeface="Franklin Gothic"/>
                <a:ea typeface="Franklin Gothic"/>
                <a:cs typeface="Franklin Gothic"/>
                <a:sym typeface="Franklin Gothic"/>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4" name="Google Shape;384;p110"/>
          <p:cNvSpPr txBox="1">
            <a:spLocks noGrp="1"/>
          </p:cNvSpPr>
          <p:nvPr>
            <p:ph type="body" idx="1"/>
          </p:nvPr>
        </p:nvSpPr>
        <p:spPr>
          <a:xfrm>
            <a:off x="550862" y="1028324"/>
            <a:ext cx="11089972" cy="292388"/>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rgbClr val="6D90F8"/>
              </a:buClr>
              <a:buSzPts val="2000"/>
              <a:buNone/>
              <a:defRPr sz="2000">
                <a:solidFill>
                  <a:srgbClr val="6D90F8"/>
                </a:solidFill>
                <a:latin typeface="Libre Franklin"/>
                <a:ea typeface="Libre Franklin"/>
                <a:cs typeface="Libre Franklin"/>
                <a:sym typeface="Libre Franklin"/>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only (with background)">
  <p:cSld name="Title only (with background)">
    <p:bg>
      <p:bgPr>
        <a:solidFill>
          <a:schemeClr val="lt2"/>
        </a:solidFill>
        <a:effectLst/>
      </p:bgPr>
    </p:bg>
    <p:spTree>
      <p:nvGrpSpPr>
        <p:cNvPr id="1" name="Shape 385"/>
        <p:cNvGrpSpPr/>
        <p:nvPr/>
      </p:nvGrpSpPr>
      <p:grpSpPr>
        <a:xfrm>
          <a:off x="0" y="0"/>
          <a:ext cx="0" cy="0"/>
          <a:chOff x="0" y="0"/>
          <a:chExt cx="0" cy="0"/>
        </a:xfrm>
      </p:grpSpPr>
      <p:sp>
        <p:nvSpPr>
          <p:cNvPr id="386" name="Google Shape;386;p111"/>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7" name="Google Shape;387;p111"/>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88" name="Google Shape;388;p111"/>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1_Title only (with background)">
  <p:cSld name="1_Title only (with background)">
    <p:bg>
      <p:bgPr>
        <a:solidFill>
          <a:schemeClr val="lt2"/>
        </a:solidFill>
        <a:effectLst/>
      </p:bgPr>
    </p:bg>
    <p:spTree>
      <p:nvGrpSpPr>
        <p:cNvPr id="1" name="Shape 389"/>
        <p:cNvGrpSpPr/>
        <p:nvPr/>
      </p:nvGrpSpPr>
      <p:grpSpPr>
        <a:xfrm>
          <a:off x="0" y="0"/>
          <a:ext cx="0" cy="0"/>
          <a:chOff x="0" y="0"/>
          <a:chExt cx="0" cy="0"/>
        </a:xfrm>
      </p:grpSpPr>
      <p:sp>
        <p:nvSpPr>
          <p:cNvPr id="390" name="Google Shape;390;p112"/>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1" name="Google Shape;391;p112"/>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92" name="Google Shape;392;p112"/>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3" name="Google Shape;393;p112"/>
          <p:cNvSpPr txBox="1">
            <a:spLocks noGrp="1"/>
          </p:cNvSpPr>
          <p:nvPr>
            <p:ph type="body" idx="1"/>
          </p:nvPr>
        </p:nvSpPr>
        <p:spPr>
          <a:xfrm>
            <a:off x="550862" y="1028324"/>
            <a:ext cx="11089972" cy="292388"/>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rgbClr val="6D90F8"/>
              </a:buClr>
              <a:buSzPts val="2000"/>
              <a:buNone/>
              <a:defRPr sz="2000">
                <a:solidFill>
                  <a:srgbClr val="6D90F8"/>
                </a:solidFill>
                <a:latin typeface="Libre Franklin"/>
                <a:ea typeface="Libre Franklin"/>
                <a:cs typeface="Libre Franklin"/>
                <a:sym typeface="Libre Franklin"/>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matchingName="Without Title">
  <p:cSld name="Without Title">
    <p:spTree>
      <p:nvGrpSpPr>
        <p:cNvPr id="1" name="Shape 394"/>
        <p:cNvGrpSpPr/>
        <p:nvPr/>
      </p:nvGrpSpPr>
      <p:grpSpPr>
        <a:xfrm>
          <a:off x="0" y="0"/>
          <a:ext cx="0" cy="0"/>
          <a:chOff x="0" y="0"/>
          <a:chExt cx="0" cy="0"/>
        </a:xfrm>
      </p:grpSpPr>
      <p:sp>
        <p:nvSpPr>
          <p:cNvPr id="395" name="Google Shape;395;p113"/>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grpSp>
        <p:nvGrpSpPr>
          <p:cNvPr id="396" name="Google Shape;396;p113"/>
          <p:cNvGrpSpPr/>
          <p:nvPr/>
        </p:nvGrpSpPr>
        <p:grpSpPr>
          <a:xfrm>
            <a:off x="11998459" y="6162188"/>
            <a:ext cx="68500" cy="441925"/>
            <a:chOff x="11998459" y="6162188"/>
            <a:chExt cx="68500" cy="441925"/>
          </a:xfrm>
        </p:grpSpPr>
        <p:sp>
          <p:nvSpPr>
            <p:cNvPr id="397" name="Google Shape;397;p113"/>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398" name="Google Shape;398;p113"/>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399" name="Google Shape;399;p113"/>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400" name="Google Shape;400;p113"/>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401" name="Google Shape;401;p113"/>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402" name="Google Shape;402;p113"/>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403" name="Google Shape;403;p113"/>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404" name="Google Shape;404;p113"/>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405" name="Google Shape;405;p113"/>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406" name="Google Shape;406;p113"/>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407" name="Google Shape;407;p113"/>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408" name="Google Shape;408;p113"/>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409" name="Google Shape;409;p113"/>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grpSp>
      <p:pic>
        <p:nvPicPr>
          <p:cNvPr id="410" name="Google Shape;410;p113"/>
          <p:cNvPicPr preferRelativeResize="0"/>
          <p:nvPr/>
        </p:nvPicPr>
        <p:blipFill rotWithShape="1">
          <a:blip r:embed="rId2">
            <a:alphaModFix/>
          </a:blip>
          <a:srcRect/>
          <a:stretch/>
        </p:blipFill>
        <p:spPr>
          <a:xfrm rot="-5400000">
            <a:off x="11811887" y="6349041"/>
            <a:ext cx="441438" cy="68706"/>
          </a:xfrm>
          <a:prstGeom prst="rect">
            <a:avLst/>
          </a:prstGeom>
          <a:noFill/>
          <a:ln>
            <a:noFill/>
          </a:ln>
        </p:spPr>
      </p:pic>
      <p:sp>
        <p:nvSpPr>
          <p:cNvPr id="411" name="Google Shape;411;p113"/>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rgbClr val="B4B4B4"/>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sp>
        <p:nvSpPr>
          <p:cNvPr id="412" name="Google Shape;412;p113"/>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2 Column">
  <p:cSld name="2 Column">
    <p:spTree>
      <p:nvGrpSpPr>
        <p:cNvPr id="1" name="Shape 413"/>
        <p:cNvGrpSpPr/>
        <p:nvPr/>
      </p:nvGrpSpPr>
      <p:grpSpPr>
        <a:xfrm>
          <a:off x="0" y="0"/>
          <a:ext cx="0" cy="0"/>
          <a:chOff x="0" y="0"/>
          <a:chExt cx="0" cy="0"/>
        </a:xfrm>
      </p:grpSpPr>
      <p:sp>
        <p:nvSpPr>
          <p:cNvPr id="414" name="Google Shape;414;p114"/>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5" name="Google Shape;415;p114"/>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416" name="Google Shape;416;p114"/>
          <p:cNvSpPr txBox="1">
            <a:spLocks noGrp="1"/>
          </p:cNvSpPr>
          <p:nvPr>
            <p:ph type="body" idx="1"/>
          </p:nvPr>
        </p:nvSpPr>
        <p:spPr>
          <a:xfrm>
            <a:off x="550863" y="2175803"/>
            <a:ext cx="5400675"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228600" algn="l">
              <a:lnSpc>
                <a:spcPct val="95000"/>
              </a:lnSpc>
              <a:spcBef>
                <a:spcPts val="300"/>
              </a:spcBef>
              <a:spcAft>
                <a:spcPts val="0"/>
              </a:spcAft>
              <a:buSzPts val="1400"/>
              <a:buNone/>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7" name="Google Shape;417;p114"/>
          <p:cNvSpPr txBox="1">
            <a:spLocks noGrp="1"/>
          </p:cNvSpPr>
          <p:nvPr>
            <p:ph type="body" idx="2"/>
          </p:nvPr>
        </p:nvSpPr>
        <p:spPr>
          <a:xfrm>
            <a:off x="550863" y="1857375"/>
            <a:ext cx="54006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8" name="Google Shape;418;p114"/>
          <p:cNvSpPr txBox="1">
            <a:spLocks noGrp="1"/>
          </p:cNvSpPr>
          <p:nvPr>
            <p:ph type="body" idx="3"/>
          </p:nvPr>
        </p:nvSpPr>
        <p:spPr>
          <a:xfrm>
            <a:off x="6240464" y="2175803"/>
            <a:ext cx="5400675"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9" name="Google Shape;419;p114"/>
          <p:cNvSpPr txBox="1">
            <a:spLocks noGrp="1"/>
          </p:cNvSpPr>
          <p:nvPr>
            <p:ph type="body" idx="4"/>
          </p:nvPr>
        </p:nvSpPr>
        <p:spPr>
          <a:xfrm>
            <a:off x="6240464" y="1857375"/>
            <a:ext cx="54006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0" name="Google Shape;420;p114"/>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3 Column">
  <p:cSld name="3 Column">
    <p:spTree>
      <p:nvGrpSpPr>
        <p:cNvPr id="1" name="Shape 421"/>
        <p:cNvGrpSpPr/>
        <p:nvPr/>
      </p:nvGrpSpPr>
      <p:grpSpPr>
        <a:xfrm>
          <a:off x="0" y="0"/>
          <a:ext cx="0" cy="0"/>
          <a:chOff x="0" y="0"/>
          <a:chExt cx="0" cy="0"/>
        </a:xfrm>
      </p:grpSpPr>
      <p:sp>
        <p:nvSpPr>
          <p:cNvPr id="422" name="Google Shape;422;p115"/>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3" name="Google Shape;423;p11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424" name="Google Shape;424;p115"/>
          <p:cNvSpPr txBox="1">
            <a:spLocks noGrp="1"/>
          </p:cNvSpPr>
          <p:nvPr>
            <p:ph type="body" idx="1"/>
          </p:nvPr>
        </p:nvSpPr>
        <p:spPr>
          <a:xfrm>
            <a:off x="550864" y="2175803"/>
            <a:ext cx="3506976"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228600" algn="l">
              <a:lnSpc>
                <a:spcPct val="95000"/>
              </a:lnSpc>
              <a:spcBef>
                <a:spcPts val="300"/>
              </a:spcBef>
              <a:spcAft>
                <a:spcPts val="0"/>
              </a:spcAft>
              <a:buSzPts val="1400"/>
              <a:buNone/>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5" name="Google Shape;425;p115"/>
          <p:cNvSpPr txBox="1">
            <a:spLocks noGrp="1"/>
          </p:cNvSpPr>
          <p:nvPr>
            <p:ph type="body" idx="2"/>
          </p:nvPr>
        </p:nvSpPr>
        <p:spPr>
          <a:xfrm>
            <a:off x="550864" y="1857375"/>
            <a:ext cx="350697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6" name="Google Shape;426;p115"/>
          <p:cNvSpPr txBox="1">
            <a:spLocks noGrp="1"/>
          </p:cNvSpPr>
          <p:nvPr>
            <p:ph type="body" idx="3"/>
          </p:nvPr>
        </p:nvSpPr>
        <p:spPr>
          <a:xfrm>
            <a:off x="8135839" y="2175803"/>
            <a:ext cx="35053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7" name="Google Shape;427;p115"/>
          <p:cNvSpPr txBox="1">
            <a:spLocks noGrp="1"/>
          </p:cNvSpPr>
          <p:nvPr>
            <p:ph type="body" idx="4"/>
          </p:nvPr>
        </p:nvSpPr>
        <p:spPr>
          <a:xfrm>
            <a:off x="8135839" y="1857375"/>
            <a:ext cx="35053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8" name="Google Shape;428;p115"/>
          <p:cNvSpPr txBox="1">
            <a:spLocks noGrp="1"/>
          </p:cNvSpPr>
          <p:nvPr>
            <p:ph type="body" idx="5"/>
          </p:nvPr>
        </p:nvSpPr>
        <p:spPr>
          <a:xfrm>
            <a:off x="4344162" y="2175803"/>
            <a:ext cx="35053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9" name="Google Shape;429;p115"/>
          <p:cNvSpPr txBox="1">
            <a:spLocks noGrp="1"/>
          </p:cNvSpPr>
          <p:nvPr>
            <p:ph type="body" idx="6"/>
          </p:nvPr>
        </p:nvSpPr>
        <p:spPr>
          <a:xfrm>
            <a:off x="4344162" y="1857375"/>
            <a:ext cx="35053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0" name="Google Shape;430;p115"/>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4 Column">
  <p:cSld name="4 Column">
    <p:spTree>
      <p:nvGrpSpPr>
        <p:cNvPr id="1" name="Shape 431"/>
        <p:cNvGrpSpPr/>
        <p:nvPr/>
      </p:nvGrpSpPr>
      <p:grpSpPr>
        <a:xfrm>
          <a:off x="0" y="0"/>
          <a:ext cx="0" cy="0"/>
          <a:chOff x="0" y="0"/>
          <a:chExt cx="0" cy="0"/>
        </a:xfrm>
      </p:grpSpPr>
      <p:sp>
        <p:nvSpPr>
          <p:cNvPr id="432" name="Google Shape;432;p116"/>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3" name="Google Shape;433;p116"/>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434" name="Google Shape;434;p116"/>
          <p:cNvSpPr txBox="1">
            <a:spLocks noGrp="1"/>
          </p:cNvSpPr>
          <p:nvPr>
            <p:ph type="body" idx="1"/>
          </p:nvPr>
        </p:nvSpPr>
        <p:spPr>
          <a:xfrm>
            <a:off x="550864" y="2175803"/>
            <a:ext cx="2559476"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228600" algn="l">
              <a:lnSpc>
                <a:spcPct val="95000"/>
              </a:lnSpc>
              <a:spcBef>
                <a:spcPts val="300"/>
              </a:spcBef>
              <a:spcAft>
                <a:spcPts val="0"/>
              </a:spcAft>
              <a:buSzPts val="1400"/>
              <a:buNone/>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5" name="Google Shape;435;p116"/>
          <p:cNvSpPr txBox="1">
            <a:spLocks noGrp="1"/>
          </p:cNvSpPr>
          <p:nvPr>
            <p:ph type="body" idx="2"/>
          </p:nvPr>
        </p:nvSpPr>
        <p:spPr>
          <a:xfrm>
            <a:off x="550864" y="1857375"/>
            <a:ext cx="255947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6" name="Google Shape;436;p116"/>
          <p:cNvSpPr txBox="1">
            <a:spLocks noGrp="1"/>
          </p:cNvSpPr>
          <p:nvPr>
            <p:ph type="body" idx="3"/>
          </p:nvPr>
        </p:nvSpPr>
        <p:spPr>
          <a:xfrm>
            <a:off x="6240464" y="2175803"/>
            <a:ext cx="2554875"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7" name="Google Shape;437;p116"/>
          <p:cNvSpPr txBox="1">
            <a:spLocks noGrp="1"/>
          </p:cNvSpPr>
          <p:nvPr>
            <p:ph type="body" idx="4"/>
          </p:nvPr>
        </p:nvSpPr>
        <p:spPr>
          <a:xfrm>
            <a:off x="6240464" y="1857375"/>
            <a:ext cx="25548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8" name="Google Shape;438;p116"/>
          <p:cNvSpPr txBox="1">
            <a:spLocks noGrp="1"/>
          </p:cNvSpPr>
          <p:nvPr>
            <p:ph type="body" idx="5"/>
          </p:nvPr>
        </p:nvSpPr>
        <p:spPr>
          <a:xfrm>
            <a:off x="3395664" y="2175803"/>
            <a:ext cx="2559476"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228600" algn="l">
              <a:lnSpc>
                <a:spcPct val="95000"/>
              </a:lnSpc>
              <a:spcBef>
                <a:spcPts val="300"/>
              </a:spcBef>
              <a:spcAft>
                <a:spcPts val="0"/>
              </a:spcAft>
              <a:buSzPts val="1400"/>
              <a:buNone/>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9" name="Google Shape;439;p116"/>
          <p:cNvSpPr txBox="1">
            <a:spLocks noGrp="1"/>
          </p:cNvSpPr>
          <p:nvPr>
            <p:ph type="body" idx="6"/>
          </p:nvPr>
        </p:nvSpPr>
        <p:spPr>
          <a:xfrm>
            <a:off x="3395664" y="1857375"/>
            <a:ext cx="255947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0" name="Google Shape;440;p116"/>
          <p:cNvSpPr txBox="1">
            <a:spLocks noGrp="1"/>
          </p:cNvSpPr>
          <p:nvPr>
            <p:ph type="body" idx="7"/>
          </p:nvPr>
        </p:nvSpPr>
        <p:spPr>
          <a:xfrm>
            <a:off x="9086263" y="2175803"/>
            <a:ext cx="2554875"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1" name="Google Shape;441;p116"/>
          <p:cNvSpPr txBox="1">
            <a:spLocks noGrp="1"/>
          </p:cNvSpPr>
          <p:nvPr>
            <p:ph type="body" idx="8"/>
          </p:nvPr>
        </p:nvSpPr>
        <p:spPr>
          <a:xfrm>
            <a:off x="9086263" y="1857375"/>
            <a:ext cx="25548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2" name="Google Shape;442;p116"/>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5 Column">
  <p:cSld name="5 Column">
    <p:spTree>
      <p:nvGrpSpPr>
        <p:cNvPr id="1" name="Shape 443"/>
        <p:cNvGrpSpPr/>
        <p:nvPr/>
      </p:nvGrpSpPr>
      <p:grpSpPr>
        <a:xfrm>
          <a:off x="0" y="0"/>
          <a:ext cx="0" cy="0"/>
          <a:chOff x="0" y="0"/>
          <a:chExt cx="0" cy="0"/>
        </a:xfrm>
      </p:grpSpPr>
      <p:sp>
        <p:nvSpPr>
          <p:cNvPr id="444" name="Google Shape;444;p117"/>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5" name="Google Shape;445;p117"/>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446" name="Google Shape;446;p117"/>
          <p:cNvSpPr txBox="1">
            <a:spLocks noGrp="1"/>
          </p:cNvSpPr>
          <p:nvPr>
            <p:ph type="body" idx="1"/>
          </p:nvPr>
        </p:nvSpPr>
        <p:spPr>
          <a:xfrm>
            <a:off x="550864" y="2175803"/>
            <a:ext cx="19836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228600" algn="l">
              <a:lnSpc>
                <a:spcPct val="95000"/>
              </a:lnSpc>
              <a:spcBef>
                <a:spcPts val="300"/>
              </a:spcBef>
              <a:spcAft>
                <a:spcPts val="0"/>
              </a:spcAft>
              <a:buSzPts val="1400"/>
              <a:buNone/>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7" name="Google Shape;447;p117"/>
          <p:cNvSpPr txBox="1">
            <a:spLocks noGrp="1"/>
          </p:cNvSpPr>
          <p:nvPr>
            <p:ph type="body" idx="2"/>
          </p:nvPr>
        </p:nvSpPr>
        <p:spPr>
          <a:xfrm>
            <a:off x="550864" y="1857375"/>
            <a:ext cx="19836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8" name="Google Shape;448;p117"/>
          <p:cNvSpPr txBox="1">
            <a:spLocks noGrp="1"/>
          </p:cNvSpPr>
          <p:nvPr>
            <p:ph type="body" idx="3"/>
          </p:nvPr>
        </p:nvSpPr>
        <p:spPr>
          <a:xfrm>
            <a:off x="5104050" y="2175803"/>
            <a:ext cx="1980034"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9" name="Google Shape;449;p117"/>
          <p:cNvSpPr txBox="1">
            <a:spLocks noGrp="1"/>
          </p:cNvSpPr>
          <p:nvPr>
            <p:ph type="body" idx="4"/>
          </p:nvPr>
        </p:nvSpPr>
        <p:spPr>
          <a:xfrm>
            <a:off x="5104050"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0" name="Google Shape;450;p117"/>
          <p:cNvSpPr txBox="1">
            <a:spLocks noGrp="1"/>
          </p:cNvSpPr>
          <p:nvPr>
            <p:ph type="body" idx="5"/>
          </p:nvPr>
        </p:nvSpPr>
        <p:spPr>
          <a:xfrm>
            <a:off x="2827457" y="2175803"/>
            <a:ext cx="19836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228600" algn="l">
              <a:lnSpc>
                <a:spcPct val="95000"/>
              </a:lnSpc>
              <a:spcBef>
                <a:spcPts val="300"/>
              </a:spcBef>
              <a:spcAft>
                <a:spcPts val="0"/>
              </a:spcAft>
              <a:buSzPts val="1400"/>
              <a:buNone/>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1" name="Google Shape;451;p117"/>
          <p:cNvSpPr txBox="1">
            <a:spLocks noGrp="1"/>
          </p:cNvSpPr>
          <p:nvPr>
            <p:ph type="body" idx="6"/>
          </p:nvPr>
        </p:nvSpPr>
        <p:spPr>
          <a:xfrm>
            <a:off x="2827457" y="1857375"/>
            <a:ext cx="19836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2" name="Google Shape;452;p117"/>
          <p:cNvSpPr txBox="1">
            <a:spLocks noGrp="1"/>
          </p:cNvSpPr>
          <p:nvPr>
            <p:ph type="body" idx="7"/>
          </p:nvPr>
        </p:nvSpPr>
        <p:spPr>
          <a:xfrm>
            <a:off x="7380643" y="2175803"/>
            <a:ext cx="1980034"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3" name="Google Shape;453;p117"/>
          <p:cNvSpPr txBox="1">
            <a:spLocks noGrp="1"/>
          </p:cNvSpPr>
          <p:nvPr>
            <p:ph type="body" idx="8"/>
          </p:nvPr>
        </p:nvSpPr>
        <p:spPr>
          <a:xfrm>
            <a:off x="7380643"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4" name="Google Shape;454;p117"/>
          <p:cNvSpPr txBox="1">
            <a:spLocks noGrp="1"/>
          </p:cNvSpPr>
          <p:nvPr>
            <p:ph type="body" idx="9"/>
          </p:nvPr>
        </p:nvSpPr>
        <p:spPr>
          <a:xfrm>
            <a:off x="9660801" y="2175803"/>
            <a:ext cx="1980034"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5" name="Google Shape;455;p117"/>
          <p:cNvSpPr txBox="1">
            <a:spLocks noGrp="1"/>
          </p:cNvSpPr>
          <p:nvPr>
            <p:ph type="body" idx="13"/>
          </p:nvPr>
        </p:nvSpPr>
        <p:spPr>
          <a:xfrm>
            <a:off x="9660801"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6" name="Google Shape;456;p117"/>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3 Grey on Left">
  <p:cSld name="1/3 Grey on Left">
    <p:spTree>
      <p:nvGrpSpPr>
        <p:cNvPr id="1" name="Shape 457"/>
        <p:cNvGrpSpPr/>
        <p:nvPr/>
      </p:nvGrpSpPr>
      <p:grpSpPr>
        <a:xfrm>
          <a:off x="0" y="0"/>
          <a:ext cx="0" cy="0"/>
          <a:chOff x="0" y="0"/>
          <a:chExt cx="0" cy="0"/>
        </a:xfrm>
      </p:grpSpPr>
      <p:sp>
        <p:nvSpPr>
          <p:cNvPr id="458" name="Google Shape;458;p118"/>
          <p:cNvSpPr/>
          <p:nvPr/>
        </p:nvSpPr>
        <p:spPr>
          <a:xfrm>
            <a:off x="0" y="-1"/>
            <a:ext cx="4059776" cy="6857999"/>
          </a:xfrm>
          <a:prstGeom prst="rect">
            <a:avLst/>
          </a:pr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459" name="Google Shape;459;p118"/>
          <p:cNvSpPr txBox="1">
            <a:spLocks noGrp="1"/>
          </p:cNvSpPr>
          <p:nvPr>
            <p:ph type="title"/>
          </p:nvPr>
        </p:nvSpPr>
        <p:spPr>
          <a:xfrm>
            <a:off x="539400" y="562841"/>
            <a:ext cx="3077171"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0" name="Google Shape;460;p118"/>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1" name="Google Shape;461;p118"/>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462" name="Google Shape;462;p118"/>
          <p:cNvSpPr txBox="1">
            <a:spLocks noGrp="1"/>
          </p:cNvSpPr>
          <p:nvPr>
            <p:ph type="ftr" idx="11"/>
          </p:nvPr>
        </p:nvSpPr>
        <p:spPr>
          <a:xfrm>
            <a:off x="436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2 Blue on Right">
  <p:cSld name="1/2 Blue on Right">
    <p:spTree>
      <p:nvGrpSpPr>
        <p:cNvPr id="1" name="Shape 64"/>
        <p:cNvGrpSpPr/>
        <p:nvPr/>
      </p:nvGrpSpPr>
      <p:grpSpPr>
        <a:xfrm>
          <a:off x="0" y="0"/>
          <a:ext cx="0" cy="0"/>
          <a:chOff x="0" y="0"/>
          <a:chExt cx="0" cy="0"/>
        </a:xfrm>
      </p:grpSpPr>
      <p:sp>
        <p:nvSpPr>
          <p:cNvPr id="65" name="Google Shape;65;p48"/>
          <p:cNvSpPr/>
          <p:nvPr/>
        </p:nvSpPr>
        <p:spPr>
          <a:xfrm>
            <a:off x="6096000" y="-1"/>
            <a:ext cx="6098539" cy="6858001"/>
          </a:xfrm>
          <a:prstGeom prst="rect">
            <a:avLst/>
          </a:prstGeom>
          <a:gradFill>
            <a:gsLst>
              <a:gs pos="0">
                <a:srgbClr val="062379"/>
              </a:gs>
              <a:gs pos="16000">
                <a:srgbClr val="062379"/>
              </a:gs>
              <a:gs pos="45000">
                <a:srgbClr val="0934B6">
                  <a:alpha val="8784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 name="Google Shape;66;p48"/>
          <p:cNvSpPr txBox="1">
            <a:spLocks noGrp="1"/>
          </p:cNvSpPr>
          <p:nvPr>
            <p:ph type="title"/>
          </p:nvPr>
        </p:nvSpPr>
        <p:spPr>
          <a:xfrm>
            <a:off x="539400" y="562841"/>
            <a:ext cx="5205071"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 name="Google Shape;67;p48"/>
          <p:cNvSpPr txBox="1">
            <a:spLocks noGrp="1"/>
          </p:cNvSpPr>
          <p:nvPr>
            <p:ph type="sldNum" idx="12"/>
          </p:nvPr>
        </p:nvSpPr>
        <p:spPr>
          <a:xfrm>
            <a:off x="11490453" y="6445294"/>
            <a:ext cx="150683"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 name="Google Shape;68;p48"/>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grpSp>
        <p:nvGrpSpPr>
          <p:cNvPr id="69" name="Google Shape;69;p48"/>
          <p:cNvGrpSpPr/>
          <p:nvPr/>
        </p:nvGrpSpPr>
        <p:grpSpPr>
          <a:xfrm>
            <a:off x="11998459" y="6162188"/>
            <a:ext cx="68500" cy="441925"/>
            <a:chOff x="11998459" y="6162188"/>
            <a:chExt cx="68500" cy="441925"/>
          </a:xfrm>
        </p:grpSpPr>
        <p:sp>
          <p:nvSpPr>
            <p:cNvPr id="70" name="Google Shape;70;p48"/>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 name="Google Shape;71;p48"/>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 name="Google Shape;72;p48"/>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3" name="Google Shape;73;p48"/>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4" name="Google Shape;74;p48"/>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5" name="Google Shape;75;p48"/>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6" name="Google Shape;76;p48"/>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7" name="Google Shape;77;p48"/>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8" name="Google Shape;78;p48"/>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 name="Google Shape;79;p48"/>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0" name="Google Shape;80;p48"/>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1" name="Google Shape;81;p48"/>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 name="Google Shape;82;p48"/>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3" name="Google Shape;83;p48"/>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1"/>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sp>
        <p:nvSpPr>
          <p:cNvPr id="84" name="Google Shape;84;p48"/>
          <p:cNvSpPr txBox="1">
            <a:spLocks noGrp="1"/>
          </p:cNvSpPr>
          <p:nvPr>
            <p:ph type="ftr" idx="11"/>
          </p:nvPr>
        </p:nvSpPr>
        <p:spPr>
          <a:xfrm>
            <a:off x="550863" y="6465614"/>
            <a:ext cx="5220350"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_1/3 Grey on Left">
  <p:cSld name="1_1/3 Grey on Left">
    <p:spTree>
      <p:nvGrpSpPr>
        <p:cNvPr id="1" name="Shape 463"/>
        <p:cNvGrpSpPr/>
        <p:nvPr/>
      </p:nvGrpSpPr>
      <p:grpSpPr>
        <a:xfrm>
          <a:off x="0" y="0"/>
          <a:ext cx="0" cy="0"/>
          <a:chOff x="0" y="0"/>
          <a:chExt cx="0" cy="0"/>
        </a:xfrm>
      </p:grpSpPr>
      <p:sp>
        <p:nvSpPr>
          <p:cNvPr id="464" name="Google Shape;464;p119"/>
          <p:cNvSpPr/>
          <p:nvPr/>
        </p:nvSpPr>
        <p:spPr>
          <a:xfrm>
            <a:off x="0" y="-1"/>
            <a:ext cx="6096000" cy="6857999"/>
          </a:xfrm>
          <a:prstGeom prst="rect">
            <a:avLst/>
          </a:pr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465" name="Google Shape;465;p119"/>
          <p:cNvSpPr txBox="1">
            <a:spLocks noGrp="1"/>
          </p:cNvSpPr>
          <p:nvPr>
            <p:ph type="title"/>
          </p:nvPr>
        </p:nvSpPr>
        <p:spPr>
          <a:xfrm>
            <a:off x="539400" y="562841"/>
            <a:ext cx="5412138"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6" name="Google Shape;466;p119"/>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7" name="Google Shape;467;p119"/>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468" name="Google Shape;468;p119"/>
          <p:cNvSpPr txBox="1">
            <a:spLocks noGrp="1"/>
          </p:cNvSpPr>
          <p:nvPr>
            <p:ph type="ftr" idx="11"/>
          </p:nvPr>
        </p:nvSpPr>
        <p:spPr>
          <a:xfrm>
            <a:off x="539400" y="6465614"/>
            <a:ext cx="5412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1/3 Blue on Left">
  <p:cSld name="1/3 Blue on Left">
    <p:spTree>
      <p:nvGrpSpPr>
        <p:cNvPr id="1" name="Shape 469"/>
        <p:cNvGrpSpPr/>
        <p:nvPr/>
      </p:nvGrpSpPr>
      <p:grpSpPr>
        <a:xfrm>
          <a:off x="0" y="0"/>
          <a:ext cx="0" cy="0"/>
          <a:chOff x="0" y="0"/>
          <a:chExt cx="0" cy="0"/>
        </a:xfrm>
      </p:grpSpPr>
      <p:sp>
        <p:nvSpPr>
          <p:cNvPr id="470" name="Google Shape;470;p120"/>
          <p:cNvSpPr/>
          <p:nvPr/>
        </p:nvSpPr>
        <p:spPr>
          <a:xfrm>
            <a:off x="0" y="-1"/>
            <a:ext cx="4059776" cy="6857999"/>
          </a:xfrm>
          <a:prstGeom prst="rect">
            <a:avLst/>
          </a:prstGeom>
          <a:gradFill>
            <a:gsLst>
              <a:gs pos="0">
                <a:srgbClr val="062379"/>
              </a:gs>
              <a:gs pos="55000">
                <a:srgbClr val="385ED2"/>
              </a:gs>
              <a:gs pos="76000">
                <a:srgbClr val="4873F5">
                  <a:alpha val="88235"/>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471" name="Google Shape;471;p120"/>
          <p:cNvSpPr txBox="1">
            <a:spLocks noGrp="1"/>
          </p:cNvSpPr>
          <p:nvPr>
            <p:ph type="title"/>
          </p:nvPr>
        </p:nvSpPr>
        <p:spPr>
          <a:xfrm>
            <a:off x="539400" y="562841"/>
            <a:ext cx="3077171"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2" name="Google Shape;472;p120"/>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3" name="Google Shape;473;p120"/>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474" name="Google Shape;474;p120"/>
          <p:cNvSpPr txBox="1">
            <a:spLocks noGrp="1"/>
          </p:cNvSpPr>
          <p:nvPr>
            <p:ph type="ftr" idx="11"/>
          </p:nvPr>
        </p:nvSpPr>
        <p:spPr>
          <a:xfrm>
            <a:off x="436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3 Blue on Left_2">
  <p:cSld name="1/3 Blue on Left_2">
    <p:spTree>
      <p:nvGrpSpPr>
        <p:cNvPr id="1" name="Shape 475"/>
        <p:cNvGrpSpPr/>
        <p:nvPr/>
      </p:nvGrpSpPr>
      <p:grpSpPr>
        <a:xfrm>
          <a:off x="0" y="0"/>
          <a:ext cx="0" cy="0"/>
          <a:chOff x="0" y="0"/>
          <a:chExt cx="0" cy="0"/>
        </a:xfrm>
      </p:grpSpPr>
      <p:sp>
        <p:nvSpPr>
          <p:cNvPr id="476" name="Google Shape;476;p121"/>
          <p:cNvSpPr/>
          <p:nvPr/>
        </p:nvSpPr>
        <p:spPr>
          <a:xfrm>
            <a:off x="0" y="-1"/>
            <a:ext cx="4059776" cy="6857999"/>
          </a:xfrm>
          <a:prstGeom prst="rect">
            <a:avLst/>
          </a:prstGeom>
          <a:gradFill>
            <a:gsLst>
              <a:gs pos="0">
                <a:srgbClr val="062379"/>
              </a:gs>
              <a:gs pos="55000">
                <a:srgbClr val="385ED2"/>
              </a:gs>
              <a:gs pos="76000">
                <a:srgbClr val="4873F5">
                  <a:alpha val="88235"/>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477" name="Google Shape;477;p121"/>
          <p:cNvSpPr txBox="1">
            <a:spLocks noGrp="1"/>
          </p:cNvSpPr>
          <p:nvPr>
            <p:ph type="title"/>
          </p:nvPr>
        </p:nvSpPr>
        <p:spPr>
          <a:xfrm>
            <a:off x="566141" y="2546064"/>
            <a:ext cx="3032465" cy="176586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lt1"/>
              </a:buClr>
              <a:buSzPts val="4500"/>
              <a:buFont typeface="Franklin Gothic"/>
              <a:buNone/>
              <a:defRPr sz="45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8" name="Google Shape;478;p121"/>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479" name="Google Shape;479;p121"/>
          <p:cNvSpPr txBox="1">
            <a:spLocks noGrp="1"/>
          </p:cNvSpPr>
          <p:nvPr>
            <p:ph type="ftr" idx="11"/>
          </p:nvPr>
        </p:nvSpPr>
        <p:spPr>
          <a:xfrm>
            <a:off x="436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1/2 Blue on Left">
  <p:cSld name="1/2 Blue on Left">
    <p:spTree>
      <p:nvGrpSpPr>
        <p:cNvPr id="1" name="Shape 480"/>
        <p:cNvGrpSpPr/>
        <p:nvPr/>
      </p:nvGrpSpPr>
      <p:grpSpPr>
        <a:xfrm>
          <a:off x="0" y="0"/>
          <a:ext cx="0" cy="0"/>
          <a:chOff x="0" y="0"/>
          <a:chExt cx="0" cy="0"/>
        </a:xfrm>
      </p:grpSpPr>
      <p:sp>
        <p:nvSpPr>
          <p:cNvPr id="481" name="Google Shape;481;p122"/>
          <p:cNvSpPr/>
          <p:nvPr/>
        </p:nvSpPr>
        <p:spPr>
          <a:xfrm>
            <a:off x="0" y="-1"/>
            <a:ext cx="6098537" cy="6857999"/>
          </a:xfrm>
          <a:prstGeom prst="rect">
            <a:avLst/>
          </a:prstGeom>
          <a:gradFill>
            <a:gsLst>
              <a:gs pos="0">
                <a:srgbClr val="062379"/>
              </a:gs>
              <a:gs pos="55000">
                <a:srgbClr val="385ED2"/>
              </a:gs>
              <a:gs pos="76000">
                <a:srgbClr val="4873F5">
                  <a:alpha val="88235"/>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482" name="Google Shape;482;p122"/>
          <p:cNvSpPr txBox="1">
            <a:spLocks noGrp="1"/>
          </p:cNvSpPr>
          <p:nvPr>
            <p:ph type="title"/>
          </p:nvPr>
        </p:nvSpPr>
        <p:spPr>
          <a:xfrm>
            <a:off x="539400" y="562840"/>
            <a:ext cx="5074328"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3" name="Google Shape;483;p122"/>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4" name="Google Shape;484;p122"/>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485" name="Google Shape;485;p122"/>
          <p:cNvSpPr txBox="1">
            <a:spLocks noGrp="1"/>
          </p:cNvSpPr>
          <p:nvPr>
            <p:ph type="ftr" idx="11"/>
          </p:nvPr>
        </p:nvSpPr>
        <p:spPr>
          <a:xfrm>
            <a:off x="549232" y="6465614"/>
            <a:ext cx="507432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matchingName="Gradient BG (with Title)">
  <p:cSld name="Gradient BG (with Title)">
    <p:spTree>
      <p:nvGrpSpPr>
        <p:cNvPr id="1" name="Shape 486"/>
        <p:cNvGrpSpPr/>
        <p:nvPr/>
      </p:nvGrpSpPr>
      <p:grpSpPr>
        <a:xfrm>
          <a:off x="0" y="0"/>
          <a:ext cx="0" cy="0"/>
          <a:chOff x="0" y="0"/>
          <a:chExt cx="0" cy="0"/>
        </a:xfrm>
      </p:grpSpPr>
      <p:sp>
        <p:nvSpPr>
          <p:cNvPr id="487" name="Google Shape;487;p123"/>
          <p:cNvSpPr/>
          <p:nvPr/>
        </p:nvSpPr>
        <p:spPr>
          <a:xfrm>
            <a:off x="0" y="0"/>
            <a:ext cx="12192000" cy="6858000"/>
          </a:xfrm>
          <a:prstGeom prst="rect">
            <a:avLst/>
          </a:prstGeom>
          <a:gradFill>
            <a:gsLst>
              <a:gs pos="0">
                <a:srgbClr val="062379"/>
              </a:gs>
              <a:gs pos="16000">
                <a:srgbClr val="062379"/>
              </a:gs>
              <a:gs pos="45000">
                <a:srgbClr val="0934B6">
                  <a:alpha val="88235"/>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488" name="Google Shape;488;p123"/>
          <p:cNvSpPr txBox="1">
            <a:spLocks noGrp="1"/>
          </p:cNvSpPr>
          <p:nvPr>
            <p:ph type="title"/>
          </p:nvPr>
        </p:nvSpPr>
        <p:spPr>
          <a:xfrm>
            <a:off x="539400" y="560588"/>
            <a:ext cx="11089972"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489" name="Google Shape;489;p123"/>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grpSp>
        <p:nvGrpSpPr>
          <p:cNvPr id="490" name="Google Shape;490;p123"/>
          <p:cNvGrpSpPr/>
          <p:nvPr/>
        </p:nvGrpSpPr>
        <p:grpSpPr>
          <a:xfrm>
            <a:off x="11998459" y="6162188"/>
            <a:ext cx="68500" cy="441925"/>
            <a:chOff x="11998459" y="6162188"/>
            <a:chExt cx="68500" cy="441925"/>
          </a:xfrm>
        </p:grpSpPr>
        <p:sp>
          <p:nvSpPr>
            <p:cNvPr id="491" name="Google Shape;491;p123"/>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492" name="Google Shape;492;p123"/>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493" name="Google Shape;493;p123"/>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494" name="Google Shape;494;p123"/>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495" name="Google Shape;495;p123"/>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496" name="Google Shape;496;p123"/>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497" name="Google Shape;497;p123"/>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498" name="Google Shape;498;p123"/>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499" name="Google Shape;499;p123"/>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00" name="Google Shape;500;p123"/>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01" name="Google Shape;501;p123"/>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02" name="Google Shape;502;p123"/>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03" name="Google Shape;503;p123"/>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grpSp>
      <p:sp>
        <p:nvSpPr>
          <p:cNvPr id="504" name="Google Shape;504;p123"/>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1"/>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sp>
        <p:nvSpPr>
          <p:cNvPr id="505" name="Google Shape;505;p123"/>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506" name="Google Shape;506;p123"/>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matchingName="1_Gradient BG (with Title)">
  <p:cSld name="1_Gradient BG (with Title)">
    <p:spTree>
      <p:nvGrpSpPr>
        <p:cNvPr id="1" name="Shape 507"/>
        <p:cNvGrpSpPr/>
        <p:nvPr/>
      </p:nvGrpSpPr>
      <p:grpSpPr>
        <a:xfrm>
          <a:off x="0" y="0"/>
          <a:ext cx="0" cy="0"/>
          <a:chOff x="0" y="0"/>
          <a:chExt cx="0" cy="0"/>
        </a:xfrm>
      </p:grpSpPr>
      <p:sp>
        <p:nvSpPr>
          <p:cNvPr id="508" name="Google Shape;508;p124"/>
          <p:cNvSpPr/>
          <p:nvPr/>
        </p:nvSpPr>
        <p:spPr>
          <a:xfrm>
            <a:off x="0" y="0"/>
            <a:ext cx="12192000" cy="6858000"/>
          </a:xfrm>
          <a:prstGeom prst="rect">
            <a:avLst/>
          </a:prstGeom>
          <a:gradFill>
            <a:gsLst>
              <a:gs pos="0">
                <a:srgbClr val="062379"/>
              </a:gs>
              <a:gs pos="16000">
                <a:srgbClr val="062379"/>
              </a:gs>
              <a:gs pos="45000">
                <a:srgbClr val="0934B6">
                  <a:alpha val="88235"/>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grpSp>
        <p:nvGrpSpPr>
          <p:cNvPr id="509" name="Google Shape;509;p124"/>
          <p:cNvGrpSpPr/>
          <p:nvPr/>
        </p:nvGrpSpPr>
        <p:grpSpPr>
          <a:xfrm>
            <a:off x="11998459" y="6162188"/>
            <a:ext cx="68500" cy="441925"/>
            <a:chOff x="11998459" y="6162188"/>
            <a:chExt cx="68500" cy="441925"/>
          </a:xfrm>
        </p:grpSpPr>
        <p:sp>
          <p:nvSpPr>
            <p:cNvPr id="510" name="Google Shape;510;p124"/>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11" name="Google Shape;511;p124"/>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12" name="Google Shape;512;p124"/>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13" name="Google Shape;513;p124"/>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14" name="Google Shape;514;p124"/>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15" name="Google Shape;515;p124"/>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16" name="Google Shape;516;p124"/>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17" name="Google Shape;517;p124"/>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18" name="Google Shape;518;p124"/>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19" name="Google Shape;519;p124"/>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20" name="Google Shape;520;p124"/>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21" name="Google Shape;521;p124"/>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22" name="Google Shape;522;p124"/>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grpSp>
      <p:sp>
        <p:nvSpPr>
          <p:cNvPr id="523" name="Google Shape;523;p124"/>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1"/>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sp>
        <p:nvSpPr>
          <p:cNvPr id="524" name="Google Shape;524;p124"/>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525" name="Google Shape;525;p124"/>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1/3 Blue on Right">
  <p:cSld name="1/3 Blue on Right">
    <p:spTree>
      <p:nvGrpSpPr>
        <p:cNvPr id="1" name="Shape 526"/>
        <p:cNvGrpSpPr/>
        <p:nvPr/>
      </p:nvGrpSpPr>
      <p:grpSpPr>
        <a:xfrm>
          <a:off x="0" y="0"/>
          <a:ext cx="0" cy="0"/>
          <a:chOff x="0" y="0"/>
          <a:chExt cx="0" cy="0"/>
        </a:xfrm>
      </p:grpSpPr>
      <p:sp>
        <p:nvSpPr>
          <p:cNvPr id="527" name="Google Shape;527;p125"/>
          <p:cNvSpPr/>
          <p:nvPr/>
        </p:nvSpPr>
        <p:spPr>
          <a:xfrm>
            <a:off x="8134763" y="-1"/>
            <a:ext cx="4059776" cy="6858001"/>
          </a:xfrm>
          <a:prstGeom prst="rect">
            <a:avLst/>
          </a:prstGeom>
          <a:gradFill>
            <a:gsLst>
              <a:gs pos="0">
                <a:srgbClr val="062379"/>
              </a:gs>
              <a:gs pos="16000">
                <a:srgbClr val="062379"/>
              </a:gs>
              <a:gs pos="45000">
                <a:srgbClr val="0934B6">
                  <a:alpha val="88235"/>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28" name="Google Shape;528;p125"/>
          <p:cNvSpPr txBox="1">
            <a:spLocks noGrp="1"/>
          </p:cNvSpPr>
          <p:nvPr>
            <p:ph type="title"/>
          </p:nvPr>
        </p:nvSpPr>
        <p:spPr>
          <a:xfrm>
            <a:off x="539400" y="562841"/>
            <a:ext cx="7261122"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9" name="Google Shape;529;p125"/>
          <p:cNvSpPr txBox="1">
            <a:spLocks noGrp="1"/>
          </p:cNvSpPr>
          <p:nvPr>
            <p:ph type="sldNum" idx="12"/>
          </p:nvPr>
        </p:nvSpPr>
        <p:spPr>
          <a:xfrm>
            <a:off x="11490453" y="6445294"/>
            <a:ext cx="150683"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30" name="Google Shape;530;p125"/>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grpSp>
        <p:nvGrpSpPr>
          <p:cNvPr id="531" name="Google Shape;531;p125"/>
          <p:cNvGrpSpPr/>
          <p:nvPr/>
        </p:nvGrpSpPr>
        <p:grpSpPr>
          <a:xfrm>
            <a:off x="11998459" y="6162188"/>
            <a:ext cx="68500" cy="441925"/>
            <a:chOff x="11998459" y="6162188"/>
            <a:chExt cx="68500" cy="441925"/>
          </a:xfrm>
        </p:grpSpPr>
        <p:sp>
          <p:nvSpPr>
            <p:cNvPr id="532" name="Google Shape;532;p12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33" name="Google Shape;533;p12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34" name="Google Shape;534;p12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35" name="Google Shape;535;p12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36" name="Google Shape;536;p12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37" name="Google Shape;537;p12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38" name="Google Shape;538;p12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39" name="Google Shape;539;p12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40" name="Google Shape;540;p12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41" name="Google Shape;541;p12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42" name="Google Shape;542;p12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43" name="Google Shape;543;p12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44" name="Google Shape;544;p12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grpSp>
      <p:sp>
        <p:nvSpPr>
          <p:cNvPr id="545" name="Google Shape;545;p125"/>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1"/>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sp>
        <p:nvSpPr>
          <p:cNvPr id="546" name="Google Shape;546;p125"/>
          <p:cNvSpPr txBox="1">
            <a:spLocks noGrp="1"/>
          </p:cNvSpPr>
          <p:nvPr>
            <p:ph type="ftr" idx="11"/>
          </p:nvPr>
        </p:nvSpPr>
        <p:spPr>
          <a:xfrm>
            <a:off x="550862" y="6465614"/>
            <a:ext cx="7276401"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1/2 Blue on Right">
  <p:cSld name="1/2 Blue on Right">
    <p:spTree>
      <p:nvGrpSpPr>
        <p:cNvPr id="1" name="Shape 547"/>
        <p:cNvGrpSpPr/>
        <p:nvPr/>
      </p:nvGrpSpPr>
      <p:grpSpPr>
        <a:xfrm>
          <a:off x="0" y="0"/>
          <a:ext cx="0" cy="0"/>
          <a:chOff x="0" y="0"/>
          <a:chExt cx="0" cy="0"/>
        </a:xfrm>
      </p:grpSpPr>
      <p:sp>
        <p:nvSpPr>
          <p:cNvPr id="548" name="Google Shape;548;p126"/>
          <p:cNvSpPr/>
          <p:nvPr/>
        </p:nvSpPr>
        <p:spPr>
          <a:xfrm>
            <a:off x="6096000" y="-1"/>
            <a:ext cx="6098539" cy="6858001"/>
          </a:xfrm>
          <a:prstGeom prst="rect">
            <a:avLst/>
          </a:prstGeom>
          <a:gradFill>
            <a:gsLst>
              <a:gs pos="0">
                <a:srgbClr val="062379"/>
              </a:gs>
              <a:gs pos="16000">
                <a:srgbClr val="062379"/>
              </a:gs>
              <a:gs pos="45000">
                <a:srgbClr val="0934B6">
                  <a:alpha val="88235"/>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49" name="Google Shape;549;p126"/>
          <p:cNvSpPr txBox="1">
            <a:spLocks noGrp="1"/>
          </p:cNvSpPr>
          <p:nvPr>
            <p:ph type="title"/>
          </p:nvPr>
        </p:nvSpPr>
        <p:spPr>
          <a:xfrm>
            <a:off x="539400" y="562841"/>
            <a:ext cx="5205071"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0" name="Google Shape;550;p126"/>
          <p:cNvSpPr txBox="1">
            <a:spLocks noGrp="1"/>
          </p:cNvSpPr>
          <p:nvPr>
            <p:ph type="sldNum" idx="12"/>
          </p:nvPr>
        </p:nvSpPr>
        <p:spPr>
          <a:xfrm>
            <a:off x="11490453" y="6445294"/>
            <a:ext cx="150683"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51" name="Google Shape;551;p126"/>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grpSp>
        <p:nvGrpSpPr>
          <p:cNvPr id="552" name="Google Shape;552;p126"/>
          <p:cNvGrpSpPr/>
          <p:nvPr/>
        </p:nvGrpSpPr>
        <p:grpSpPr>
          <a:xfrm>
            <a:off x="11998459" y="6162188"/>
            <a:ext cx="68500" cy="441925"/>
            <a:chOff x="11998459" y="6162188"/>
            <a:chExt cx="68500" cy="441925"/>
          </a:xfrm>
        </p:grpSpPr>
        <p:sp>
          <p:nvSpPr>
            <p:cNvPr id="553" name="Google Shape;553;p126"/>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54" name="Google Shape;554;p126"/>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55" name="Google Shape;555;p126"/>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56" name="Google Shape;556;p126"/>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57" name="Google Shape;557;p126"/>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58" name="Google Shape;558;p126"/>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59" name="Google Shape;559;p126"/>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60" name="Google Shape;560;p126"/>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61" name="Google Shape;561;p126"/>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62" name="Google Shape;562;p126"/>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63" name="Google Shape;563;p126"/>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64" name="Google Shape;564;p126"/>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65" name="Google Shape;565;p126"/>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grpSp>
      <p:sp>
        <p:nvSpPr>
          <p:cNvPr id="566" name="Google Shape;566;p126"/>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1"/>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sp>
        <p:nvSpPr>
          <p:cNvPr id="567" name="Google Shape;567;p126"/>
          <p:cNvSpPr txBox="1">
            <a:spLocks noGrp="1"/>
          </p:cNvSpPr>
          <p:nvPr>
            <p:ph type="ftr" idx="11"/>
          </p:nvPr>
        </p:nvSpPr>
        <p:spPr>
          <a:xfrm>
            <a:off x="550863" y="6465614"/>
            <a:ext cx="5220350"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7_Full-width Page">
  <p:cSld name="7_Full-width Page">
    <p:spTree>
      <p:nvGrpSpPr>
        <p:cNvPr id="1" name="Shape 568"/>
        <p:cNvGrpSpPr/>
        <p:nvPr/>
      </p:nvGrpSpPr>
      <p:grpSpPr>
        <a:xfrm>
          <a:off x="0" y="0"/>
          <a:ext cx="0" cy="0"/>
          <a:chOff x="0" y="0"/>
          <a:chExt cx="0" cy="0"/>
        </a:xfrm>
      </p:grpSpPr>
      <p:sp>
        <p:nvSpPr>
          <p:cNvPr id="569" name="Google Shape;569;p127"/>
          <p:cNvSpPr/>
          <p:nvPr/>
        </p:nvSpPr>
        <p:spPr>
          <a:xfrm>
            <a:off x="0" y="0"/>
            <a:ext cx="3657600" cy="6858000"/>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70" name="Google Shape;570;p127"/>
          <p:cNvSpPr txBox="1">
            <a:spLocks noGrp="1"/>
          </p:cNvSpPr>
          <p:nvPr>
            <p:ph type="title"/>
          </p:nvPr>
        </p:nvSpPr>
        <p:spPr>
          <a:xfrm>
            <a:off x="1375547" y="360215"/>
            <a:ext cx="2101944" cy="125572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571" name="Google Shape;571;p127"/>
          <p:cNvCxnSpPr/>
          <p:nvPr/>
        </p:nvCxnSpPr>
        <p:spPr>
          <a:xfrm>
            <a:off x="361750" y="1394256"/>
            <a:ext cx="2963341" cy="0"/>
          </a:xfrm>
          <a:prstGeom prst="straightConnector1">
            <a:avLst/>
          </a:prstGeom>
          <a:noFill/>
          <a:ln w="19050" cap="flat" cmpd="sng">
            <a:solidFill>
              <a:schemeClr val="dk2"/>
            </a:solidFill>
            <a:prstDash val="solid"/>
            <a:miter lim="800000"/>
            <a:headEnd type="none" w="sm" len="sm"/>
            <a:tailEnd type="none" w="sm" len="sm"/>
          </a:ln>
        </p:spPr>
      </p:cxnSp>
      <p:pic>
        <p:nvPicPr>
          <p:cNvPr id="572" name="Google Shape;572;p127"/>
          <p:cNvPicPr preferRelativeResize="0"/>
          <p:nvPr/>
        </p:nvPicPr>
        <p:blipFill rotWithShape="1">
          <a:blip r:embed="rId2">
            <a:alphaModFix/>
          </a:blip>
          <a:srcRect/>
          <a:stretch/>
        </p:blipFill>
        <p:spPr>
          <a:xfrm>
            <a:off x="361750" y="403759"/>
            <a:ext cx="848783" cy="766477"/>
          </a:xfrm>
          <a:prstGeom prst="rect">
            <a:avLst/>
          </a:prstGeom>
          <a:noFill/>
          <a:ln>
            <a:noFill/>
          </a:ln>
        </p:spPr>
      </p:pic>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0_Full-width Page">
  <p:cSld name="10_Full-width Page">
    <p:spTree>
      <p:nvGrpSpPr>
        <p:cNvPr id="1" name="Shape 573"/>
        <p:cNvGrpSpPr/>
        <p:nvPr/>
      </p:nvGrpSpPr>
      <p:grpSpPr>
        <a:xfrm>
          <a:off x="0" y="0"/>
          <a:ext cx="0" cy="0"/>
          <a:chOff x="0" y="0"/>
          <a:chExt cx="0" cy="0"/>
        </a:xfrm>
      </p:grpSpPr>
      <p:sp>
        <p:nvSpPr>
          <p:cNvPr id="574" name="Google Shape;574;p128"/>
          <p:cNvSpPr/>
          <p:nvPr/>
        </p:nvSpPr>
        <p:spPr>
          <a:xfrm>
            <a:off x="0" y="0"/>
            <a:ext cx="12192000" cy="1577340"/>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75" name="Google Shape;575;p128"/>
          <p:cNvSpPr txBox="1">
            <a:spLocks noGrp="1"/>
          </p:cNvSpPr>
          <p:nvPr>
            <p:ph type="title"/>
          </p:nvPr>
        </p:nvSpPr>
        <p:spPr>
          <a:xfrm>
            <a:off x="1375547" y="348339"/>
            <a:ext cx="2133600" cy="1255728"/>
          </a:xfrm>
          <a:prstGeom prst="rect">
            <a:avLst/>
          </a:prstGeom>
          <a:noFill/>
          <a:ln>
            <a:noFill/>
          </a:ln>
        </p:spPr>
        <p:txBody>
          <a:bodyPr spcFirstLastPara="1" wrap="square" lIns="0" tIns="0" rIns="0" bIns="0" anchor="t" anchorCtr="0">
            <a:spAutoFit/>
          </a:bodyPr>
          <a:lstStyle>
            <a:lvl1pPr lvl="0" algn="l">
              <a:lnSpc>
                <a:spcPct val="109375"/>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576" name="Google Shape;576;p128"/>
          <p:cNvCxnSpPr/>
          <p:nvPr/>
        </p:nvCxnSpPr>
        <p:spPr>
          <a:xfrm>
            <a:off x="3329033" y="396729"/>
            <a:ext cx="0" cy="813093"/>
          </a:xfrm>
          <a:prstGeom prst="straightConnector1">
            <a:avLst/>
          </a:prstGeom>
          <a:noFill/>
          <a:ln w="19050" cap="flat" cmpd="sng">
            <a:solidFill>
              <a:schemeClr val="dk2"/>
            </a:solidFill>
            <a:prstDash val="solid"/>
            <a:miter lim="800000"/>
            <a:headEnd type="none" w="sm" len="sm"/>
            <a:tailEnd type="none" w="sm" len="sm"/>
          </a:ln>
        </p:spPr>
      </p:cxnSp>
      <p:pic>
        <p:nvPicPr>
          <p:cNvPr id="577" name="Google Shape;577;p128"/>
          <p:cNvPicPr preferRelativeResize="0"/>
          <p:nvPr/>
        </p:nvPicPr>
        <p:blipFill rotWithShape="1">
          <a:blip r:embed="rId2">
            <a:alphaModFix/>
          </a:blip>
          <a:srcRect/>
          <a:stretch/>
        </p:blipFill>
        <p:spPr>
          <a:xfrm>
            <a:off x="361750" y="403759"/>
            <a:ext cx="848783" cy="766477"/>
          </a:xfrm>
          <a:prstGeom prst="rect">
            <a:avLst/>
          </a:prstGeom>
          <a:noFill/>
          <a:ln>
            <a:noFill/>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85"/>
        <p:cNvGrpSpPr/>
        <p:nvPr/>
      </p:nvGrpSpPr>
      <p:grpSpPr>
        <a:xfrm>
          <a:off x="0" y="0"/>
          <a:ext cx="0" cy="0"/>
          <a:chOff x="0" y="0"/>
          <a:chExt cx="0" cy="0"/>
        </a:xfrm>
      </p:grpSpPr>
      <p:sp>
        <p:nvSpPr>
          <p:cNvPr id="86" name="Google Shape;86;p136"/>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SzPts val="32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 name="Google Shape;87;p136"/>
          <p:cNvSpPr txBox="1">
            <a:spLocks noGrp="1"/>
          </p:cNvSpPr>
          <p:nvPr>
            <p:ph type="ftr" idx="11"/>
          </p:nvPr>
        </p:nvSpPr>
        <p:spPr>
          <a:xfrm>
            <a:off x="550863" y="6465614"/>
            <a:ext cx="488916"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Breaker Slide_1">
  <p:cSld name="Breaker Slide_1">
    <p:bg>
      <p:bgPr>
        <a:solidFill>
          <a:schemeClr val="lt2"/>
        </a:solidFill>
        <a:effectLst/>
      </p:bgPr>
    </p:bg>
    <p:spTree>
      <p:nvGrpSpPr>
        <p:cNvPr id="1" name="Shape 578"/>
        <p:cNvGrpSpPr/>
        <p:nvPr/>
      </p:nvGrpSpPr>
      <p:grpSpPr>
        <a:xfrm>
          <a:off x="0" y="0"/>
          <a:ext cx="0" cy="0"/>
          <a:chOff x="0" y="0"/>
          <a:chExt cx="0" cy="0"/>
        </a:xfrm>
      </p:grpSpPr>
      <p:pic>
        <p:nvPicPr>
          <p:cNvPr id="579" name="Google Shape;579;p129"/>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580" name="Google Shape;580;p129"/>
          <p:cNvSpPr/>
          <p:nvPr/>
        </p:nvSpPr>
        <p:spPr>
          <a:xfrm>
            <a:off x="0" y="0"/>
            <a:ext cx="2682587" cy="6858000"/>
          </a:xfrm>
          <a:prstGeom prst="rect">
            <a:avLst/>
          </a:prstGeom>
          <a:solidFill>
            <a:schemeClr val="lt2">
              <a:alpha val="68235"/>
            </a:scheme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81" name="Google Shape;581;p129"/>
          <p:cNvSpPr/>
          <p:nvPr/>
        </p:nvSpPr>
        <p:spPr>
          <a:xfrm>
            <a:off x="0" y="3700463"/>
            <a:ext cx="9412014" cy="2414587"/>
          </a:xfrm>
          <a:prstGeom prst="rect">
            <a:avLst/>
          </a:prstGeom>
          <a:gradFill>
            <a:gsLst>
              <a:gs pos="0">
                <a:srgbClr val="062379"/>
              </a:gs>
              <a:gs pos="55000">
                <a:srgbClr val="385ED2"/>
              </a:gs>
              <a:gs pos="76000">
                <a:srgbClr val="4873F5">
                  <a:alpha val="88235"/>
                </a:srgbClr>
              </a:gs>
              <a:gs pos="100000">
                <a:srgbClr val="43E1D3">
                  <a:alpha val="88235"/>
                </a:srgbClr>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82" name="Google Shape;582;p129"/>
          <p:cNvSpPr txBox="1">
            <a:spLocks noGrp="1"/>
          </p:cNvSpPr>
          <p:nvPr>
            <p:ph type="title"/>
          </p:nvPr>
        </p:nvSpPr>
        <p:spPr>
          <a:xfrm>
            <a:off x="737591" y="4108436"/>
            <a:ext cx="8494899" cy="1569660"/>
          </a:xfrm>
          <a:prstGeom prst="rect">
            <a:avLst/>
          </a:prstGeom>
          <a:noFill/>
          <a:ln>
            <a:noFill/>
          </a:ln>
          <a:effectLst>
            <a:outerShdw blurRad="190500" algn="tl" rotWithShape="0">
              <a:srgbClr val="000000">
                <a:alpha val="28235"/>
              </a:srgbClr>
            </a:outerShdw>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83" name="Google Shape;583;p129"/>
          <p:cNvGrpSpPr/>
          <p:nvPr/>
        </p:nvGrpSpPr>
        <p:grpSpPr>
          <a:xfrm>
            <a:off x="11998459" y="6162188"/>
            <a:ext cx="68500" cy="441925"/>
            <a:chOff x="11998459" y="6162188"/>
            <a:chExt cx="68500" cy="441925"/>
          </a:xfrm>
        </p:grpSpPr>
        <p:sp>
          <p:nvSpPr>
            <p:cNvPr id="584" name="Google Shape;584;p129"/>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85" name="Google Shape;585;p129"/>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86" name="Google Shape;586;p129"/>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87" name="Google Shape;587;p129"/>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88" name="Google Shape;588;p129"/>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89" name="Google Shape;589;p129"/>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90" name="Google Shape;590;p129"/>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91" name="Google Shape;591;p129"/>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92" name="Google Shape;592;p129"/>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93" name="Google Shape;593;p129"/>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94" name="Google Shape;594;p129"/>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95" name="Google Shape;595;p129"/>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596" name="Google Shape;596;p129"/>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grpSp>
      <p:sp>
        <p:nvSpPr>
          <p:cNvPr id="597" name="Google Shape;597;p129"/>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1"/>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sp>
        <p:nvSpPr>
          <p:cNvPr id="598" name="Google Shape;598;p129"/>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matchingName="Breaker Slide_2">
  <p:cSld name="Breaker Slide_2">
    <p:bg>
      <p:bgPr>
        <a:solidFill>
          <a:schemeClr val="lt2"/>
        </a:solidFill>
        <a:effectLst/>
      </p:bgPr>
    </p:bg>
    <p:spTree>
      <p:nvGrpSpPr>
        <p:cNvPr id="1" name="Shape 599"/>
        <p:cNvGrpSpPr/>
        <p:nvPr/>
      </p:nvGrpSpPr>
      <p:grpSpPr>
        <a:xfrm>
          <a:off x="0" y="0"/>
          <a:ext cx="0" cy="0"/>
          <a:chOff x="0" y="0"/>
          <a:chExt cx="0" cy="0"/>
        </a:xfrm>
      </p:grpSpPr>
      <p:pic>
        <p:nvPicPr>
          <p:cNvPr id="600" name="Google Shape;600;p130"/>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601" name="Google Shape;601;p130"/>
          <p:cNvSpPr/>
          <p:nvPr/>
        </p:nvSpPr>
        <p:spPr>
          <a:xfrm>
            <a:off x="0" y="0"/>
            <a:ext cx="12192000" cy="6858000"/>
          </a:xfrm>
          <a:prstGeom prst="rect">
            <a:avLst/>
          </a:prstGeom>
          <a:gradFill>
            <a:gsLst>
              <a:gs pos="0">
                <a:srgbClr val="062379"/>
              </a:gs>
              <a:gs pos="16000">
                <a:srgbClr val="062379"/>
              </a:gs>
              <a:gs pos="55000">
                <a:srgbClr val="0934B6">
                  <a:alpha val="88235"/>
                </a:srgbClr>
              </a:gs>
              <a:gs pos="85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602" name="Google Shape;602;p130"/>
          <p:cNvSpPr txBox="1">
            <a:spLocks noGrp="1"/>
          </p:cNvSpPr>
          <p:nvPr>
            <p:ph type="title"/>
          </p:nvPr>
        </p:nvSpPr>
        <p:spPr>
          <a:xfrm>
            <a:off x="992390" y="4026897"/>
            <a:ext cx="6785798" cy="1569660"/>
          </a:xfrm>
          <a:prstGeom prst="rect">
            <a:avLst/>
          </a:prstGeom>
          <a:noFill/>
          <a:ln>
            <a:noFill/>
          </a:ln>
          <a:effectLst>
            <a:outerShdw blurRad="190500" algn="tl" rotWithShape="0">
              <a:srgbClr val="000000">
                <a:alpha val="28235"/>
              </a:srgbClr>
            </a:outerShdw>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03" name="Google Shape;603;p130"/>
          <p:cNvGrpSpPr/>
          <p:nvPr/>
        </p:nvGrpSpPr>
        <p:grpSpPr>
          <a:xfrm>
            <a:off x="11998459" y="6162188"/>
            <a:ext cx="68500" cy="441925"/>
            <a:chOff x="11998459" y="6162188"/>
            <a:chExt cx="68500" cy="441925"/>
          </a:xfrm>
        </p:grpSpPr>
        <p:sp>
          <p:nvSpPr>
            <p:cNvPr id="604" name="Google Shape;604;p130"/>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605" name="Google Shape;605;p130"/>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606" name="Google Shape;606;p130"/>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607" name="Google Shape;607;p130"/>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608" name="Google Shape;608;p130"/>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609" name="Google Shape;609;p130"/>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610" name="Google Shape;610;p130"/>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611" name="Google Shape;611;p130"/>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612" name="Google Shape;612;p130"/>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613" name="Google Shape;613;p130"/>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614" name="Google Shape;614;p130"/>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615" name="Google Shape;615;p130"/>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616" name="Google Shape;616;p130"/>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grpSp>
      <p:sp>
        <p:nvSpPr>
          <p:cNvPr id="617" name="Google Shape;617;p130"/>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1"/>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sp>
        <p:nvSpPr>
          <p:cNvPr id="618" name="Google Shape;618;p130"/>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9" name="Google Shape;619;p130"/>
          <p:cNvCxnSpPr/>
          <p:nvPr/>
        </p:nvCxnSpPr>
        <p:spPr>
          <a:xfrm>
            <a:off x="992389" y="5712304"/>
            <a:ext cx="1542466" cy="0"/>
          </a:xfrm>
          <a:prstGeom prst="straightConnector1">
            <a:avLst/>
          </a:prstGeom>
          <a:noFill/>
          <a:ln w="38100" cap="flat" cmpd="sng">
            <a:solidFill>
              <a:schemeClr val="lt1"/>
            </a:solidFill>
            <a:prstDash val="solid"/>
            <a:miter lim="800000"/>
            <a:headEnd type="none" w="sm" len="sm"/>
            <a:tailEnd type="none" w="sm" len="sm"/>
          </a:ln>
        </p:spPr>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matchingName="Last Page">
  <p:cSld name="Last Page">
    <p:spTree>
      <p:nvGrpSpPr>
        <p:cNvPr id="1" name="Shape 620"/>
        <p:cNvGrpSpPr/>
        <p:nvPr/>
      </p:nvGrpSpPr>
      <p:grpSpPr>
        <a:xfrm>
          <a:off x="0" y="0"/>
          <a:ext cx="0" cy="0"/>
          <a:chOff x="0" y="0"/>
          <a:chExt cx="0" cy="0"/>
        </a:xfrm>
      </p:grpSpPr>
      <p:sp>
        <p:nvSpPr>
          <p:cNvPr id="621" name="Google Shape;621;p131"/>
          <p:cNvSpPr/>
          <p:nvPr/>
        </p:nvSpPr>
        <p:spPr>
          <a:xfrm>
            <a:off x="0" y="0"/>
            <a:ext cx="12192000" cy="6858000"/>
          </a:xfrm>
          <a:prstGeom prst="rect">
            <a:avLst/>
          </a:prstGeom>
          <a:gradFill>
            <a:gsLst>
              <a:gs pos="0">
                <a:srgbClr val="062379"/>
              </a:gs>
              <a:gs pos="16000">
                <a:srgbClr val="062379"/>
              </a:gs>
              <a:gs pos="45000">
                <a:srgbClr val="0934B6">
                  <a:alpha val="88235"/>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622" name="Google Shape;622;p131"/>
          <p:cNvSpPr txBox="1"/>
          <p:nvPr/>
        </p:nvSpPr>
        <p:spPr>
          <a:xfrm>
            <a:off x="550863" y="5965461"/>
            <a:ext cx="3028906"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sng" strike="noStrike" cap="none">
                <a:solidFill>
                  <a:srgbClr val="43E1D3"/>
                </a:solidFill>
                <a:latin typeface="Calibri"/>
                <a:ea typeface="Calibri"/>
                <a:cs typeface="Calibri"/>
                <a:sym typeface="Calibri"/>
                <a:hlinkClick r:id="rId2">
                  <a:extLst>
                    <a:ext uri="{A12FA001-AC4F-418D-AE19-62706E023703}">
                      <ahyp:hlinkClr xmlns:ahyp="http://schemas.microsoft.com/office/drawing/2018/hyperlinkcolor" val="tx"/>
                    </a:ext>
                  </a:extLst>
                </a:hlinkClick>
              </a:rPr>
              <a:t>www.infomineo.com</a:t>
            </a:r>
            <a:endParaRPr sz="1200" b="1" i="0" u="none" strike="noStrike" cap="none">
              <a:solidFill>
                <a:srgbClr val="43E1D3"/>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lt1"/>
                </a:solidFill>
                <a:latin typeface="Calibri"/>
                <a:ea typeface="Calibri"/>
                <a:cs typeface="Calibri"/>
                <a:sym typeface="Calibri"/>
              </a:rPr>
              <a:t>Infomineo Copyright © 2020. All rights reserved.</a:t>
            </a:r>
            <a:endParaRPr sz="1400" b="0" i="0" u="none" strike="noStrike" cap="none">
              <a:solidFill>
                <a:srgbClr val="000000"/>
              </a:solidFill>
              <a:latin typeface="Arial"/>
              <a:ea typeface="Arial"/>
              <a:cs typeface="Arial"/>
              <a:sym typeface="Arial"/>
            </a:endParaRPr>
          </a:p>
        </p:txBody>
      </p:sp>
      <p:pic>
        <p:nvPicPr>
          <p:cNvPr id="623" name="Google Shape;623;p131"/>
          <p:cNvPicPr preferRelativeResize="0"/>
          <p:nvPr/>
        </p:nvPicPr>
        <p:blipFill rotWithShape="1">
          <a:blip r:embed="rId3">
            <a:alphaModFix/>
          </a:blip>
          <a:srcRect/>
          <a:stretch/>
        </p:blipFill>
        <p:spPr>
          <a:xfrm>
            <a:off x="4256669" y="3006053"/>
            <a:ext cx="3678662" cy="845895"/>
          </a:xfrm>
          <a:prstGeom prst="rect">
            <a:avLst/>
          </a:prstGeom>
          <a:noFill/>
          <a:ln>
            <a:noFill/>
          </a:ln>
        </p:spPr>
      </p:pic>
      <p:pic>
        <p:nvPicPr>
          <p:cNvPr id="624" name="Google Shape;624;p131">
            <a:hlinkClick r:id="rId4"/>
          </p:cNvPr>
          <p:cNvPicPr preferRelativeResize="0"/>
          <p:nvPr/>
        </p:nvPicPr>
        <p:blipFill rotWithShape="1">
          <a:blip r:embed="rId5">
            <a:alphaModFix/>
          </a:blip>
          <a:srcRect/>
          <a:stretch/>
        </p:blipFill>
        <p:spPr>
          <a:xfrm>
            <a:off x="11323329" y="5965461"/>
            <a:ext cx="370332" cy="370332"/>
          </a:xfrm>
          <a:prstGeom prst="rect">
            <a:avLst/>
          </a:prstGeom>
          <a:noFill/>
          <a:ln>
            <a:noFill/>
          </a:ln>
        </p:spPr>
      </p:pic>
      <p:pic>
        <p:nvPicPr>
          <p:cNvPr id="625" name="Google Shape;625;p131">
            <a:hlinkClick r:id="rId6"/>
          </p:cNvPr>
          <p:cNvPicPr preferRelativeResize="0"/>
          <p:nvPr/>
        </p:nvPicPr>
        <p:blipFill rotWithShape="1">
          <a:blip r:embed="rId7">
            <a:alphaModFix/>
          </a:blip>
          <a:srcRect/>
          <a:stretch/>
        </p:blipFill>
        <p:spPr>
          <a:xfrm>
            <a:off x="10825964" y="5965461"/>
            <a:ext cx="368808" cy="370332"/>
          </a:xfrm>
          <a:prstGeom prst="rect">
            <a:avLst/>
          </a:prstGeom>
          <a:noFill/>
          <a:ln>
            <a:noFill/>
          </a:ln>
        </p:spPr>
      </p:pic>
      <p:pic>
        <p:nvPicPr>
          <p:cNvPr id="626" name="Google Shape;626;p131">
            <a:hlinkClick r:id="rId8"/>
          </p:cNvPr>
          <p:cNvPicPr preferRelativeResize="0"/>
          <p:nvPr/>
        </p:nvPicPr>
        <p:blipFill rotWithShape="1">
          <a:blip r:embed="rId9">
            <a:alphaModFix/>
          </a:blip>
          <a:srcRect/>
          <a:stretch/>
        </p:blipFill>
        <p:spPr>
          <a:xfrm>
            <a:off x="10328599" y="5965461"/>
            <a:ext cx="368808" cy="370332"/>
          </a:xfrm>
          <a:prstGeom prst="rect">
            <a:avLst/>
          </a:prstGeom>
          <a:noFill/>
          <a:ln>
            <a:noFill/>
          </a:ln>
        </p:spPr>
      </p:pic>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Guides">
  <p:cSld name="Guides">
    <p:spTree>
      <p:nvGrpSpPr>
        <p:cNvPr id="1" name="Shape 627"/>
        <p:cNvGrpSpPr/>
        <p:nvPr/>
      </p:nvGrpSpPr>
      <p:grpSpPr>
        <a:xfrm>
          <a:off x="0" y="0"/>
          <a:ext cx="0" cy="0"/>
          <a:chOff x="0" y="0"/>
          <a:chExt cx="0" cy="0"/>
        </a:xfrm>
      </p:grpSpPr>
      <p:sp>
        <p:nvSpPr>
          <p:cNvPr id="628" name="Google Shape;628;p132"/>
          <p:cNvSpPr/>
          <p:nvPr/>
        </p:nvSpPr>
        <p:spPr>
          <a:xfrm>
            <a:off x="0" y="0"/>
            <a:ext cx="12193200" cy="6858000"/>
          </a:xfrm>
          <a:custGeom>
            <a:avLst/>
            <a:gdLst/>
            <a:ahLst/>
            <a:cxnLst/>
            <a:rect l="l" t="t" r="r" b="b"/>
            <a:pathLst>
              <a:path w="12193200" h="6858000" extrusionOk="0">
                <a:moveTo>
                  <a:pt x="566584" y="549276"/>
                </a:moveTo>
                <a:lnTo>
                  <a:pt x="566584" y="6308726"/>
                </a:lnTo>
                <a:lnTo>
                  <a:pt x="11641138" y="6308726"/>
                </a:lnTo>
                <a:lnTo>
                  <a:pt x="11641138" y="549276"/>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0000">
              <a:alpha val="3137"/>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dk1"/>
              </a:solidFill>
              <a:latin typeface="Calibri"/>
              <a:ea typeface="Calibri"/>
              <a:cs typeface="Calibri"/>
              <a:sym typeface="Calibri"/>
            </a:endParaRPr>
          </a:p>
        </p:txBody>
      </p:sp>
      <p:grpSp>
        <p:nvGrpSpPr>
          <p:cNvPr id="629" name="Google Shape;629;p132"/>
          <p:cNvGrpSpPr/>
          <p:nvPr/>
        </p:nvGrpSpPr>
        <p:grpSpPr>
          <a:xfrm>
            <a:off x="-600" y="549275"/>
            <a:ext cx="12193201" cy="5759450"/>
            <a:chOff x="-600" y="549275"/>
            <a:chExt cx="12193201" cy="5759450"/>
          </a:xfrm>
        </p:grpSpPr>
        <p:cxnSp>
          <p:nvCxnSpPr>
            <p:cNvPr id="630" name="Google Shape;630;p132"/>
            <p:cNvCxnSpPr/>
            <p:nvPr/>
          </p:nvCxnSpPr>
          <p:spPr>
            <a:xfrm>
              <a:off x="-600" y="54927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631" name="Google Shape;631;p132"/>
            <p:cNvCxnSpPr/>
            <p:nvPr/>
          </p:nvCxnSpPr>
          <p:spPr>
            <a:xfrm>
              <a:off x="-600" y="1072861"/>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632" name="Google Shape;632;p132"/>
            <p:cNvCxnSpPr/>
            <p:nvPr/>
          </p:nvCxnSpPr>
          <p:spPr>
            <a:xfrm>
              <a:off x="-600" y="1334654"/>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633" name="Google Shape;633;p132"/>
            <p:cNvCxnSpPr/>
            <p:nvPr/>
          </p:nvCxnSpPr>
          <p:spPr>
            <a:xfrm>
              <a:off x="-600" y="1596447"/>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634" name="Google Shape;634;p132"/>
            <p:cNvCxnSpPr/>
            <p:nvPr/>
          </p:nvCxnSpPr>
          <p:spPr>
            <a:xfrm>
              <a:off x="-600" y="1858240"/>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635" name="Google Shape;635;p132"/>
            <p:cNvCxnSpPr/>
            <p:nvPr/>
          </p:nvCxnSpPr>
          <p:spPr>
            <a:xfrm>
              <a:off x="-600" y="2120033"/>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636" name="Google Shape;636;p132"/>
            <p:cNvCxnSpPr/>
            <p:nvPr/>
          </p:nvCxnSpPr>
          <p:spPr>
            <a:xfrm>
              <a:off x="-600" y="2381826"/>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637" name="Google Shape;637;p132"/>
            <p:cNvCxnSpPr/>
            <p:nvPr/>
          </p:nvCxnSpPr>
          <p:spPr>
            <a:xfrm>
              <a:off x="-600" y="2643619"/>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638" name="Google Shape;638;p132"/>
            <p:cNvCxnSpPr/>
            <p:nvPr/>
          </p:nvCxnSpPr>
          <p:spPr>
            <a:xfrm>
              <a:off x="-600" y="2905412"/>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639" name="Google Shape;639;p132"/>
            <p:cNvCxnSpPr/>
            <p:nvPr/>
          </p:nvCxnSpPr>
          <p:spPr>
            <a:xfrm>
              <a:off x="-600" y="316720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640" name="Google Shape;640;p132"/>
            <p:cNvCxnSpPr/>
            <p:nvPr/>
          </p:nvCxnSpPr>
          <p:spPr>
            <a:xfrm>
              <a:off x="-600" y="342899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641" name="Google Shape;641;p132"/>
            <p:cNvCxnSpPr/>
            <p:nvPr/>
          </p:nvCxnSpPr>
          <p:spPr>
            <a:xfrm>
              <a:off x="-600" y="3690791"/>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642" name="Google Shape;642;p132"/>
            <p:cNvCxnSpPr/>
            <p:nvPr/>
          </p:nvCxnSpPr>
          <p:spPr>
            <a:xfrm>
              <a:off x="-600" y="3952584"/>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643" name="Google Shape;643;p132"/>
            <p:cNvCxnSpPr/>
            <p:nvPr/>
          </p:nvCxnSpPr>
          <p:spPr>
            <a:xfrm>
              <a:off x="-600" y="4214377"/>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644" name="Google Shape;644;p132"/>
            <p:cNvCxnSpPr/>
            <p:nvPr/>
          </p:nvCxnSpPr>
          <p:spPr>
            <a:xfrm>
              <a:off x="-600" y="4476170"/>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645" name="Google Shape;645;p132"/>
            <p:cNvCxnSpPr/>
            <p:nvPr/>
          </p:nvCxnSpPr>
          <p:spPr>
            <a:xfrm>
              <a:off x="-600" y="4737963"/>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646" name="Google Shape;646;p132"/>
            <p:cNvCxnSpPr/>
            <p:nvPr/>
          </p:nvCxnSpPr>
          <p:spPr>
            <a:xfrm>
              <a:off x="-600" y="4999756"/>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647" name="Google Shape;647;p132"/>
            <p:cNvCxnSpPr/>
            <p:nvPr/>
          </p:nvCxnSpPr>
          <p:spPr>
            <a:xfrm>
              <a:off x="-600" y="5261549"/>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648" name="Google Shape;648;p132"/>
            <p:cNvCxnSpPr/>
            <p:nvPr/>
          </p:nvCxnSpPr>
          <p:spPr>
            <a:xfrm>
              <a:off x="-600" y="5523342"/>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649" name="Google Shape;649;p132"/>
            <p:cNvCxnSpPr/>
            <p:nvPr/>
          </p:nvCxnSpPr>
          <p:spPr>
            <a:xfrm>
              <a:off x="-600" y="578513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650" name="Google Shape;650;p132"/>
            <p:cNvCxnSpPr/>
            <p:nvPr/>
          </p:nvCxnSpPr>
          <p:spPr>
            <a:xfrm>
              <a:off x="-600" y="81106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651" name="Google Shape;651;p132"/>
            <p:cNvCxnSpPr/>
            <p:nvPr/>
          </p:nvCxnSpPr>
          <p:spPr>
            <a:xfrm>
              <a:off x="-600" y="630872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652" name="Google Shape;652;p132"/>
            <p:cNvCxnSpPr/>
            <p:nvPr/>
          </p:nvCxnSpPr>
          <p:spPr>
            <a:xfrm>
              <a:off x="-600" y="604692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grpSp>
      <p:sp>
        <p:nvSpPr>
          <p:cNvPr id="653" name="Google Shape;653;p132"/>
          <p:cNvSpPr/>
          <p:nvPr/>
        </p:nvSpPr>
        <p:spPr>
          <a:xfrm>
            <a:off x="550263" y="6308721"/>
            <a:ext cx="11090873" cy="261799"/>
          </a:xfrm>
          <a:prstGeom prst="rect">
            <a:avLst/>
          </a:prstGeom>
          <a:solidFill>
            <a:srgbClr val="FF0000">
              <a:alpha val="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654" name="Google Shape;654;p132"/>
          <p:cNvSpPr/>
          <p:nvPr/>
        </p:nvSpPr>
        <p:spPr>
          <a:xfrm>
            <a:off x="550864" y="1348221"/>
            <a:ext cx="11105556" cy="509202"/>
          </a:xfrm>
          <a:prstGeom prst="rect">
            <a:avLst/>
          </a:prstGeom>
          <a:solidFill>
            <a:srgbClr val="FF0000">
              <a:alpha val="3137"/>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655" name="Google Shape;655;p132"/>
          <p:cNvSpPr/>
          <p:nvPr/>
        </p:nvSpPr>
        <p:spPr>
          <a:xfrm>
            <a:off x="550863" y="2120033"/>
            <a:ext cx="11090275" cy="4188692"/>
          </a:xfrm>
          <a:custGeom>
            <a:avLst/>
            <a:gdLst/>
            <a:ahLst/>
            <a:cxnLst/>
            <a:rect l="l" t="t" r="r" b="b"/>
            <a:pathLst>
              <a:path w="10931999" h="5537797" extrusionOk="0">
                <a:moveTo>
                  <a:pt x="0" y="0"/>
                </a:moveTo>
                <a:lnTo>
                  <a:pt x="10931999" y="0"/>
                </a:lnTo>
                <a:lnTo>
                  <a:pt x="10931999" y="5537797"/>
                </a:lnTo>
                <a:lnTo>
                  <a:pt x="0" y="5537797"/>
                </a:lnTo>
                <a:close/>
              </a:path>
            </a:pathLst>
          </a:custGeom>
          <a:noFill/>
          <a:ln w="9525" cap="flat" cmpd="sng">
            <a:solidFill>
              <a:schemeClr val="dk2">
                <a:alpha val="33333"/>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1200" b="0" i="0" u="none" strike="noStrike" cap="none">
              <a:solidFill>
                <a:schemeClr val="lt1"/>
              </a:solidFill>
              <a:latin typeface="Calibri"/>
              <a:ea typeface="Calibri"/>
              <a:cs typeface="Calibri"/>
              <a:sym typeface="Calibri"/>
            </a:endParaRPr>
          </a:p>
        </p:txBody>
      </p:sp>
      <p:grpSp>
        <p:nvGrpSpPr>
          <p:cNvPr id="656" name="Google Shape;656;p132"/>
          <p:cNvGrpSpPr/>
          <p:nvPr/>
        </p:nvGrpSpPr>
        <p:grpSpPr>
          <a:xfrm>
            <a:off x="1215339" y="1857423"/>
            <a:ext cx="9763000" cy="4458091"/>
            <a:chOff x="1215339" y="549274"/>
            <a:chExt cx="9763000" cy="5759450"/>
          </a:xfrm>
        </p:grpSpPr>
        <p:sp>
          <p:nvSpPr>
            <p:cNvPr id="657" name="Google Shape;657;p132"/>
            <p:cNvSpPr/>
            <p:nvPr/>
          </p:nvSpPr>
          <p:spPr>
            <a:xfrm>
              <a:off x="6900339" y="549274"/>
              <a:ext cx="288000" cy="5759450"/>
            </a:xfrm>
            <a:prstGeom prst="rect">
              <a:avLst/>
            </a:prstGeom>
            <a:solidFill>
              <a:srgbClr val="9EB5FA">
                <a:alpha val="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658" name="Google Shape;658;p132"/>
            <p:cNvSpPr/>
            <p:nvPr/>
          </p:nvSpPr>
          <p:spPr>
            <a:xfrm>
              <a:off x="8795339" y="549274"/>
              <a:ext cx="288000" cy="5759450"/>
            </a:xfrm>
            <a:prstGeom prst="rect">
              <a:avLst/>
            </a:prstGeom>
            <a:solidFill>
              <a:srgbClr val="9EB5FA">
                <a:alpha val="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659" name="Google Shape;659;p132"/>
            <p:cNvSpPr/>
            <p:nvPr/>
          </p:nvSpPr>
          <p:spPr>
            <a:xfrm>
              <a:off x="7847839" y="549274"/>
              <a:ext cx="288000" cy="5759450"/>
            </a:xfrm>
            <a:prstGeom prst="rect">
              <a:avLst/>
            </a:prstGeom>
            <a:solidFill>
              <a:srgbClr val="9EB5FA">
                <a:alpha val="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660" name="Google Shape;660;p132"/>
            <p:cNvSpPr/>
            <p:nvPr/>
          </p:nvSpPr>
          <p:spPr>
            <a:xfrm>
              <a:off x="9742839" y="549274"/>
              <a:ext cx="288000" cy="5759450"/>
            </a:xfrm>
            <a:prstGeom prst="rect">
              <a:avLst/>
            </a:prstGeom>
            <a:solidFill>
              <a:srgbClr val="9EB5FA">
                <a:alpha val="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661" name="Google Shape;661;p132"/>
            <p:cNvSpPr/>
            <p:nvPr/>
          </p:nvSpPr>
          <p:spPr>
            <a:xfrm>
              <a:off x="10690339" y="549274"/>
              <a:ext cx="288000" cy="5759450"/>
            </a:xfrm>
            <a:prstGeom prst="rect">
              <a:avLst/>
            </a:prstGeom>
            <a:solidFill>
              <a:srgbClr val="9EB5FA">
                <a:alpha val="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662" name="Google Shape;662;p132"/>
            <p:cNvSpPr/>
            <p:nvPr/>
          </p:nvSpPr>
          <p:spPr>
            <a:xfrm>
              <a:off x="5952839" y="549274"/>
              <a:ext cx="288000" cy="5759450"/>
            </a:xfrm>
            <a:prstGeom prst="rect">
              <a:avLst/>
            </a:prstGeom>
            <a:solidFill>
              <a:srgbClr val="9EB5FA">
                <a:alpha val="2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663" name="Google Shape;663;p132"/>
            <p:cNvSpPr/>
            <p:nvPr/>
          </p:nvSpPr>
          <p:spPr>
            <a:xfrm>
              <a:off x="1215339" y="549274"/>
              <a:ext cx="288000" cy="5759450"/>
            </a:xfrm>
            <a:prstGeom prst="rect">
              <a:avLst/>
            </a:prstGeom>
            <a:solidFill>
              <a:srgbClr val="9EB5FA">
                <a:alpha val="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664" name="Google Shape;664;p132"/>
            <p:cNvSpPr/>
            <p:nvPr/>
          </p:nvSpPr>
          <p:spPr>
            <a:xfrm>
              <a:off x="2162839" y="549274"/>
              <a:ext cx="288000" cy="5759450"/>
            </a:xfrm>
            <a:prstGeom prst="rect">
              <a:avLst/>
            </a:prstGeom>
            <a:solidFill>
              <a:srgbClr val="9EB5FA">
                <a:alpha val="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665" name="Google Shape;665;p132"/>
            <p:cNvSpPr/>
            <p:nvPr/>
          </p:nvSpPr>
          <p:spPr>
            <a:xfrm>
              <a:off x="3110339" y="549274"/>
              <a:ext cx="288000" cy="5759450"/>
            </a:xfrm>
            <a:prstGeom prst="rect">
              <a:avLst/>
            </a:prstGeom>
            <a:solidFill>
              <a:srgbClr val="9EB5FA">
                <a:alpha val="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666" name="Google Shape;666;p132"/>
            <p:cNvSpPr/>
            <p:nvPr/>
          </p:nvSpPr>
          <p:spPr>
            <a:xfrm>
              <a:off x="4057839" y="549274"/>
              <a:ext cx="288000" cy="5759450"/>
            </a:xfrm>
            <a:prstGeom prst="rect">
              <a:avLst/>
            </a:prstGeom>
            <a:solidFill>
              <a:srgbClr val="9EB5FA">
                <a:alpha val="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667" name="Google Shape;667;p132"/>
            <p:cNvSpPr/>
            <p:nvPr/>
          </p:nvSpPr>
          <p:spPr>
            <a:xfrm>
              <a:off x="5005339" y="549274"/>
              <a:ext cx="288000" cy="5759450"/>
            </a:xfrm>
            <a:prstGeom prst="rect">
              <a:avLst/>
            </a:prstGeom>
            <a:solidFill>
              <a:srgbClr val="9EB5FA">
                <a:alpha val="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grpSp>
      <p:sp>
        <p:nvSpPr>
          <p:cNvPr id="668" name="Google Shape;668;p132"/>
          <p:cNvSpPr txBox="1"/>
          <p:nvPr/>
        </p:nvSpPr>
        <p:spPr>
          <a:xfrm>
            <a:off x="550862" y="6309543"/>
            <a:ext cx="9030915" cy="277705"/>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7F7F7F"/>
              </a:buClr>
              <a:buSzPts val="1000"/>
              <a:buFont typeface="Arial"/>
              <a:buNone/>
            </a:pPr>
            <a:r>
              <a:rPr lang="en-US" sz="1000" b="0" i="0" u="none" strike="noStrike" cap="none">
                <a:solidFill>
                  <a:srgbClr val="7F7F7F"/>
                </a:solidFill>
                <a:latin typeface="Calibri"/>
                <a:ea typeface="Calibri"/>
                <a:cs typeface="Calibri"/>
                <a:sym typeface="Calibri"/>
              </a:rPr>
              <a:t>Footnotes/Notes</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0"/>
              </a:spcBef>
              <a:spcAft>
                <a:spcPts val="0"/>
              </a:spcAft>
              <a:buClr>
                <a:srgbClr val="7F7F7F"/>
              </a:buClr>
              <a:buSzPts val="1000"/>
              <a:buFont typeface="Arial"/>
              <a:buNone/>
            </a:pPr>
            <a:r>
              <a:rPr lang="en-US" sz="1000" b="0" i="0" u="none" strike="noStrike" cap="none">
                <a:solidFill>
                  <a:srgbClr val="7F7F7F"/>
                </a:solidFill>
                <a:latin typeface="Calibri"/>
                <a:ea typeface="Calibri"/>
                <a:cs typeface="Calibri"/>
                <a:sym typeface="Calibri"/>
              </a:rPr>
              <a:t>Source: Include a source here</a:t>
            </a:r>
            <a:endParaRPr sz="1400" b="0" i="0" u="none" strike="noStrike" cap="none">
              <a:solidFill>
                <a:srgbClr val="000000"/>
              </a:solidFill>
              <a:latin typeface="Arial"/>
              <a:ea typeface="Arial"/>
              <a:cs typeface="Arial"/>
              <a:sym typeface="Arial"/>
            </a:endParaRPr>
          </a:p>
        </p:txBody>
      </p:sp>
      <p:sp>
        <p:nvSpPr>
          <p:cNvPr id="669" name="Google Shape;669;p132"/>
          <p:cNvSpPr txBox="1">
            <a:spLocks noGrp="1"/>
          </p:cNvSpPr>
          <p:nvPr>
            <p:ph type="sldNum" idx="12"/>
          </p:nvPr>
        </p:nvSpPr>
        <p:spPr>
          <a:xfrm>
            <a:off x="11490153" y="6450225"/>
            <a:ext cx="150682" cy="153888"/>
          </a:xfrm>
          <a:prstGeom prst="rect">
            <a:avLst/>
          </a:prstGeom>
          <a:noFill/>
          <a:ln>
            <a:noFill/>
          </a:ln>
        </p:spPr>
        <p:txBody>
          <a:bodyPr spcFirstLastPara="1" wrap="square" lIns="0" tIns="0" rIns="0" bIns="0" anchor="b" anchorCtr="0">
            <a:sp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670" name="Google Shape;670;p132"/>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71" name="Google Shape;671;p132"/>
          <p:cNvGrpSpPr/>
          <p:nvPr/>
        </p:nvGrpSpPr>
        <p:grpSpPr>
          <a:xfrm>
            <a:off x="550864" y="6156603"/>
            <a:ext cx="11089971" cy="55199"/>
            <a:chOff x="550864" y="6156603"/>
            <a:chExt cx="11089971" cy="55199"/>
          </a:xfrm>
        </p:grpSpPr>
        <p:sp>
          <p:nvSpPr>
            <p:cNvPr id="672" name="Google Shape;672;p132"/>
            <p:cNvSpPr/>
            <p:nvPr/>
          </p:nvSpPr>
          <p:spPr>
            <a:xfrm>
              <a:off x="550864" y="6156603"/>
              <a:ext cx="1983600" cy="55199"/>
            </a:xfrm>
            <a:prstGeom prst="rect">
              <a:avLst/>
            </a:prstGeom>
            <a:solidFill>
              <a:srgbClr val="9EB5FA">
                <a:alpha val="2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dk1"/>
                </a:solidFill>
                <a:latin typeface="Calibri"/>
                <a:ea typeface="Calibri"/>
                <a:cs typeface="Calibri"/>
                <a:sym typeface="Calibri"/>
              </a:endParaRPr>
            </a:p>
          </p:txBody>
        </p:sp>
        <p:sp>
          <p:nvSpPr>
            <p:cNvPr id="673" name="Google Shape;673;p132"/>
            <p:cNvSpPr/>
            <p:nvPr/>
          </p:nvSpPr>
          <p:spPr>
            <a:xfrm>
              <a:off x="5104050" y="6156603"/>
              <a:ext cx="1983600" cy="55199"/>
            </a:xfrm>
            <a:prstGeom prst="rect">
              <a:avLst/>
            </a:prstGeom>
            <a:solidFill>
              <a:srgbClr val="9EB5FA">
                <a:alpha val="2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dk1"/>
                </a:solidFill>
                <a:latin typeface="Calibri"/>
                <a:ea typeface="Calibri"/>
                <a:cs typeface="Calibri"/>
                <a:sym typeface="Calibri"/>
              </a:endParaRPr>
            </a:p>
          </p:txBody>
        </p:sp>
        <p:sp>
          <p:nvSpPr>
            <p:cNvPr id="674" name="Google Shape;674;p132"/>
            <p:cNvSpPr/>
            <p:nvPr/>
          </p:nvSpPr>
          <p:spPr>
            <a:xfrm>
              <a:off x="7380643" y="6156603"/>
              <a:ext cx="1983600" cy="55199"/>
            </a:xfrm>
            <a:prstGeom prst="rect">
              <a:avLst/>
            </a:prstGeom>
            <a:solidFill>
              <a:srgbClr val="9EB5FA">
                <a:alpha val="2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dk1"/>
                </a:solidFill>
                <a:latin typeface="Calibri"/>
                <a:ea typeface="Calibri"/>
                <a:cs typeface="Calibri"/>
                <a:sym typeface="Calibri"/>
              </a:endParaRPr>
            </a:p>
          </p:txBody>
        </p:sp>
        <p:sp>
          <p:nvSpPr>
            <p:cNvPr id="675" name="Google Shape;675;p132"/>
            <p:cNvSpPr/>
            <p:nvPr/>
          </p:nvSpPr>
          <p:spPr>
            <a:xfrm>
              <a:off x="9657235" y="6156603"/>
              <a:ext cx="1983600" cy="55199"/>
            </a:xfrm>
            <a:prstGeom prst="rect">
              <a:avLst/>
            </a:prstGeom>
            <a:solidFill>
              <a:srgbClr val="9EB5FA">
                <a:alpha val="2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dk1"/>
                </a:solidFill>
                <a:latin typeface="Calibri"/>
                <a:ea typeface="Calibri"/>
                <a:cs typeface="Calibri"/>
                <a:sym typeface="Calibri"/>
              </a:endParaRPr>
            </a:p>
          </p:txBody>
        </p:sp>
        <p:sp>
          <p:nvSpPr>
            <p:cNvPr id="676" name="Google Shape;676;p132"/>
            <p:cNvSpPr/>
            <p:nvPr/>
          </p:nvSpPr>
          <p:spPr>
            <a:xfrm>
              <a:off x="2827457" y="6156603"/>
              <a:ext cx="1983600" cy="55199"/>
            </a:xfrm>
            <a:prstGeom prst="rect">
              <a:avLst/>
            </a:prstGeom>
            <a:solidFill>
              <a:srgbClr val="9EB5FA">
                <a:alpha val="2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dk1"/>
                </a:solidFill>
                <a:latin typeface="Calibri"/>
                <a:ea typeface="Calibri"/>
                <a:cs typeface="Calibri"/>
                <a:sym typeface="Calibri"/>
              </a:endParaRPr>
            </a:p>
          </p:txBody>
        </p:sp>
      </p:gr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5_Full-width Page">
  <p:cSld name="5_Full-width Page">
    <p:spTree>
      <p:nvGrpSpPr>
        <p:cNvPr id="1" name="Shape 677"/>
        <p:cNvGrpSpPr/>
        <p:nvPr/>
      </p:nvGrpSpPr>
      <p:grpSpPr>
        <a:xfrm>
          <a:off x="0" y="0"/>
          <a:ext cx="0" cy="0"/>
          <a:chOff x="0" y="0"/>
          <a:chExt cx="0" cy="0"/>
        </a:xfrm>
      </p:grpSpPr>
      <p:pic>
        <p:nvPicPr>
          <p:cNvPr id="678" name="Google Shape;678;p133"/>
          <p:cNvPicPr preferRelativeResize="0"/>
          <p:nvPr/>
        </p:nvPicPr>
        <p:blipFill rotWithShape="1">
          <a:blip r:embed="rId2">
            <a:alphaModFix/>
          </a:blip>
          <a:srcRect/>
          <a:stretch/>
        </p:blipFill>
        <p:spPr>
          <a:xfrm>
            <a:off x="2" y="0"/>
            <a:ext cx="3492498" cy="6858000"/>
          </a:xfrm>
          <a:prstGeom prst="rect">
            <a:avLst/>
          </a:prstGeom>
          <a:noFill/>
          <a:ln>
            <a:noFill/>
          </a:ln>
        </p:spPr>
      </p:pic>
      <p:sp>
        <p:nvSpPr>
          <p:cNvPr id="679" name="Google Shape;679;p133"/>
          <p:cNvSpPr/>
          <p:nvPr/>
        </p:nvSpPr>
        <p:spPr>
          <a:xfrm>
            <a:off x="0" y="-1"/>
            <a:ext cx="3492497" cy="6857999"/>
          </a:xfrm>
          <a:prstGeom prst="rect">
            <a:avLst/>
          </a:prstGeom>
          <a:gradFill>
            <a:gsLst>
              <a:gs pos="0">
                <a:schemeClr val="dk2"/>
              </a:gs>
              <a:gs pos="76000">
                <a:srgbClr val="4873F5">
                  <a:alpha val="83137"/>
                </a:srgbClr>
              </a:gs>
              <a:gs pos="100000">
                <a:srgbClr val="00B9FF">
                  <a:alpha val="80000"/>
                </a:srgbClr>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80" name="Google Shape;680;p133"/>
          <p:cNvSpPr txBox="1">
            <a:spLocks noGrp="1"/>
          </p:cNvSpPr>
          <p:nvPr>
            <p:ph type="title"/>
          </p:nvPr>
        </p:nvSpPr>
        <p:spPr>
          <a:xfrm>
            <a:off x="376385" y="410423"/>
            <a:ext cx="3023598" cy="830997"/>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681" name="Google Shape;681;p133"/>
          <p:cNvCxnSpPr/>
          <p:nvPr/>
        </p:nvCxnSpPr>
        <p:spPr>
          <a:xfrm>
            <a:off x="362847" y="361101"/>
            <a:ext cx="540000" cy="0"/>
          </a:xfrm>
          <a:prstGeom prst="straightConnector1">
            <a:avLst/>
          </a:prstGeom>
          <a:noFill/>
          <a:ln w="38100" cap="flat" cmpd="sng">
            <a:solidFill>
              <a:schemeClr val="lt1"/>
            </a:solidFill>
            <a:prstDash val="solid"/>
            <a:miter lim="800000"/>
            <a:headEnd type="none" w="sm" len="sm"/>
            <a:tailEnd type="none" w="sm" len="sm"/>
          </a:ln>
        </p:spPr>
      </p:cxn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matchingName="1_Title only (with background)">
  <p:cSld name="1_Title only (with background)">
    <p:bg>
      <p:bgPr>
        <a:solidFill>
          <a:schemeClr val="lt2"/>
        </a:solidFill>
        <a:effectLst/>
      </p:bgPr>
    </p:bg>
    <p:spTree>
      <p:nvGrpSpPr>
        <p:cNvPr id="1" name="Shape 706"/>
        <p:cNvGrpSpPr/>
        <p:nvPr/>
      </p:nvGrpSpPr>
      <p:grpSpPr>
        <a:xfrm>
          <a:off x="0" y="0"/>
          <a:ext cx="0" cy="0"/>
          <a:chOff x="0" y="0"/>
          <a:chExt cx="0" cy="0"/>
        </a:xfrm>
      </p:grpSpPr>
      <p:sp>
        <p:nvSpPr>
          <p:cNvPr id="707" name="Google Shape;707;p83"/>
          <p:cNvSpPr txBox="1">
            <a:spLocks noGrp="1"/>
          </p:cNvSpPr>
          <p:nvPr>
            <p:ph type="ftr" idx="11"/>
          </p:nvPr>
        </p:nvSpPr>
        <p:spPr>
          <a:xfrm>
            <a:off x="550863" y="6465614"/>
            <a:ext cx="488916"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8" name="Google Shape;708;p83"/>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grpSp>
        <p:nvGrpSpPr>
          <p:cNvPr id="709" name="Google Shape;709;p83"/>
          <p:cNvGrpSpPr/>
          <p:nvPr/>
        </p:nvGrpSpPr>
        <p:grpSpPr>
          <a:xfrm>
            <a:off x="11979441" y="4535495"/>
            <a:ext cx="110800" cy="2041948"/>
            <a:chOff x="11979441" y="4535495"/>
            <a:chExt cx="110800" cy="2041948"/>
          </a:xfrm>
        </p:grpSpPr>
        <p:grpSp>
          <p:nvGrpSpPr>
            <p:cNvPr id="710" name="Google Shape;710;p83"/>
            <p:cNvGrpSpPr/>
            <p:nvPr/>
          </p:nvGrpSpPr>
          <p:grpSpPr>
            <a:xfrm>
              <a:off x="11998460" y="6135518"/>
              <a:ext cx="68500" cy="441925"/>
              <a:chOff x="11998459" y="6162188"/>
              <a:chExt cx="68500" cy="441925"/>
            </a:xfrm>
          </p:grpSpPr>
          <p:sp>
            <p:nvSpPr>
              <p:cNvPr id="711" name="Google Shape;711;p83"/>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12" name="Google Shape;712;p83"/>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13" name="Google Shape;713;p83"/>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14" name="Google Shape;714;p83"/>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15" name="Google Shape;715;p83"/>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16" name="Google Shape;716;p83"/>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17" name="Google Shape;717;p83"/>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18" name="Google Shape;718;p83"/>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19" name="Google Shape;719;p83"/>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20" name="Google Shape;720;p83"/>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21" name="Google Shape;721;p83"/>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22" name="Google Shape;722;p83"/>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23" name="Google Shape;723;p83"/>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grpSp>
        <p:pic>
          <p:nvPicPr>
            <p:cNvPr id="724" name="Google Shape;724;p83"/>
            <p:cNvPicPr preferRelativeResize="0"/>
            <p:nvPr/>
          </p:nvPicPr>
          <p:blipFill rotWithShape="1">
            <a:blip r:embed="rId2">
              <a:alphaModFix/>
            </a:blip>
            <a:srcRect/>
            <a:stretch/>
          </p:blipFill>
          <p:spPr>
            <a:xfrm rot="-5400000">
              <a:off x="11811888" y="6322371"/>
              <a:ext cx="441438" cy="68706"/>
            </a:xfrm>
            <a:prstGeom prst="rect">
              <a:avLst/>
            </a:prstGeom>
            <a:noFill/>
            <a:ln>
              <a:noFill/>
            </a:ln>
          </p:spPr>
        </p:pic>
        <p:sp>
          <p:nvSpPr>
            <p:cNvPr id="725" name="Google Shape;725;p83"/>
            <p:cNvSpPr txBox="1"/>
            <p:nvPr/>
          </p:nvSpPr>
          <p:spPr>
            <a:xfrm rot="-5400000">
              <a:off x="11250972" y="526396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rgbClr val="B4B4B4"/>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grpSp>
      <p:sp>
        <p:nvSpPr>
          <p:cNvPr id="726" name="Google Shape;726;p83"/>
          <p:cNvSpPr txBox="1"/>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Clr>
                <a:srgbClr val="000000"/>
              </a:buClr>
              <a:buSzPts val="1000"/>
              <a:buFont typeface="Arial"/>
              <a:buNone/>
            </a:pPr>
            <a:fld id="{00000000-1234-1234-1234-123412341234}" type="slidenum">
              <a:rPr lang="en-US" sz="1000" b="0" i="0" u="none" strike="noStrike" cap="none">
                <a:solidFill>
                  <a:srgbClr val="7F7F7F"/>
                </a:solidFill>
                <a:latin typeface="Calibri"/>
                <a:ea typeface="Calibri"/>
                <a:cs typeface="Calibri"/>
                <a:sym typeface="Calibri"/>
              </a:rPr>
              <a:t>‹#›</a:t>
            </a:fld>
            <a:endParaRPr sz="1000" b="0" i="0" u="none" strike="noStrike" cap="none">
              <a:solidFill>
                <a:srgbClr val="7F7F7F"/>
              </a:solidFill>
              <a:latin typeface="Calibri"/>
              <a:ea typeface="Calibri"/>
              <a:cs typeface="Calibri"/>
              <a:sym typeface="Calibri"/>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matchingName="Title Slide (Option 1)" type="title">
  <p:cSld name="TITLE">
    <p:spTree>
      <p:nvGrpSpPr>
        <p:cNvPr id="1" name="Shape 727"/>
        <p:cNvGrpSpPr/>
        <p:nvPr/>
      </p:nvGrpSpPr>
      <p:grpSpPr>
        <a:xfrm>
          <a:off x="0" y="0"/>
          <a:ext cx="0" cy="0"/>
          <a:chOff x="0" y="0"/>
          <a:chExt cx="0" cy="0"/>
        </a:xfrm>
      </p:grpSpPr>
      <p:sp>
        <p:nvSpPr>
          <p:cNvPr id="728" name="Google Shape;728;p84" descr="A large body of water with a city in the background&#10;&#10;Description automatically generated"/>
          <p:cNvSpPr/>
          <p:nvPr/>
        </p:nvSpPr>
        <p:spPr>
          <a:xfrm>
            <a:off x="0" y="0"/>
            <a:ext cx="12192000" cy="6858000"/>
          </a:xfrm>
          <a:prstGeom prst="rect">
            <a:avLst/>
          </a:prstGeom>
          <a:solidFill>
            <a:srgbClr val="FFFFF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29" name="Google Shape;729;p84"/>
          <p:cNvSpPr/>
          <p:nvPr/>
        </p:nvSpPr>
        <p:spPr>
          <a:xfrm>
            <a:off x="536448" y="0"/>
            <a:ext cx="6363291" cy="1475219"/>
          </a:xfrm>
          <a:prstGeom prst="rect">
            <a:avLst/>
          </a:prstGeom>
          <a:gradFill>
            <a:gsLst>
              <a:gs pos="0">
                <a:srgbClr val="062379"/>
              </a:gs>
              <a:gs pos="45000">
                <a:srgbClr val="062379">
                  <a:alpha val="88235"/>
                </a:srgbClr>
              </a:gs>
              <a:gs pos="100000">
                <a:srgbClr val="0934B6">
                  <a:alpha val="80000"/>
                </a:srgbClr>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730" name="Google Shape;730;p84"/>
          <p:cNvSpPr/>
          <p:nvPr/>
        </p:nvSpPr>
        <p:spPr>
          <a:xfrm>
            <a:off x="536448" y="1844676"/>
            <a:ext cx="6363291" cy="5013324"/>
          </a:xfrm>
          <a:prstGeom prst="rect">
            <a:avLst/>
          </a:prstGeom>
          <a:gradFill>
            <a:gsLst>
              <a:gs pos="0">
                <a:srgbClr val="062379"/>
              </a:gs>
              <a:gs pos="26000">
                <a:srgbClr val="0934B6">
                  <a:alpha val="88235"/>
                </a:srgbClr>
              </a:gs>
              <a:gs pos="64000">
                <a:srgbClr val="036DFF">
                  <a:alpha val="80000"/>
                </a:srgbClr>
              </a:gs>
              <a:gs pos="100000">
                <a:srgbClr val="43E1D3">
                  <a:alpha val="88235"/>
                </a:srgbClr>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731" name="Google Shape;731;p84"/>
          <p:cNvSpPr txBox="1">
            <a:spLocks noGrp="1"/>
          </p:cNvSpPr>
          <p:nvPr>
            <p:ph type="ctrTitle"/>
          </p:nvPr>
        </p:nvSpPr>
        <p:spPr>
          <a:xfrm>
            <a:off x="902896" y="3051297"/>
            <a:ext cx="5478239" cy="1246495"/>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b="0" cap="none">
                <a:solidFill>
                  <a:schemeClr val="lt1"/>
                </a:solidFill>
                <a:latin typeface="Franklin Gothic"/>
                <a:ea typeface="Franklin Gothic"/>
                <a:cs typeface="Franklin Gothic"/>
                <a:sym typeface="Franklin Gothic"/>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2" name="Google Shape;732;p84"/>
          <p:cNvSpPr txBox="1">
            <a:spLocks noGrp="1"/>
          </p:cNvSpPr>
          <p:nvPr>
            <p:ph type="subTitle" idx="1"/>
          </p:nvPr>
        </p:nvSpPr>
        <p:spPr>
          <a:xfrm>
            <a:off x="902896" y="4348579"/>
            <a:ext cx="5478239"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733" name="Google Shape;733;p84"/>
          <p:cNvSpPr txBox="1">
            <a:spLocks noGrp="1"/>
          </p:cNvSpPr>
          <p:nvPr>
            <p:ph type="dt" idx="10"/>
          </p:nvPr>
        </p:nvSpPr>
        <p:spPr>
          <a:xfrm>
            <a:off x="902896" y="5923689"/>
            <a:ext cx="354392" cy="193899"/>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lt1"/>
                </a:solidFill>
                <a:latin typeface="Libre Franklin"/>
                <a:ea typeface="Libre Franklin"/>
                <a:cs typeface="Libre Franklin"/>
                <a:sym typeface="Libre Franklin"/>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pic>
        <p:nvPicPr>
          <p:cNvPr id="734" name="Google Shape;734;p84"/>
          <p:cNvPicPr preferRelativeResize="0"/>
          <p:nvPr/>
        </p:nvPicPr>
        <p:blipFill rotWithShape="1">
          <a:blip r:embed="rId2">
            <a:alphaModFix/>
          </a:blip>
          <a:srcRect/>
          <a:stretch/>
        </p:blipFill>
        <p:spPr>
          <a:xfrm>
            <a:off x="902896" y="450469"/>
            <a:ext cx="2497452" cy="574280"/>
          </a:xfrm>
          <a:prstGeom prst="rect">
            <a:avLst/>
          </a:prstGeom>
          <a:noFill/>
          <a:ln>
            <a:noFill/>
          </a:ln>
        </p:spPr>
      </p:pic>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matchingName="Title Slide (Option 2)">
  <p:cSld name="Title Slide (Option 2)">
    <p:spTree>
      <p:nvGrpSpPr>
        <p:cNvPr id="1" name="Shape 735"/>
        <p:cNvGrpSpPr/>
        <p:nvPr/>
      </p:nvGrpSpPr>
      <p:grpSpPr>
        <a:xfrm>
          <a:off x="0" y="0"/>
          <a:ext cx="0" cy="0"/>
          <a:chOff x="0" y="0"/>
          <a:chExt cx="0" cy="0"/>
        </a:xfrm>
      </p:grpSpPr>
      <p:sp>
        <p:nvSpPr>
          <p:cNvPr id="736" name="Google Shape;736;p85" descr="A large body of water with a city in the background&#10;&#10;Description automatically generated"/>
          <p:cNvSpPr/>
          <p:nvPr/>
        </p:nvSpPr>
        <p:spPr>
          <a:xfrm>
            <a:off x="269998" y="270000"/>
            <a:ext cx="11652001" cy="6318000"/>
          </a:xfrm>
          <a:prstGeom prst="rect">
            <a:avLst/>
          </a:prstGeom>
          <a:solidFill>
            <a:srgbClr val="FFFFF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37" name="Google Shape;737;p85"/>
          <p:cNvSpPr/>
          <p:nvPr/>
        </p:nvSpPr>
        <p:spPr>
          <a:xfrm>
            <a:off x="536448" y="540000"/>
            <a:ext cx="6363891" cy="6318000"/>
          </a:xfrm>
          <a:prstGeom prst="rect">
            <a:avLst/>
          </a:prstGeom>
          <a:gradFill>
            <a:gsLst>
              <a:gs pos="0">
                <a:srgbClr val="062379"/>
              </a:gs>
              <a:gs pos="26000">
                <a:srgbClr val="0934B6">
                  <a:alpha val="88235"/>
                </a:srgbClr>
              </a:gs>
              <a:gs pos="64000">
                <a:srgbClr val="036DFF">
                  <a:alpha val="80000"/>
                </a:srgbClr>
              </a:gs>
              <a:gs pos="100000">
                <a:srgbClr val="43E1D3">
                  <a:alpha val="88235"/>
                </a:srgbClr>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738" name="Google Shape;738;p85"/>
          <p:cNvSpPr txBox="1">
            <a:spLocks noGrp="1"/>
          </p:cNvSpPr>
          <p:nvPr>
            <p:ph type="ctrTitle"/>
          </p:nvPr>
        </p:nvSpPr>
        <p:spPr>
          <a:xfrm>
            <a:off x="902896" y="3066686"/>
            <a:ext cx="5337943" cy="1231106"/>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9" name="Google Shape;739;p85"/>
          <p:cNvSpPr txBox="1">
            <a:spLocks noGrp="1"/>
          </p:cNvSpPr>
          <p:nvPr>
            <p:ph type="subTitle" idx="1"/>
          </p:nvPr>
        </p:nvSpPr>
        <p:spPr>
          <a:xfrm>
            <a:off x="902896" y="4348579"/>
            <a:ext cx="5337943"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740" name="Google Shape;740;p85"/>
          <p:cNvSpPr txBox="1">
            <a:spLocks noGrp="1"/>
          </p:cNvSpPr>
          <p:nvPr>
            <p:ph type="dt" idx="10"/>
          </p:nvPr>
        </p:nvSpPr>
        <p:spPr>
          <a:xfrm>
            <a:off x="902896" y="5923689"/>
            <a:ext cx="354392" cy="193899"/>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lt1"/>
                </a:solidFill>
                <a:latin typeface="Libre Franklin"/>
                <a:ea typeface="Libre Franklin"/>
                <a:cs typeface="Libre Franklin"/>
                <a:sym typeface="Libre Franklin"/>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pic>
        <p:nvPicPr>
          <p:cNvPr id="741" name="Google Shape;741;p85"/>
          <p:cNvPicPr preferRelativeResize="0"/>
          <p:nvPr/>
        </p:nvPicPr>
        <p:blipFill rotWithShape="1">
          <a:blip r:embed="rId2">
            <a:alphaModFix/>
          </a:blip>
          <a:srcRect/>
          <a:stretch/>
        </p:blipFill>
        <p:spPr>
          <a:xfrm>
            <a:off x="902896" y="901732"/>
            <a:ext cx="2497452" cy="574280"/>
          </a:xfrm>
          <a:prstGeom prst="rect">
            <a:avLst/>
          </a:prstGeom>
          <a:noFill/>
          <a:ln>
            <a:noFill/>
          </a:ln>
        </p:spPr>
      </p:pic>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matchingName="Title Slide (Option 3)">
  <p:cSld name="Title Slide (Option 3)">
    <p:spTree>
      <p:nvGrpSpPr>
        <p:cNvPr id="1" name="Shape 742"/>
        <p:cNvGrpSpPr/>
        <p:nvPr/>
      </p:nvGrpSpPr>
      <p:grpSpPr>
        <a:xfrm>
          <a:off x="0" y="0"/>
          <a:ext cx="0" cy="0"/>
          <a:chOff x="0" y="0"/>
          <a:chExt cx="0" cy="0"/>
        </a:xfrm>
      </p:grpSpPr>
      <p:sp>
        <p:nvSpPr>
          <p:cNvPr id="743" name="Google Shape;743;p86" descr="A large body of water with a city in the background&#10;&#10;Description automatically generated"/>
          <p:cNvSpPr/>
          <p:nvPr/>
        </p:nvSpPr>
        <p:spPr>
          <a:xfrm>
            <a:off x="550861" y="549274"/>
            <a:ext cx="11090276" cy="5759451"/>
          </a:xfrm>
          <a:prstGeom prst="rect">
            <a:avLst/>
          </a:prstGeom>
          <a:solidFill>
            <a:srgbClr val="FFFFF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44" name="Google Shape;744;p86"/>
          <p:cNvSpPr/>
          <p:nvPr/>
        </p:nvSpPr>
        <p:spPr>
          <a:xfrm>
            <a:off x="1083553" y="1080000"/>
            <a:ext cx="5816186" cy="5778000"/>
          </a:xfrm>
          <a:prstGeom prst="rect">
            <a:avLst/>
          </a:prstGeom>
          <a:gradFill>
            <a:gsLst>
              <a:gs pos="0">
                <a:srgbClr val="062379"/>
              </a:gs>
              <a:gs pos="26000">
                <a:srgbClr val="0934B6">
                  <a:alpha val="88235"/>
                </a:srgbClr>
              </a:gs>
              <a:gs pos="64000">
                <a:srgbClr val="036DFF">
                  <a:alpha val="80000"/>
                </a:srgbClr>
              </a:gs>
              <a:gs pos="100000">
                <a:srgbClr val="43E1D3">
                  <a:alpha val="88235"/>
                </a:srgbClr>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pic>
        <p:nvPicPr>
          <p:cNvPr id="745" name="Google Shape;745;p86"/>
          <p:cNvPicPr preferRelativeResize="0"/>
          <p:nvPr/>
        </p:nvPicPr>
        <p:blipFill rotWithShape="1">
          <a:blip r:embed="rId2">
            <a:alphaModFix/>
          </a:blip>
          <a:srcRect/>
          <a:stretch/>
        </p:blipFill>
        <p:spPr>
          <a:xfrm>
            <a:off x="1631950" y="1603956"/>
            <a:ext cx="2497452" cy="574280"/>
          </a:xfrm>
          <a:prstGeom prst="rect">
            <a:avLst/>
          </a:prstGeom>
          <a:noFill/>
          <a:ln>
            <a:noFill/>
          </a:ln>
        </p:spPr>
      </p:pic>
      <p:sp>
        <p:nvSpPr>
          <p:cNvPr id="746" name="Google Shape;746;p86"/>
          <p:cNvSpPr txBox="1">
            <a:spLocks noGrp="1"/>
          </p:cNvSpPr>
          <p:nvPr>
            <p:ph type="dt" idx="10"/>
          </p:nvPr>
        </p:nvSpPr>
        <p:spPr>
          <a:xfrm>
            <a:off x="1631950" y="5778000"/>
            <a:ext cx="354392" cy="193899"/>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lt1"/>
                </a:solidFill>
                <a:latin typeface="Libre Franklin"/>
                <a:ea typeface="Libre Franklin"/>
                <a:cs typeface="Libre Franklin"/>
                <a:sym typeface="Libre Franklin"/>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747" name="Google Shape;747;p86"/>
          <p:cNvSpPr txBox="1">
            <a:spLocks noGrp="1"/>
          </p:cNvSpPr>
          <p:nvPr>
            <p:ph type="ctrTitle"/>
          </p:nvPr>
        </p:nvSpPr>
        <p:spPr>
          <a:xfrm>
            <a:off x="1631951" y="3610939"/>
            <a:ext cx="4799330" cy="1231106"/>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8" name="Google Shape;748;p86"/>
          <p:cNvSpPr txBox="1">
            <a:spLocks noGrp="1"/>
          </p:cNvSpPr>
          <p:nvPr>
            <p:ph type="subTitle" idx="1"/>
          </p:nvPr>
        </p:nvSpPr>
        <p:spPr>
          <a:xfrm>
            <a:off x="1631951" y="4892832"/>
            <a:ext cx="4799330"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matchingName="Title Slide (Option 4)">
  <p:cSld name="Title Slide (Option 4)">
    <p:spTree>
      <p:nvGrpSpPr>
        <p:cNvPr id="1" name="Shape 749"/>
        <p:cNvGrpSpPr/>
        <p:nvPr/>
      </p:nvGrpSpPr>
      <p:grpSpPr>
        <a:xfrm>
          <a:off x="0" y="0"/>
          <a:ext cx="0" cy="0"/>
          <a:chOff x="0" y="0"/>
          <a:chExt cx="0" cy="0"/>
        </a:xfrm>
      </p:grpSpPr>
      <p:sp>
        <p:nvSpPr>
          <p:cNvPr id="750" name="Google Shape;750;p87" descr="A large body of water with a city in the background&#10;&#10;Description automatically generated"/>
          <p:cNvSpPr/>
          <p:nvPr/>
        </p:nvSpPr>
        <p:spPr>
          <a:xfrm>
            <a:off x="0" y="1522048"/>
            <a:ext cx="12192000" cy="5335952"/>
          </a:xfrm>
          <a:prstGeom prst="rect">
            <a:avLst/>
          </a:prstGeom>
          <a:solidFill>
            <a:srgbClr val="FFFFF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51" name="Google Shape;751;p87"/>
          <p:cNvSpPr/>
          <p:nvPr/>
        </p:nvSpPr>
        <p:spPr>
          <a:xfrm>
            <a:off x="536448" y="0"/>
            <a:ext cx="6363291" cy="6308726"/>
          </a:xfrm>
          <a:prstGeom prst="rect">
            <a:avLst/>
          </a:prstGeom>
          <a:gradFill>
            <a:gsLst>
              <a:gs pos="0">
                <a:srgbClr val="062379"/>
              </a:gs>
              <a:gs pos="39000">
                <a:srgbClr val="0934B6">
                  <a:alpha val="93333"/>
                </a:srgbClr>
              </a:gs>
              <a:gs pos="74000">
                <a:srgbClr val="036DFF">
                  <a:alpha val="80000"/>
                </a:srgbClr>
              </a:gs>
              <a:gs pos="100000">
                <a:srgbClr val="43E1D3">
                  <a:alpha val="88235"/>
                </a:srgbClr>
              </a:gs>
            </a:gsLst>
            <a:lin ang="36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752" name="Google Shape;752;p87"/>
          <p:cNvSpPr txBox="1">
            <a:spLocks noGrp="1"/>
          </p:cNvSpPr>
          <p:nvPr>
            <p:ph type="ctrTitle"/>
          </p:nvPr>
        </p:nvSpPr>
        <p:spPr>
          <a:xfrm>
            <a:off x="902896" y="3066686"/>
            <a:ext cx="5478239" cy="1231106"/>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3" name="Google Shape;753;p87"/>
          <p:cNvSpPr txBox="1">
            <a:spLocks noGrp="1"/>
          </p:cNvSpPr>
          <p:nvPr>
            <p:ph type="subTitle" idx="1"/>
          </p:nvPr>
        </p:nvSpPr>
        <p:spPr>
          <a:xfrm>
            <a:off x="902896" y="4348579"/>
            <a:ext cx="5478239"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754" name="Google Shape;754;p87"/>
          <p:cNvSpPr txBox="1">
            <a:spLocks noGrp="1"/>
          </p:cNvSpPr>
          <p:nvPr>
            <p:ph type="dt" idx="10"/>
          </p:nvPr>
        </p:nvSpPr>
        <p:spPr>
          <a:xfrm>
            <a:off x="902896" y="5842430"/>
            <a:ext cx="354392" cy="193899"/>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lt1"/>
                </a:solidFill>
                <a:latin typeface="Libre Franklin"/>
                <a:ea typeface="Libre Franklin"/>
                <a:cs typeface="Libre Franklin"/>
                <a:sym typeface="Libre Franklin"/>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pic>
        <p:nvPicPr>
          <p:cNvPr id="755" name="Google Shape;755;p87"/>
          <p:cNvPicPr preferRelativeResize="0"/>
          <p:nvPr/>
        </p:nvPicPr>
        <p:blipFill rotWithShape="1">
          <a:blip r:embed="rId2">
            <a:alphaModFix/>
          </a:blip>
          <a:srcRect/>
          <a:stretch/>
        </p:blipFill>
        <p:spPr>
          <a:xfrm>
            <a:off x="1064010" y="450470"/>
            <a:ext cx="2705350" cy="622086"/>
          </a:xfrm>
          <a:prstGeom prst="rect">
            <a:avLst/>
          </a:prstGeom>
          <a:noFill/>
          <a:ln>
            <a:noFill/>
          </a:ln>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only (with background)">
  <p:cSld name="Title only (with background)">
    <p:bg>
      <p:bgPr>
        <a:solidFill>
          <a:schemeClr val="lt2"/>
        </a:solidFill>
        <a:effectLst/>
      </p:bgPr>
    </p:bg>
    <p:spTree>
      <p:nvGrpSpPr>
        <p:cNvPr id="1" name="Shape 88"/>
        <p:cNvGrpSpPr/>
        <p:nvPr/>
      </p:nvGrpSpPr>
      <p:grpSpPr>
        <a:xfrm>
          <a:off x="0" y="0"/>
          <a:ext cx="0" cy="0"/>
          <a:chOff x="0" y="0"/>
          <a:chExt cx="0" cy="0"/>
        </a:xfrm>
      </p:grpSpPr>
      <p:sp>
        <p:nvSpPr>
          <p:cNvPr id="89" name="Google Shape;89;p49"/>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 name="Google Shape;90;p49"/>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91" name="Google Shape;91;p49"/>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Title+Subtitle">
  <p:cSld name="Title+Subtitle">
    <p:spTree>
      <p:nvGrpSpPr>
        <p:cNvPr id="1" name="Shape 756"/>
        <p:cNvGrpSpPr/>
        <p:nvPr/>
      </p:nvGrpSpPr>
      <p:grpSpPr>
        <a:xfrm>
          <a:off x="0" y="0"/>
          <a:ext cx="0" cy="0"/>
          <a:chOff x="0" y="0"/>
          <a:chExt cx="0" cy="0"/>
        </a:xfrm>
      </p:grpSpPr>
      <p:sp>
        <p:nvSpPr>
          <p:cNvPr id="757" name="Google Shape;757;p88"/>
          <p:cNvSpPr txBox="1">
            <a:spLocks noGrp="1"/>
          </p:cNvSpPr>
          <p:nvPr>
            <p:ph type="title"/>
          </p:nvPr>
        </p:nvSpPr>
        <p:spPr>
          <a:xfrm>
            <a:off x="53181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atin typeface="Franklin Gothic"/>
                <a:ea typeface="Franklin Gothic"/>
                <a:cs typeface="Franklin Gothic"/>
                <a:sym typeface="Franklin Gothic"/>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8" name="Google Shape;758;p88"/>
          <p:cNvSpPr txBox="1">
            <a:spLocks noGrp="1"/>
          </p:cNvSpPr>
          <p:nvPr>
            <p:ph type="body" idx="1"/>
          </p:nvPr>
        </p:nvSpPr>
        <p:spPr>
          <a:xfrm>
            <a:off x="531813" y="1028324"/>
            <a:ext cx="11089972" cy="292388"/>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rgbClr val="6D90F8"/>
              </a:buClr>
              <a:buSzPts val="2000"/>
              <a:buNone/>
              <a:defRPr sz="2000">
                <a:solidFill>
                  <a:srgbClr val="6D90F8"/>
                </a:solidFill>
                <a:latin typeface="Libre Franklin"/>
                <a:ea typeface="Libre Franklin"/>
                <a:cs typeface="Libre Franklin"/>
                <a:sym typeface="Libre Franklin"/>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9" name="Google Shape;759;p88"/>
          <p:cNvSpPr txBox="1">
            <a:spLocks noGrp="1"/>
          </p:cNvSpPr>
          <p:nvPr>
            <p:ph type="ftr" idx="11"/>
          </p:nvPr>
        </p:nvSpPr>
        <p:spPr>
          <a:xfrm>
            <a:off x="550863" y="6465614"/>
            <a:ext cx="488916"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760"/>
        <p:cNvGrpSpPr/>
        <p:nvPr/>
      </p:nvGrpSpPr>
      <p:grpSpPr>
        <a:xfrm>
          <a:off x="0" y="0"/>
          <a:ext cx="0" cy="0"/>
          <a:chOff x="0" y="0"/>
          <a:chExt cx="0" cy="0"/>
        </a:xfrm>
      </p:grpSpPr>
      <p:sp>
        <p:nvSpPr>
          <p:cNvPr id="761" name="Google Shape;761;p89"/>
          <p:cNvSpPr txBox="1">
            <a:spLocks noGrp="1"/>
          </p:cNvSpPr>
          <p:nvPr>
            <p:ph type="title"/>
          </p:nvPr>
        </p:nvSpPr>
        <p:spPr>
          <a:xfrm>
            <a:off x="53181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2" name="Google Shape;762;p89"/>
          <p:cNvSpPr txBox="1">
            <a:spLocks noGrp="1"/>
          </p:cNvSpPr>
          <p:nvPr>
            <p:ph type="ftr" idx="11"/>
          </p:nvPr>
        </p:nvSpPr>
        <p:spPr>
          <a:xfrm>
            <a:off x="550863" y="6465614"/>
            <a:ext cx="488916"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itle only (with background)">
  <p:cSld name="Title only (with background)">
    <p:bg>
      <p:bgPr>
        <a:solidFill>
          <a:schemeClr val="lt2"/>
        </a:solidFill>
        <a:effectLst/>
      </p:bgPr>
    </p:bg>
    <p:spTree>
      <p:nvGrpSpPr>
        <p:cNvPr id="1" name="Shape 763"/>
        <p:cNvGrpSpPr/>
        <p:nvPr/>
      </p:nvGrpSpPr>
      <p:grpSpPr>
        <a:xfrm>
          <a:off x="0" y="0"/>
          <a:ext cx="0" cy="0"/>
          <a:chOff x="0" y="0"/>
          <a:chExt cx="0" cy="0"/>
        </a:xfrm>
      </p:grpSpPr>
      <p:sp>
        <p:nvSpPr>
          <p:cNvPr id="764" name="Google Shape;764;p90"/>
          <p:cNvSpPr txBox="1">
            <a:spLocks noGrp="1"/>
          </p:cNvSpPr>
          <p:nvPr>
            <p:ph type="title"/>
          </p:nvPr>
        </p:nvSpPr>
        <p:spPr>
          <a:xfrm>
            <a:off x="53181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5" name="Google Shape;765;p90"/>
          <p:cNvSpPr txBox="1">
            <a:spLocks noGrp="1"/>
          </p:cNvSpPr>
          <p:nvPr>
            <p:ph type="ftr" idx="11"/>
          </p:nvPr>
        </p:nvSpPr>
        <p:spPr>
          <a:xfrm>
            <a:off x="550863" y="6465614"/>
            <a:ext cx="488916"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matchingName="Without Title">
  <p:cSld name="Without Title">
    <p:spTree>
      <p:nvGrpSpPr>
        <p:cNvPr id="1" name="Shape 766"/>
        <p:cNvGrpSpPr/>
        <p:nvPr/>
      </p:nvGrpSpPr>
      <p:grpSpPr>
        <a:xfrm>
          <a:off x="0" y="0"/>
          <a:ext cx="0" cy="0"/>
          <a:chOff x="0" y="0"/>
          <a:chExt cx="0" cy="0"/>
        </a:xfrm>
      </p:grpSpPr>
      <p:sp>
        <p:nvSpPr>
          <p:cNvPr id="767" name="Google Shape;767;p91"/>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68" name="Google Shape;768;p91"/>
          <p:cNvSpPr txBox="1">
            <a:spLocks noGrp="1"/>
          </p:cNvSpPr>
          <p:nvPr>
            <p:ph type="ftr" idx="11"/>
          </p:nvPr>
        </p:nvSpPr>
        <p:spPr>
          <a:xfrm>
            <a:off x="550863" y="6465614"/>
            <a:ext cx="488916"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69" name="Google Shape;769;p91"/>
          <p:cNvGrpSpPr/>
          <p:nvPr/>
        </p:nvGrpSpPr>
        <p:grpSpPr>
          <a:xfrm>
            <a:off x="11979441" y="4535495"/>
            <a:ext cx="110800" cy="2041948"/>
            <a:chOff x="11979441" y="4535495"/>
            <a:chExt cx="110800" cy="2041948"/>
          </a:xfrm>
        </p:grpSpPr>
        <p:grpSp>
          <p:nvGrpSpPr>
            <p:cNvPr id="770" name="Google Shape;770;p91"/>
            <p:cNvGrpSpPr/>
            <p:nvPr/>
          </p:nvGrpSpPr>
          <p:grpSpPr>
            <a:xfrm>
              <a:off x="11998460" y="6135518"/>
              <a:ext cx="68500" cy="441925"/>
              <a:chOff x="11998459" y="6162188"/>
              <a:chExt cx="68500" cy="441925"/>
            </a:xfrm>
          </p:grpSpPr>
          <p:sp>
            <p:nvSpPr>
              <p:cNvPr id="771" name="Google Shape;771;p91"/>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72" name="Google Shape;772;p91"/>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73" name="Google Shape;773;p91"/>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74" name="Google Shape;774;p91"/>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75" name="Google Shape;775;p91"/>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76" name="Google Shape;776;p91"/>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77" name="Google Shape;777;p91"/>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78" name="Google Shape;778;p91"/>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79" name="Google Shape;779;p91"/>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80" name="Google Shape;780;p91"/>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81" name="Google Shape;781;p91"/>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82" name="Google Shape;782;p91"/>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83" name="Google Shape;783;p91"/>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grpSp>
        <p:pic>
          <p:nvPicPr>
            <p:cNvPr id="784" name="Google Shape;784;p91"/>
            <p:cNvPicPr preferRelativeResize="0"/>
            <p:nvPr/>
          </p:nvPicPr>
          <p:blipFill rotWithShape="1">
            <a:blip r:embed="rId2">
              <a:alphaModFix/>
            </a:blip>
            <a:srcRect/>
            <a:stretch/>
          </p:blipFill>
          <p:spPr>
            <a:xfrm rot="-5400000">
              <a:off x="11811888" y="6322371"/>
              <a:ext cx="441438" cy="68706"/>
            </a:xfrm>
            <a:prstGeom prst="rect">
              <a:avLst/>
            </a:prstGeom>
            <a:noFill/>
            <a:ln>
              <a:noFill/>
            </a:ln>
          </p:spPr>
        </p:pic>
        <p:sp>
          <p:nvSpPr>
            <p:cNvPr id="785" name="Google Shape;785;p91"/>
            <p:cNvSpPr txBox="1"/>
            <p:nvPr/>
          </p:nvSpPr>
          <p:spPr>
            <a:xfrm rot="-5400000">
              <a:off x="11250972" y="526396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rgbClr val="B4B4B4"/>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gr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2 Column">
  <p:cSld name="2 Column">
    <p:spTree>
      <p:nvGrpSpPr>
        <p:cNvPr id="1" name="Shape 786"/>
        <p:cNvGrpSpPr/>
        <p:nvPr/>
      </p:nvGrpSpPr>
      <p:grpSpPr>
        <a:xfrm>
          <a:off x="0" y="0"/>
          <a:ext cx="0" cy="0"/>
          <a:chOff x="0" y="0"/>
          <a:chExt cx="0" cy="0"/>
        </a:xfrm>
      </p:grpSpPr>
      <p:sp>
        <p:nvSpPr>
          <p:cNvPr id="787" name="Google Shape;787;p92"/>
          <p:cNvSpPr txBox="1">
            <a:spLocks noGrp="1"/>
          </p:cNvSpPr>
          <p:nvPr>
            <p:ph type="title"/>
          </p:nvPr>
        </p:nvSpPr>
        <p:spPr>
          <a:xfrm>
            <a:off x="53181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8" name="Google Shape;788;p92"/>
          <p:cNvSpPr txBox="1">
            <a:spLocks noGrp="1"/>
          </p:cNvSpPr>
          <p:nvPr>
            <p:ph type="body" idx="1"/>
          </p:nvPr>
        </p:nvSpPr>
        <p:spPr>
          <a:xfrm>
            <a:off x="550863" y="2175803"/>
            <a:ext cx="5400675"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228600" algn="l">
              <a:lnSpc>
                <a:spcPct val="95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9" name="Google Shape;789;p92"/>
          <p:cNvSpPr txBox="1">
            <a:spLocks noGrp="1"/>
          </p:cNvSpPr>
          <p:nvPr>
            <p:ph type="body" idx="2"/>
          </p:nvPr>
        </p:nvSpPr>
        <p:spPr>
          <a:xfrm>
            <a:off x="550863" y="1857375"/>
            <a:ext cx="54006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0" name="Google Shape;790;p92"/>
          <p:cNvSpPr txBox="1">
            <a:spLocks noGrp="1"/>
          </p:cNvSpPr>
          <p:nvPr>
            <p:ph type="body" idx="3"/>
          </p:nvPr>
        </p:nvSpPr>
        <p:spPr>
          <a:xfrm>
            <a:off x="6240464" y="2175803"/>
            <a:ext cx="5400675"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1" name="Google Shape;791;p92"/>
          <p:cNvSpPr txBox="1">
            <a:spLocks noGrp="1"/>
          </p:cNvSpPr>
          <p:nvPr>
            <p:ph type="body" idx="4"/>
          </p:nvPr>
        </p:nvSpPr>
        <p:spPr>
          <a:xfrm>
            <a:off x="6240464" y="1857375"/>
            <a:ext cx="54006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2" name="Google Shape;792;p92"/>
          <p:cNvSpPr txBox="1">
            <a:spLocks noGrp="1"/>
          </p:cNvSpPr>
          <p:nvPr>
            <p:ph type="ftr" idx="11"/>
          </p:nvPr>
        </p:nvSpPr>
        <p:spPr>
          <a:xfrm>
            <a:off x="550863" y="6465614"/>
            <a:ext cx="488916"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3 Column">
  <p:cSld name="3 Column">
    <p:spTree>
      <p:nvGrpSpPr>
        <p:cNvPr id="1" name="Shape 793"/>
        <p:cNvGrpSpPr/>
        <p:nvPr/>
      </p:nvGrpSpPr>
      <p:grpSpPr>
        <a:xfrm>
          <a:off x="0" y="0"/>
          <a:ext cx="0" cy="0"/>
          <a:chOff x="0" y="0"/>
          <a:chExt cx="0" cy="0"/>
        </a:xfrm>
      </p:grpSpPr>
      <p:sp>
        <p:nvSpPr>
          <p:cNvPr id="794" name="Google Shape;794;p93"/>
          <p:cNvSpPr txBox="1">
            <a:spLocks noGrp="1"/>
          </p:cNvSpPr>
          <p:nvPr>
            <p:ph type="title"/>
          </p:nvPr>
        </p:nvSpPr>
        <p:spPr>
          <a:xfrm>
            <a:off x="53181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5" name="Google Shape;795;p93"/>
          <p:cNvSpPr txBox="1">
            <a:spLocks noGrp="1"/>
          </p:cNvSpPr>
          <p:nvPr>
            <p:ph type="body" idx="1"/>
          </p:nvPr>
        </p:nvSpPr>
        <p:spPr>
          <a:xfrm>
            <a:off x="550864" y="2175803"/>
            <a:ext cx="3506976" cy="1177245"/>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228600" algn="l">
              <a:lnSpc>
                <a:spcPct val="95000"/>
              </a:lnSpc>
              <a:spcBef>
                <a:spcPts val="300"/>
              </a:spcBef>
              <a:spcAft>
                <a:spcPts val="0"/>
              </a:spcAft>
              <a:buSzPts val="1400"/>
              <a:buNone/>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6" name="Google Shape;796;p93"/>
          <p:cNvSpPr txBox="1">
            <a:spLocks noGrp="1"/>
          </p:cNvSpPr>
          <p:nvPr>
            <p:ph type="body" idx="2"/>
          </p:nvPr>
        </p:nvSpPr>
        <p:spPr>
          <a:xfrm>
            <a:off x="550864" y="1857375"/>
            <a:ext cx="350697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7" name="Google Shape;797;p93"/>
          <p:cNvSpPr txBox="1">
            <a:spLocks noGrp="1"/>
          </p:cNvSpPr>
          <p:nvPr>
            <p:ph type="body" idx="3"/>
          </p:nvPr>
        </p:nvSpPr>
        <p:spPr>
          <a:xfrm>
            <a:off x="8135839" y="2175803"/>
            <a:ext cx="35053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8" name="Google Shape;798;p93"/>
          <p:cNvSpPr txBox="1">
            <a:spLocks noGrp="1"/>
          </p:cNvSpPr>
          <p:nvPr>
            <p:ph type="body" idx="4"/>
          </p:nvPr>
        </p:nvSpPr>
        <p:spPr>
          <a:xfrm>
            <a:off x="8135839" y="1857375"/>
            <a:ext cx="35053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9" name="Google Shape;799;p93"/>
          <p:cNvSpPr txBox="1">
            <a:spLocks noGrp="1"/>
          </p:cNvSpPr>
          <p:nvPr>
            <p:ph type="body" idx="5"/>
          </p:nvPr>
        </p:nvSpPr>
        <p:spPr>
          <a:xfrm>
            <a:off x="4344162" y="2175803"/>
            <a:ext cx="35053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0" name="Google Shape;800;p93"/>
          <p:cNvSpPr txBox="1">
            <a:spLocks noGrp="1"/>
          </p:cNvSpPr>
          <p:nvPr>
            <p:ph type="body" idx="6"/>
          </p:nvPr>
        </p:nvSpPr>
        <p:spPr>
          <a:xfrm>
            <a:off x="4344162" y="1857375"/>
            <a:ext cx="35053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1" name="Google Shape;801;p93"/>
          <p:cNvSpPr txBox="1">
            <a:spLocks noGrp="1"/>
          </p:cNvSpPr>
          <p:nvPr>
            <p:ph type="ftr" idx="11"/>
          </p:nvPr>
        </p:nvSpPr>
        <p:spPr>
          <a:xfrm>
            <a:off x="550863" y="6465614"/>
            <a:ext cx="488916"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4 Column">
  <p:cSld name="4 Column">
    <p:spTree>
      <p:nvGrpSpPr>
        <p:cNvPr id="1" name="Shape 802"/>
        <p:cNvGrpSpPr/>
        <p:nvPr/>
      </p:nvGrpSpPr>
      <p:grpSpPr>
        <a:xfrm>
          <a:off x="0" y="0"/>
          <a:ext cx="0" cy="0"/>
          <a:chOff x="0" y="0"/>
          <a:chExt cx="0" cy="0"/>
        </a:xfrm>
      </p:grpSpPr>
      <p:sp>
        <p:nvSpPr>
          <p:cNvPr id="803" name="Google Shape;803;p94"/>
          <p:cNvSpPr txBox="1">
            <a:spLocks noGrp="1"/>
          </p:cNvSpPr>
          <p:nvPr>
            <p:ph type="title"/>
          </p:nvPr>
        </p:nvSpPr>
        <p:spPr>
          <a:xfrm>
            <a:off x="53181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4" name="Google Shape;804;p94"/>
          <p:cNvSpPr txBox="1">
            <a:spLocks noGrp="1"/>
          </p:cNvSpPr>
          <p:nvPr>
            <p:ph type="body" idx="1"/>
          </p:nvPr>
        </p:nvSpPr>
        <p:spPr>
          <a:xfrm>
            <a:off x="550864" y="2175803"/>
            <a:ext cx="2559476"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228600" algn="l">
              <a:lnSpc>
                <a:spcPct val="95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5" name="Google Shape;805;p94"/>
          <p:cNvSpPr txBox="1">
            <a:spLocks noGrp="1"/>
          </p:cNvSpPr>
          <p:nvPr>
            <p:ph type="body" idx="2"/>
          </p:nvPr>
        </p:nvSpPr>
        <p:spPr>
          <a:xfrm>
            <a:off x="550864" y="1857375"/>
            <a:ext cx="255947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6" name="Google Shape;806;p94"/>
          <p:cNvSpPr txBox="1">
            <a:spLocks noGrp="1"/>
          </p:cNvSpPr>
          <p:nvPr>
            <p:ph type="body" idx="3"/>
          </p:nvPr>
        </p:nvSpPr>
        <p:spPr>
          <a:xfrm>
            <a:off x="6240464" y="2175803"/>
            <a:ext cx="2554875"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7" name="Google Shape;807;p94"/>
          <p:cNvSpPr txBox="1">
            <a:spLocks noGrp="1"/>
          </p:cNvSpPr>
          <p:nvPr>
            <p:ph type="body" idx="4"/>
          </p:nvPr>
        </p:nvSpPr>
        <p:spPr>
          <a:xfrm>
            <a:off x="6240464" y="1857375"/>
            <a:ext cx="25548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8" name="Google Shape;808;p94"/>
          <p:cNvSpPr txBox="1">
            <a:spLocks noGrp="1"/>
          </p:cNvSpPr>
          <p:nvPr>
            <p:ph type="body" idx="5"/>
          </p:nvPr>
        </p:nvSpPr>
        <p:spPr>
          <a:xfrm>
            <a:off x="3395664" y="2175803"/>
            <a:ext cx="2559476"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228600" algn="l">
              <a:lnSpc>
                <a:spcPct val="95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9" name="Google Shape;809;p94"/>
          <p:cNvSpPr txBox="1">
            <a:spLocks noGrp="1"/>
          </p:cNvSpPr>
          <p:nvPr>
            <p:ph type="body" idx="6"/>
          </p:nvPr>
        </p:nvSpPr>
        <p:spPr>
          <a:xfrm>
            <a:off x="3395664" y="1857375"/>
            <a:ext cx="255947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0" name="Google Shape;810;p94"/>
          <p:cNvSpPr txBox="1">
            <a:spLocks noGrp="1"/>
          </p:cNvSpPr>
          <p:nvPr>
            <p:ph type="body" idx="7"/>
          </p:nvPr>
        </p:nvSpPr>
        <p:spPr>
          <a:xfrm>
            <a:off x="9086263" y="2175803"/>
            <a:ext cx="2554875"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1" name="Google Shape;811;p94"/>
          <p:cNvSpPr txBox="1">
            <a:spLocks noGrp="1"/>
          </p:cNvSpPr>
          <p:nvPr>
            <p:ph type="body" idx="8"/>
          </p:nvPr>
        </p:nvSpPr>
        <p:spPr>
          <a:xfrm>
            <a:off x="9086263" y="1857375"/>
            <a:ext cx="25548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2" name="Google Shape;812;p94"/>
          <p:cNvSpPr txBox="1">
            <a:spLocks noGrp="1"/>
          </p:cNvSpPr>
          <p:nvPr>
            <p:ph type="ftr" idx="11"/>
          </p:nvPr>
        </p:nvSpPr>
        <p:spPr>
          <a:xfrm>
            <a:off x="550863" y="6465614"/>
            <a:ext cx="488916"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5 Column">
  <p:cSld name="5 Column">
    <p:spTree>
      <p:nvGrpSpPr>
        <p:cNvPr id="1" name="Shape 813"/>
        <p:cNvGrpSpPr/>
        <p:nvPr/>
      </p:nvGrpSpPr>
      <p:grpSpPr>
        <a:xfrm>
          <a:off x="0" y="0"/>
          <a:ext cx="0" cy="0"/>
          <a:chOff x="0" y="0"/>
          <a:chExt cx="0" cy="0"/>
        </a:xfrm>
      </p:grpSpPr>
      <p:sp>
        <p:nvSpPr>
          <p:cNvPr id="814" name="Google Shape;814;p95"/>
          <p:cNvSpPr txBox="1">
            <a:spLocks noGrp="1"/>
          </p:cNvSpPr>
          <p:nvPr>
            <p:ph type="title"/>
          </p:nvPr>
        </p:nvSpPr>
        <p:spPr>
          <a:xfrm>
            <a:off x="53181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5" name="Google Shape;815;p95"/>
          <p:cNvSpPr txBox="1">
            <a:spLocks noGrp="1"/>
          </p:cNvSpPr>
          <p:nvPr>
            <p:ph type="body" idx="1"/>
          </p:nvPr>
        </p:nvSpPr>
        <p:spPr>
          <a:xfrm>
            <a:off x="550864" y="2175803"/>
            <a:ext cx="19836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228600" algn="l">
              <a:lnSpc>
                <a:spcPct val="95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6" name="Google Shape;816;p95"/>
          <p:cNvSpPr txBox="1">
            <a:spLocks noGrp="1"/>
          </p:cNvSpPr>
          <p:nvPr>
            <p:ph type="body" idx="2"/>
          </p:nvPr>
        </p:nvSpPr>
        <p:spPr>
          <a:xfrm>
            <a:off x="550864" y="1857375"/>
            <a:ext cx="19836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7" name="Google Shape;817;p95"/>
          <p:cNvSpPr txBox="1">
            <a:spLocks noGrp="1"/>
          </p:cNvSpPr>
          <p:nvPr>
            <p:ph type="body" idx="3"/>
          </p:nvPr>
        </p:nvSpPr>
        <p:spPr>
          <a:xfrm>
            <a:off x="5104050" y="2175803"/>
            <a:ext cx="1980034"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8" name="Google Shape;818;p95"/>
          <p:cNvSpPr txBox="1">
            <a:spLocks noGrp="1"/>
          </p:cNvSpPr>
          <p:nvPr>
            <p:ph type="body" idx="4"/>
          </p:nvPr>
        </p:nvSpPr>
        <p:spPr>
          <a:xfrm>
            <a:off x="5104050"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9" name="Google Shape;819;p95"/>
          <p:cNvSpPr txBox="1">
            <a:spLocks noGrp="1"/>
          </p:cNvSpPr>
          <p:nvPr>
            <p:ph type="body" idx="5"/>
          </p:nvPr>
        </p:nvSpPr>
        <p:spPr>
          <a:xfrm>
            <a:off x="2827457" y="2175803"/>
            <a:ext cx="19836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228600" algn="l">
              <a:lnSpc>
                <a:spcPct val="95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0" name="Google Shape;820;p95"/>
          <p:cNvSpPr txBox="1">
            <a:spLocks noGrp="1"/>
          </p:cNvSpPr>
          <p:nvPr>
            <p:ph type="body" idx="6"/>
          </p:nvPr>
        </p:nvSpPr>
        <p:spPr>
          <a:xfrm>
            <a:off x="2827457" y="1857375"/>
            <a:ext cx="19836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1" name="Google Shape;821;p95"/>
          <p:cNvSpPr txBox="1">
            <a:spLocks noGrp="1"/>
          </p:cNvSpPr>
          <p:nvPr>
            <p:ph type="body" idx="7"/>
          </p:nvPr>
        </p:nvSpPr>
        <p:spPr>
          <a:xfrm>
            <a:off x="7380643" y="2175803"/>
            <a:ext cx="1980034"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2" name="Google Shape;822;p95"/>
          <p:cNvSpPr txBox="1">
            <a:spLocks noGrp="1"/>
          </p:cNvSpPr>
          <p:nvPr>
            <p:ph type="body" idx="8"/>
          </p:nvPr>
        </p:nvSpPr>
        <p:spPr>
          <a:xfrm>
            <a:off x="7380643"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3" name="Google Shape;823;p95"/>
          <p:cNvSpPr txBox="1">
            <a:spLocks noGrp="1"/>
          </p:cNvSpPr>
          <p:nvPr>
            <p:ph type="body" idx="9"/>
          </p:nvPr>
        </p:nvSpPr>
        <p:spPr>
          <a:xfrm>
            <a:off x="9660801" y="2175803"/>
            <a:ext cx="1980034"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4" name="Google Shape;824;p95"/>
          <p:cNvSpPr txBox="1">
            <a:spLocks noGrp="1"/>
          </p:cNvSpPr>
          <p:nvPr>
            <p:ph type="body" idx="13"/>
          </p:nvPr>
        </p:nvSpPr>
        <p:spPr>
          <a:xfrm>
            <a:off x="9660801"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5" name="Google Shape;825;p95"/>
          <p:cNvSpPr txBox="1">
            <a:spLocks noGrp="1"/>
          </p:cNvSpPr>
          <p:nvPr>
            <p:ph type="ftr" idx="11"/>
          </p:nvPr>
        </p:nvSpPr>
        <p:spPr>
          <a:xfrm>
            <a:off x="550863" y="6465614"/>
            <a:ext cx="488916"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1/3 Grey on Left">
  <p:cSld name="1/3 Grey on Left">
    <p:spTree>
      <p:nvGrpSpPr>
        <p:cNvPr id="1" name="Shape 826"/>
        <p:cNvGrpSpPr/>
        <p:nvPr/>
      </p:nvGrpSpPr>
      <p:grpSpPr>
        <a:xfrm>
          <a:off x="0" y="0"/>
          <a:ext cx="0" cy="0"/>
          <a:chOff x="0" y="0"/>
          <a:chExt cx="0" cy="0"/>
        </a:xfrm>
      </p:grpSpPr>
      <p:sp>
        <p:nvSpPr>
          <p:cNvPr id="827" name="Google Shape;827;p96"/>
          <p:cNvSpPr/>
          <p:nvPr/>
        </p:nvSpPr>
        <p:spPr>
          <a:xfrm>
            <a:off x="0" y="-1"/>
            <a:ext cx="4059776" cy="6857999"/>
          </a:xfrm>
          <a:prstGeom prst="rect">
            <a:avLst/>
          </a:pr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cxnSp>
        <p:nvCxnSpPr>
          <p:cNvPr id="828" name="Google Shape;828;p96"/>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829" name="Google Shape;829;p96"/>
          <p:cNvSpPr txBox="1">
            <a:spLocks noGrp="1"/>
          </p:cNvSpPr>
          <p:nvPr>
            <p:ph type="ftr" idx="11"/>
          </p:nvPr>
        </p:nvSpPr>
        <p:spPr>
          <a:xfrm>
            <a:off x="4360863" y="6465614"/>
            <a:ext cx="488916"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0" name="Google Shape;830;p96"/>
          <p:cNvSpPr txBox="1">
            <a:spLocks noGrp="1"/>
          </p:cNvSpPr>
          <p:nvPr>
            <p:ph type="title"/>
          </p:nvPr>
        </p:nvSpPr>
        <p:spPr>
          <a:xfrm>
            <a:off x="531813" y="560588"/>
            <a:ext cx="3235117" cy="837152"/>
          </a:xfrm>
          <a:prstGeom prst="rect">
            <a:avLst/>
          </a:prstGeom>
          <a:noFill/>
          <a:ln>
            <a:noFill/>
          </a:ln>
        </p:spPr>
        <p:txBody>
          <a:bodyPr spcFirstLastPara="1" wrap="square" lIns="0" tIns="0" rIns="0" bIns="0" anchor="t" anchorCtr="0">
            <a:spAutoFit/>
          </a:bodyPr>
          <a:lstStyle>
            <a:lvl1pPr lvl="0" algn="l">
              <a:lnSpc>
                <a:spcPct val="85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1_1/3 Grey on Left">
  <p:cSld name="1_1/3 Grey on Left">
    <p:spTree>
      <p:nvGrpSpPr>
        <p:cNvPr id="1" name="Shape 831"/>
        <p:cNvGrpSpPr/>
        <p:nvPr/>
      </p:nvGrpSpPr>
      <p:grpSpPr>
        <a:xfrm>
          <a:off x="0" y="0"/>
          <a:ext cx="0" cy="0"/>
          <a:chOff x="0" y="0"/>
          <a:chExt cx="0" cy="0"/>
        </a:xfrm>
      </p:grpSpPr>
      <p:sp>
        <p:nvSpPr>
          <p:cNvPr id="832" name="Google Shape;832;p97"/>
          <p:cNvSpPr/>
          <p:nvPr/>
        </p:nvSpPr>
        <p:spPr>
          <a:xfrm>
            <a:off x="6093463" y="-1"/>
            <a:ext cx="6098537" cy="6857999"/>
          </a:xfrm>
          <a:prstGeom prst="rect">
            <a:avLst/>
          </a:pr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cxnSp>
        <p:nvCxnSpPr>
          <p:cNvPr id="833" name="Google Shape;833;p97"/>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834" name="Google Shape;834;p97"/>
          <p:cNvSpPr txBox="1">
            <a:spLocks noGrp="1"/>
          </p:cNvSpPr>
          <p:nvPr>
            <p:ph type="ftr" idx="11"/>
          </p:nvPr>
        </p:nvSpPr>
        <p:spPr>
          <a:xfrm>
            <a:off x="531813" y="6465614"/>
            <a:ext cx="488916"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5" name="Google Shape;835;p97"/>
          <p:cNvSpPr txBox="1">
            <a:spLocks noGrp="1"/>
          </p:cNvSpPr>
          <p:nvPr>
            <p:ph type="title"/>
          </p:nvPr>
        </p:nvSpPr>
        <p:spPr>
          <a:xfrm>
            <a:off x="531813" y="560588"/>
            <a:ext cx="5086667" cy="837152"/>
          </a:xfrm>
          <a:prstGeom prst="rect">
            <a:avLst/>
          </a:prstGeom>
          <a:noFill/>
          <a:ln>
            <a:noFill/>
          </a:ln>
        </p:spPr>
        <p:txBody>
          <a:bodyPr spcFirstLastPara="1" wrap="square" lIns="0" tIns="0" rIns="0" bIns="0" anchor="t" anchorCtr="0">
            <a:spAutoFit/>
          </a:bodyPr>
          <a:lstStyle>
            <a:lvl1pPr lvl="0" algn="l">
              <a:lnSpc>
                <a:spcPct val="85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6" name="Google Shape;836;p97"/>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grpSp>
        <p:nvGrpSpPr>
          <p:cNvPr id="837" name="Google Shape;837;p97"/>
          <p:cNvGrpSpPr/>
          <p:nvPr/>
        </p:nvGrpSpPr>
        <p:grpSpPr>
          <a:xfrm>
            <a:off x="11979441" y="4535495"/>
            <a:ext cx="110800" cy="2041948"/>
            <a:chOff x="11979441" y="4535495"/>
            <a:chExt cx="110800" cy="2041948"/>
          </a:xfrm>
        </p:grpSpPr>
        <p:grpSp>
          <p:nvGrpSpPr>
            <p:cNvPr id="838" name="Google Shape;838;p97"/>
            <p:cNvGrpSpPr/>
            <p:nvPr/>
          </p:nvGrpSpPr>
          <p:grpSpPr>
            <a:xfrm>
              <a:off x="11998460" y="6135518"/>
              <a:ext cx="68500" cy="441925"/>
              <a:chOff x="11998459" y="6162188"/>
              <a:chExt cx="68500" cy="441925"/>
            </a:xfrm>
          </p:grpSpPr>
          <p:sp>
            <p:nvSpPr>
              <p:cNvPr id="839" name="Google Shape;839;p97"/>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40" name="Google Shape;840;p97"/>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41" name="Google Shape;841;p97"/>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42" name="Google Shape;842;p97"/>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43" name="Google Shape;843;p97"/>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44" name="Google Shape;844;p97"/>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45" name="Google Shape;845;p97"/>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46" name="Google Shape;846;p97"/>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47" name="Google Shape;847;p97"/>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48" name="Google Shape;848;p97"/>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49" name="Google Shape;849;p97"/>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50" name="Google Shape;850;p97"/>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51" name="Google Shape;851;p97"/>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grpSp>
        <p:pic>
          <p:nvPicPr>
            <p:cNvPr id="852" name="Google Shape;852;p97"/>
            <p:cNvPicPr preferRelativeResize="0"/>
            <p:nvPr/>
          </p:nvPicPr>
          <p:blipFill rotWithShape="1">
            <a:blip r:embed="rId2">
              <a:alphaModFix/>
            </a:blip>
            <a:srcRect/>
            <a:stretch/>
          </p:blipFill>
          <p:spPr>
            <a:xfrm rot="-5400000">
              <a:off x="11811888" y="6322371"/>
              <a:ext cx="441438" cy="68706"/>
            </a:xfrm>
            <a:prstGeom prst="rect">
              <a:avLst/>
            </a:prstGeom>
            <a:noFill/>
            <a:ln>
              <a:noFill/>
            </a:ln>
          </p:spPr>
        </p:pic>
        <p:sp>
          <p:nvSpPr>
            <p:cNvPr id="853" name="Google Shape;853;p97"/>
            <p:cNvSpPr txBox="1"/>
            <p:nvPr/>
          </p:nvSpPr>
          <p:spPr>
            <a:xfrm rot="-5400000">
              <a:off x="11250972" y="526396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rgbClr val="B4B4B4"/>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grpSp>
      <p:sp>
        <p:nvSpPr>
          <p:cNvPr id="854" name="Google Shape;854;p97"/>
          <p:cNvSpPr txBox="1"/>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Clr>
                <a:srgbClr val="000000"/>
              </a:buClr>
              <a:buSzPts val="1000"/>
              <a:buFont typeface="Arial"/>
              <a:buNone/>
            </a:pPr>
            <a:fld id="{00000000-1234-1234-1234-123412341234}" type="slidenum">
              <a:rPr lang="en-US" sz="1000" b="0" i="0" u="none" strike="noStrike" cap="none">
                <a:solidFill>
                  <a:srgbClr val="7F7F7F"/>
                </a:solidFill>
                <a:latin typeface="Calibri"/>
                <a:ea typeface="Calibri"/>
                <a:cs typeface="Calibri"/>
                <a:sym typeface="Calibri"/>
              </a:rPr>
              <a:t>‹#›</a:t>
            </a:fld>
            <a:endParaRPr sz="1000" b="0" i="0" u="none" strike="noStrike" cap="none">
              <a:solidFill>
                <a:srgbClr val="7F7F7F"/>
              </a:solidFill>
              <a:latin typeface="Calibri"/>
              <a:ea typeface="Calibri"/>
              <a:cs typeface="Calibri"/>
              <a:sym typeface="Calibri"/>
            </a:endParaRPr>
          </a:p>
        </p:txBody>
      </p:sp>
      <p:grpSp>
        <p:nvGrpSpPr>
          <p:cNvPr id="855" name="Google Shape;855;p97"/>
          <p:cNvGrpSpPr/>
          <p:nvPr/>
        </p:nvGrpSpPr>
        <p:grpSpPr>
          <a:xfrm>
            <a:off x="5784011" y="-43760"/>
            <a:ext cx="967753" cy="6901759"/>
            <a:chOff x="5784011" y="-43760"/>
            <a:chExt cx="967753" cy="6901759"/>
          </a:xfrm>
        </p:grpSpPr>
        <p:sp>
          <p:nvSpPr>
            <p:cNvPr id="856" name="Google Shape;856;p97"/>
            <p:cNvSpPr/>
            <p:nvPr/>
          </p:nvSpPr>
          <p:spPr>
            <a:xfrm>
              <a:off x="5790237" y="-1"/>
              <a:ext cx="961527" cy="6857999"/>
            </a:xfrm>
            <a:prstGeom prst="rect">
              <a:avLst/>
            </a:pr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857" name="Google Shape;857;p97"/>
            <p:cNvSpPr/>
            <p:nvPr/>
          </p:nvSpPr>
          <p:spPr>
            <a:xfrm>
              <a:off x="5784011" y="-43760"/>
              <a:ext cx="542935" cy="6901759"/>
            </a:xfrm>
            <a:prstGeom prst="homePlate">
              <a:avLst>
                <a:gd name="adj" fmla="val 100000"/>
              </a:avLst>
            </a:prstGeom>
            <a:solidFill>
              <a:schemeClr val="lt1"/>
            </a:solidFill>
            <a:ln>
              <a:noFill/>
            </a:ln>
            <a:effectLst>
              <a:outerShdw blurRad="127000" dist="254000" dir="2700000" algn="tl" rotWithShape="0">
                <a:srgbClr val="000000">
                  <a:alpha val="3137"/>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1_1/3 Grey on Left">
  <p:cSld name="1_1/3 Grey on Left">
    <p:spTree>
      <p:nvGrpSpPr>
        <p:cNvPr id="1" name="Shape 92"/>
        <p:cNvGrpSpPr/>
        <p:nvPr/>
      </p:nvGrpSpPr>
      <p:grpSpPr>
        <a:xfrm>
          <a:off x="0" y="0"/>
          <a:ext cx="0" cy="0"/>
          <a:chOff x="0" y="0"/>
          <a:chExt cx="0" cy="0"/>
        </a:xfrm>
      </p:grpSpPr>
      <p:sp>
        <p:nvSpPr>
          <p:cNvPr id="93" name="Google Shape;93;p51"/>
          <p:cNvSpPr/>
          <p:nvPr/>
        </p:nvSpPr>
        <p:spPr>
          <a:xfrm>
            <a:off x="0" y="-1"/>
            <a:ext cx="6096000" cy="6857999"/>
          </a:xfrm>
          <a:prstGeom prst="rect">
            <a:avLst/>
          </a:pr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 name="Google Shape;94;p51"/>
          <p:cNvSpPr txBox="1">
            <a:spLocks noGrp="1"/>
          </p:cNvSpPr>
          <p:nvPr>
            <p:ph type="title"/>
          </p:nvPr>
        </p:nvSpPr>
        <p:spPr>
          <a:xfrm>
            <a:off x="539400" y="562841"/>
            <a:ext cx="5412138"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 name="Google Shape;95;p51"/>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 name="Google Shape;96;p51"/>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97" name="Google Shape;97;p51"/>
          <p:cNvSpPr txBox="1">
            <a:spLocks noGrp="1"/>
          </p:cNvSpPr>
          <p:nvPr>
            <p:ph type="ftr" idx="11"/>
          </p:nvPr>
        </p:nvSpPr>
        <p:spPr>
          <a:xfrm>
            <a:off x="539400" y="6465614"/>
            <a:ext cx="5412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1/3 Blue on Left">
  <p:cSld name="1/3 Blue on Left">
    <p:spTree>
      <p:nvGrpSpPr>
        <p:cNvPr id="1" name="Shape 858"/>
        <p:cNvGrpSpPr/>
        <p:nvPr/>
      </p:nvGrpSpPr>
      <p:grpSpPr>
        <a:xfrm>
          <a:off x="0" y="0"/>
          <a:ext cx="0" cy="0"/>
          <a:chOff x="0" y="0"/>
          <a:chExt cx="0" cy="0"/>
        </a:xfrm>
      </p:grpSpPr>
      <p:sp>
        <p:nvSpPr>
          <p:cNvPr id="859" name="Google Shape;859;p98"/>
          <p:cNvSpPr/>
          <p:nvPr/>
        </p:nvSpPr>
        <p:spPr>
          <a:xfrm>
            <a:off x="0" y="-1"/>
            <a:ext cx="4059776" cy="6857999"/>
          </a:xfrm>
          <a:prstGeom prst="rect">
            <a:avLst/>
          </a:prstGeom>
          <a:gradFill>
            <a:gsLst>
              <a:gs pos="0">
                <a:srgbClr val="062379"/>
              </a:gs>
              <a:gs pos="55000">
                <a:srgbClr val="385ED2"/>
              </a:gs>
              <a:gs pos="76000">
                <a:srgbClr val="4873F5">
                  <a:alpha val="88235"/>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860" name="Google Shape;860;p98"/>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1" name="Google Shape;861;p98"/>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862" name="Google Shape;862;p98"/>
          <p:cNvSpPr txBox="1">
            <a:spLocks noGrp="1"/>
          </p:cNvSpPr>
          <p:nvPr>
            <p:ph type="ftr" idx="11"/>
          </p:nvPr>
        </p:nvSpPr>
        <p:spPr>
          <a:xfrm>
            <a:off x="4360863" y="6465614"/>
            <a:ext cx="488916"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3" name="Google Shape;863;p98"/>
          <p:cNvSpPr txBox="1">
            <a:spLocks noGrp="1"/>
          </p:cNvSpPr>
          <p:nvPr>
            <p:ph type="title"/>
          </p:nvPr>
        </p:nvSpPr>
        <p:spPr>
          <a:xfrm>
            <a:off x="531813" y="560588"/>
            <a:ext cx="3135726" cy="886397"/>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1/3 Blue on Left_2">
  <p:cSld name="1/3 Blue on Left_2">
    <p:spTree>
      <p:nvGrpSpPr>
        <p:cNvPr id="1" name="Shape 864"/>
        <p:cNvGrpSpPr/>
        <p:nvPr/>
      </p:nvGrpSpPr>
      <p:grpSpPr>
        <a:xfrm>
          <a:off x="0" y="0"/>
          <a:ext cx="0" cy="0"/>
          <a:chOff x="0" y="0"/>
          <a:chExt cx="0" cy="0"/>
        </a:xfrm>
      </p:grpSpPr>
      <p:sp>
        <p:nvSpPr>
          <p:cNvPr id="865" name="Google Shape;865;p99"/>
          <p:cNvSpPr/>
          <p:nvPr/>
        </p:nvSpPr>
        <p:spPr>
          <a:xfrm>
            <a:off x="0" y="-1"/>
            <a:ext cx="4059776" cy="6857999"/>
          </a:xfrm>
          <a:prstGeom prst="rect">
            <a:avLst/>
          </a:prstGeom>
          <a:gradFill>
            <a:gsLst>
              <a:gs pos="0">
                <a:srgbClr val="062379"/>
              </a:gs>
              <a:gs pos="55000">
                <a:srgbClr val="385ED2"/>
              </a:gs>
              <a:gs pos="76000">
                <a:srgbClr val="4873F5">
                  <a:alpha val="88235"/>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866" name="Google Shape;866;p99"/>
          <p:cNvSpPr txBox="1">
            <a:spLocks noGrp="1"/>
          </p:cNvSpPr>
          <p:nvPr>
            <p:ph type="title"/>
          </p:nvPr>
        </p:nvSpPr>
        <p:spPr>
          <a:xfrm>
            <a:off x="566141" y="2546064"/>
            <a:ext cx="3032465" cy="176586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lt1"/>
              </a:buClr>
              <a:buSzPts val="4500"/>
              <a:buFont typeface="Franklin Gothic"/>
              <a:buNone/>
              <a:defRPr sz="45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7" name="Google Shape;867;p99"/>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868" name="Google Shape;868;p99"/>
          <p:cNvSpPr txBox="1">
            <a:spLocks noGrp="1"/>
          </p:cNvSpPr>
          <p:nvPr>
            <p:ph type="ftr" idx="11"/>
          </p:nvPr>
        </p:nvSpPr>
        <p:spPr>
          <a:xfrm>
            <a:off x="4360863" y="6465614"/>
            <a:ext cx="488916"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1/2 Blue on Left">
  <p:cSld name="1/2 Blue on Left">
    <p:spTree>
      <p:nvGrpSpPr>
        <p:cNvPr id="1" name="Shape 869"/>
        <p:cNvGrpSpPr/>
        <p:nvPr/>
      </p:nvGrpSpPr>
      <p:grpSpPr>
        <a:xfrm>
          <a:off x="0" y="0"/>
          <a:ext cx="0" cy="0"/>
          <a:chOff x="0" y="0"/>
          <a:chExt cx="0" cy="0"/>
        </a:xfrm>
      </p:grpSpPr>
      <p:sp>
        <p:nvSpPr>
          <p:cNvPr id="870" name="Google Shape;870;p100"/>
          <p:cNvSpPr/>
          <p:nvPr/>
        </p:nvSpPr>
        <p:spPr>
          <a:xfrm>
            <a:off x="0" y="-1"/>
            <a:ext cx="6098537" cy="6857999"/>
          </a:xfrm>
          <a:prstGeom prst="rect">
            <a:avLst/>
          </a:prstGeom>
          <a:gradFill>
            <a:gsLst>
              <a:gs pos="0">
                <a:srgbClr val="062379"/>
              </a:gs>
              <a:gs pos="55000">
                <a:srgbClr val="385ED2"/>
              </a:gs>
              <a:gs pos="76000">
                <a:srgbClr val="4873F5">
                  <a:alpha val="88235"/>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871" name="Google Shape;871;p100"/>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2" name="Google Shape;872;p100"/>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873" name="Google Shape;873;p100"/>
          <p:cNvSpPr txBox="1">
            <a:spLocks noGrp="1"/>
          </p:cNvSpPr>
          <p:nvPr>
            <p:ph type="ftr" idx="11"/>
          </p:nvPr>
        </p:nvSpPr>
        <p:spPr>
          <a:xfrm>
            <a:off x="549232" y="6465614"/>
            <a:ext cx="488916"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4" name="Google Shape;874;p100"/>
          <p:cNvSpPr txBox="1">
            <a:spLocks noGrp="1"/>
          </p:cNvSpPr>
          <p:nvPr>
            <p:ph type="title"/>
          </p:nvPr>
        </p:nvSpPr>
        <p:spPr>
          <a:xfrm>
            <a:off x="531813" y="560588"/>
            <a:ext cx="5163309" cy="886397"/>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matchingName="Gradient BG">
  <p:cSld name="Gradient BG">
    <p:spTree>
      <p:nvGrpSpPr>
        <p:cNvPr id="1" name="Shape 875"/>
        <p:cNvGrpSpPr/>
        <p:nvPr/>
      </p:nvGrpSpPr>
      <p:grpSpPr>
        <a:xfrm>
          <a:off x="0" y="0"/>
          <a:ext cx="0" cy="0"/>
          <a:chOff x="0" y="0"/>
          <a:chExt cx="0" cy="0"/>
        </a:xfrm>
      </p:grpSpPr>
      <p:sp>
        <p:nvSpPr>
          <p:cNvPr id="876" name="Google Shape;876;p101"/>
          <p:cNvSpPr/>
          <p:nvPr/>
        </p:nvSpPr>
        <p:spPr>
          <a:xfrm>
            <a:off x="0" y="0"/>
            <a:ext cx="12192000" cy="6858000"/>
          </a:xfrm>
          <a:prstGeom prst="rect">
            <a:avLst/>
          </a:prstGeom>
          <a:gradFill>
            <a:gsLst>
              <a:gs pos="0">
                <a:srgbClr val="062379"/>
              </a:gs>
              <a:gs pos="16000">
                <a:srgbClr val="062379"/>
              </a:gs>
              <a:gs pos="45000">
                <a:srgbClr val="0934B6">
                  <a:alpha val="88235"/>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877" name="Google Shape;877;p101"/>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878" name="Google Shape;878;p101"/>
          <p:cNvSpPr txBox="1">
            <a:spLocks noGrp="1"/>
          </p:cNvSpPr>
          <p:nvPr>
            <p:ph type="ftr" idx="11"/>
          </p:nvPr>
        </p:nvSpPr>
        <p:spPr>
          <a:xfrm>
            <a:off x="550863" y="6465614"/>
            <a:ext cx="488916"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79" name="Google Shape;879;p101"/>
          <p:cNvGrpSpPr/>
          <p:nvPr/>
        </p:nvGrpSpPr>
        <p:grpSpPr>
          <a:xfrm>
            <a:off x="11979441" y="4535494"/>
            <a:ext cx="110800" cy="2041948"/>
            <a:chOff x="11979441" y="4535495"/>
            <a:chExt cx="110800" cy="2041948"/>
          </a:xfrm>
        </p:grpSpPr>
        <p:grpSp>
          <p:nvGrpSpPr>
            <p:cNvPr id="880" name="Google Shape;880;p101"/>
            <p:cNvGrpSpPr/>
            <p:nvPr/>
          </p:nvGrpSpPr>
          <p:grpSpPr>
            <a:xfrm>
              <a:off x="11998460" y="6135518"/>
              <a:ext cx="68500" cy="441925"/>
              <a:chOff x="11998459" y="6162188"/>
              <a:chExt cx="68500" cy="441925"/>
            </a:xfrm>
          </p:grpSpPr>
          <p:sp>
            <p:nvSpPr>
              <p:cNvPr id="881" name="Google Shape;881;p101"/>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82" name="Google Shape;882;p101"/>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83" name="Google Shape;883;p101"/>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84" name="Google Shape;884;p101"/>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85" name="Google Shape;885;p101"/>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86" name="Google Shape;886;p101"/>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87" name="Google Shape;887;p101"/>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88" name="Google Shape;888;p101"/>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89" name="Google Shape;889;p101"/>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90" name="Google Shape;890;p101"/>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91" name="Google Shape;891;p101"/>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92" name="Google Shape;892;p101"/>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893" name="Google Shape;893;p101"/>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grpSp>
        <p:sp>
          <p:nvSpPr>
            <p:cNvPr id="894" name="Google Shape;894;p101"/>
            <p:cNvSpPr txBox="1"/>
            <p:nvPr/>
          </p:nvSpPr>
          <p:spPr>
            <a:xfrm rot="-5400000">
              <a:off x="11250972" y="526396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2"/>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gr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matchingName="Gradient BG (with Title)">
  <p:cSld name="Gradient BG (with Title)">
    <p:spTree>
      <p:nvGrpSpPr>
        <p:cNvPr id="1" name="Shape 895"/>
        <p:cNvGrpSpPr/>
        <p:nvPr/>
      </p:nvGrpSpPr>
      <p:grpSpPr>
        <a:xfrm>
          <a:off x="0" y="0"/>
          <a:ext cx="0" cy="0"/>
          <a:chOff x="0" y="0"/>
          <a:chExt cx="0" cy="0"/>
        </a:xfrm>
      </p:grpSpPr>
      <p:sp>
        <p:nvSpPr>
          <p:cNvPr id="896" name="Google Shape;896;p102"/>
          <p:cNvSpPr/>
          <p:nvPr/>
        </p:nvSpPr>
        <p:spPr>
          <a:xfrm>
            <a:off x="0" y="0"/>
            <a:ext cx="12192000" cy="6858000"/>
          </a:xfrm>
          <a:prstGeom prst="rect">
            <a:avLst/>
          </a:prstGeom>
          <a:gradFill>
            <a:gsLst>
              <a:gs pos="0">
                <a:srgbClr val="062379"/>
              </a:gs>
              <a:gs pos="16000">
                <a:srgbClr val="062379"/>
              </a:gs>
              <a:gs pos="45000">
                <a:srgbClr val="0934B6">
                  <a:alpha val="88235"/>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cxnSp>
        <p:nvCxnSpPr>
          <p:cNvPr id="897" name="Google Shape;897;p102"/>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grpSp>
        <p:nvGrpSpPr>
          <p:cNvPr id="898" name="Google Shape;898;p102"/>
          <p:cNvGrpSpPr/>
          <p:nvPr/>
        </p:nvGrpSpPr>
        <p:grpSpPr>
          <a:xfrm>
            <a:off x="11998459" y="6162188"/>
            <a:ext cx="68500" cy="441925"/>
            <a:chOff x="11998459" y="6162188"/>
            <a:chExt cx="68500" cy="441925"/>
          </a:xfrm>
        </p:grpSpPr>
        <p:sp>
          <p:nvSpPr>
            <p:cNvPr id="899" name="Google Shape;899;p102"/>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00" name="Google Shape;900;p102"/>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01" name="Google Shape;901;p102"/>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02" name="Google Shape;902;p102"/>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03" name="Google Shape;903;p102"/>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04" name="Google Shape;904;p102"/>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05" name="Google Shape;905;p102"/>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06" name="Google Shape;906;p102"/>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07" name="Google Shape;907;p102"/>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08" name="Google Shape;908;p102"/>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09" name="Google Shape;909;p102"/>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10" name="Google Shape;910;p102"/>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11" name="Google Shape;911;p102"/>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grpSp>
      <p:sp>
        <p:nvSpPr>
          <p:cNvPr id="912" name="Google Shape;912;p102"/>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1"/>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sp>
        <p:nvSpPr>
          <p:cNvPr id="913" name="Google Shape;913;p102"/>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914" name="Google Shape;914;p102"/>
          <p:cNvSpPr txBox="1">
            <a:spLocks noGrp="1"/>
          </p:cNvSpPr>
          <p:nvPr>
            <p:ph type="ftr" idx="11"/>
          </p:nvPr>
        </p:nvSpPr>
        <p:spPr>
          <a:xfrm>
            <a:off x="550863" y="6465614"/>
            <a:ext cx="488916"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5" name="Google Shape;915;p102"/>
          <p:cNvSpPr txBox="1">
            <a:spLocks noGrp="1"/>
          </p:cNvSpPr>
          <p:nvPr>
            <p:ph type="title"/>
          </p:nvPr>
        </p:nvSpPr>
        <p:spPr>
          <a:xfrm>
            <a:off x="531813" y="560588"/>
            <a:ext cx="11089972" cy="418576"/>
          </a:xfrm>
          <a:prstGeom prst="rect">
            <a:avLst/>
          </a:prstGeom>
          <a:noFill/>
          <a:ln>
            <a:noFill/>
          </a:ln>
        </p:spPr>
        <p:txBody>
          <a:bodyPr spcFirstLastPara="1" wrap="square" lIns="0" tIns="0" rIns="0" bIns="0" anchor="t" anchorCtr="0">
            <a:spAutoFit/>
          </a:bodyPr>
          <a:lstStyle>
            <a:lvl1pPr lvl="0" algn="l">
              <a:lnSpc>
                <a:spcPct val="85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1/3 Blue on Right">
  <p:cSld name="1/3 Blue on Right">
    <p:spTree>
      <p:nvGrpSpPr>
        <p:cNvPr id="1" name="Shape 916"/>
        <p:cNvGrpSpPr/>
        <p:nvPr/>
      </p:nvGrpSpPr>
      <p:grpSpPr>
        <a:xfrm>
          <a:off x="0" y="0"/>
          <a:ext cx="0" cy="0"/>
          <a:chOff x="0" y="0"/>
          <a:chExt cx="0" cy="0"/>
        </a:xfrm>
      </p:grpSpPr>
      <p:sp>
        <p:nvSpPr>
          <p:cNvPr id="917" name="Google Shape;917;p103"/>
          <p:cNvSpPr/>
          <p:nvPr/>
        </p:nvSpPr>
        <p:spPr>
          <a:xfrm>
            <a:off x="8134763" y="-1"/>
            <a:ext cx="4059776" cy="6858001"/>
          </a:xfrm>
          <a:prstGeom prst="rect">
            <a:avLst/>
          </a:prstGeom>
          <a:gradFill>
            <a:gsLst>
              <a:gs pos="0">
                <a:srgbClr val="062379"/>
              </a:gs>
              <a:gs pos="16000">
                <a:srgbClr val="062379"/>
              </a:gs>
              <a:gs pos="45000">
                <a:srgbClr val="0934B6">
                  <a:alpha val="88235"/>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18" name="Google Shape;918;p103"/>
          <p:cNvSpPr txBox="1">
            <a:spLocks noGrp="1"/>
          </p:cNvSpPr>
          <p:nvPr>
            <p:ph type="sldNum" idx="12"/>
          </p:nvPr>
        </p:nvSpPr>
        <p:spPr>
          <a:xfrm>
            <a:off x="11490453" y="6445294"/>
            <a:ext cx="150683"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9" name="Google Shape;919;p103"/>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920" name="Google Shape;920;p103"/>
          <p:cNvSpPr txBox="1">
            <a:spLocks noGrp="1"/>
          </p:cNvSpPr>
          <p:nvPr>
            <p:ph type="ftr" idx="11"/>
          </p:nvPr>
        </p:nvSpPr>
        <p:spPr>
          <a:xfrm>
            <a:off x="550862" y="6465614"/>
            <a:ext cx="488916"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21" name="Google Shape;921;p103"/>
          <p:cNvGrpSpPr/>
          <p:nvPr/>
        </p:nvGrpSpPr>
        <p:grpSpPr>
          <a:xfrm>
            <a:off x="11979441" y="4535494"/>
            <a:ext cx="110800" cy="2041948"/>
            <a:chOff x="11979441" y="4535495"/>
            <a:chExt cx="110800" cy="2041948"/>
          </a:xfrm>
        </p:grpSpPr>
        <p:grpSp>
          <p:nvGrpSpPr>
            <p:cNvPr id="922" name="Google Shape;922;p103"/>
            <p:cNvGrpSpPr/>
            <p:nvPr/>
          </p:nvGrpSpPr>
          <p:grpSpPr>
            <a:xfrm>
              <a:off x="11998460" y="6135518"/>
              <a:ext cx="68500" cy="441925"/>
              <a:chOff x="11998459" y="6162188"/>
              <a:chExt cx="68500" cy="441925"/>
            </a:xfrm>
          </p:grpSpPr>
          <p:sp>
            <p:nvSpPr>
              <p:cNvPr id="923" name="Google Shape;923;p103"/>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24" name="Google Shape;924;p103"/>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25" name="Google Shape;925;p103"/>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26" name="Google Shape;926;p103"/>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27" name="Google Shape;927;p103"/>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28" name="Google Shape;928;p103"/>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29" name="Google Shape;929;p103"/>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30" name="Google Shape;930;p103"/>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31" name="Google Shape;931;p103"/>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32" name="Google Shape;932;p103"/>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33" name="Google Shape;933;p103"/>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34" name="Google Shape;934;p103"/>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35" name="Google Shape;935;p103"/>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grpSp>
        <p:sp>
          <p:nvSpPr>
            <p:cNvPr id="936" name="Google Shape;936;p103"/>
            <p:cNvSpPr txBox="1"/>
            <p:nvPr/>
          </p:nvSpPr>
          <p:spPr>
            <a:xfrm rot="-5400000">
              <a:off x="11250972" y="526396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2"/>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grpSp>
      <p:sp>
        <p:nvSpPr>
          <p:cNvPr id="937" name="Google Shape;937;p103"/>
          <p:cNvSpPr txBox="1">
            <a:spLocks noGrp="1"/>
          </p:cNvSpPr>
          <p:nvPr>
            <p:ph type="title"/>
          </p:nvPr>
        </p:nvSpPr>
        <p:spPr>
          <a:xfrm>
            <a:off x="531813" y="560588"/>
            <a:ext cx="7061683"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1/2 Blue on Right">
  <p:cSld name="1/2 Blue on Right">
    <p:spTree>
      <p:nvGrpSpPr>
        <p:cNvPr id="1" name="Shape 938"/>
        <p:cNvGrpSpPr/>
        <p:nvPr/>
      </p:nvGrpSpPr>
      <p:grpSpPr>
        <a:xfrm>
          <a:off x="0" y="0"/>
          <a:ext cx="0" cy="0"/>
          <a:chOff x="0" y="0"/>
          <a:chExt cx="0" cy="0"/>
        </a:xfrm>
      </p:grpSpPr>
      <p:sp>
        <p:nvSpPr>
          <p:cNvPr id="939" name="Google Shape;939;p104"/>
          <p:cNvSpPr/>
          <p:nvPr/>
        </p:nvSpPr>
        <p:spPr>
          <a:xfrm>
            <a:off x="6096000" y="-1"/>
            <a:ext cx="6098539" cy="6858001"/>
          </a:xfrm>
          <a:prstGeom prst="rect">
            <a:avLst/>
          </a:prstGeom>
          <a:gradFill>
            <a:gsLst>
              <a:gs pos="0">
                <a:srgbClr val="062379"/>
              </a:gs>
              <a:gs pos="16000">
                <a:srgbClr val="062379"/>
              </a:gs>
              <a:gs pos="45000">
                <a:srgbClr val="0934B6">
                  <a:alpha val="88235"/>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40" name="Google Shape;940;p104"/>
          <p:cNvSpPr txBox="1">
            <a:spLocks noGrp="1"/>
          </p:cNvSpPr>
          <p:nvPr>
            <p:ph type="sldNum" idx="12"/>
          </p:nvPr>
        </p:nvSpPr>
        <p:spPr>
          <a:xfrm>
            <a:off x="11490453" y="6445294"/>
            <a:ext cx="150683"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1" name="Google Shape;941;p104"/>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942" name="Google Shape;942;p104"/>
          <p:cNvSpPr txBox="1">
            <a:spLocks noGrp="1"/>
          </p:cNvSpPr>
          <p:nvPr>
            <p:ph type="ftr" idx="11"/>
          </p:nvPr>
        </p:nvSpPr>
        <p:spPr>
          <a:xfrm>
            <a:off x="550863" y="6465614"/>
            <a:ext cx="488916"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43" name="Google Shape;943;p104"/>
          <p:cNvGrpSpPr/>
          <p:nvPr/>
        </p:nvGrpSpPr>
        <p:grpSpPr>
          <a:xfrm>
            <a:off x="11979441" y="4535494"/>
            <a:ext cx="110800" cy="2041948"/>
            <a:chOff x="11979441" y="4535495"/>
            <a:chExt cx="110800" cy="2041948"/>
          </a:xfrm>
        </p:grpSpPr>
        <p:grpSp>
          <p:nvGrpSpPr>
            <p:cNvPr id="944" name="Google Shape;944;p104"/>
            <p:cNvGrpSpPr/>
            <p:nvPr/>
          </p:nvGrpSpPr>
          <p:grpSpPr>
            <a:xfrm>
              <a:off x="11998460" y="6135518"/>
              <a:ext cx="68500" cy="441925"/>
              <a:chOff x="11998459" y="6162188"/>
              <a:chExt cx="68500" cy="441925"/>
            </a:xfrm>
          </p:grpSpPr>
          <p:sp>
            <p:nvSpPr>
              <p:cNvPr id="945" name="Google Shape;945;p104"/>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46" name="Google Shape;946;p104"/>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47" name="Google Shape;947;p104"/>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48" name="Google Shape;948;p104"/>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49" name="Google Shape;949;p104"/>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50" name="Google Shape;950;p104"/>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51" name="Google Shape;951;p104"/>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52" name="Google Shape;952;p104"/>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53" name="Google Shape;953;p104"/>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54" name="Google Shape;954;p104"/>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55" name="Google Shape;955;p104"/>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56" name="Google Shape;956;p104"/>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57" name="Google Shape;957;p104"/>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grpSp>
        <p:sp>
          <p:nvSpPr>
            <p:cNvPr id="958" name="Google Shape;958;p104"/>
            <p:cNvSpPr txBox="1"/>
            <p:nvPr/>
          </p:nvSpPr>
          <p:spPr>
            <a:xfrm rot="-5400000">
              <a:off x="11250972" y="526396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2"/>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grpSp>
      <p:sp>
        <p:nvSpPr>
          <p:cNvPr id="959" name="Google Shape;959;p104"/>
          <p:cNvSpPr txBox="1">
            <a:spLocks noGrp="1"/>
          </p:cNvSpPr>
          <p:nvPr>
            <p:ph type="title"/>
          </p:nvPr>
        </p:nvSpPr>
        <p:spPr>
          <a:xfrm>
            <a:off x="531813" y="560588"/>
            <a:ext cx="5123552" cy="886397"/>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matchingName="Breaker Slide_1">
  <p:cSld name="Breaker Slide_1">
    <p:bg>
      <p:bgPr>
        <a:solidFill>
          <a:schemeClr val="lt2"/>
        </a:solidFill>
        <a:effectLst/>
      </p:bgPr>
    </p:bg>
    <p:spTree>
      <p:nvGrpSpPr>
        <p:cNvPr id="1" name="Shape 960"/>
        <p:cNvGrpSpPr/>
        <p:nvPr/>
      </p:nvGrpSpPr>
      <p:grpSpPr>
        <a:xfrm>
          <a:off x="0" y="0"/>
          <a:ext cx="0" cy="0"/>
          <a:chOff x="0" y="0"/>
          <a:chExt cx="0" cy="0"/>
        </a:xfrm>
      </p:grpSpPr>
      <p:pic>
        <p:nvPicPr>
          <p:cNvPr id="961" name="Google Shape;961;p105"/>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962" name="Google Shape;962;p105"/>
          <p:cNvSpPr/>
          <p:nvPr/>
        </p:nvSpPr>
        <p:spPr>
          <a:xfrm>
            <a:off x="0" y="0"/>
            <a:ext cx="2682587" cy="6858000"/>
          </a:xfrm>
          <a:prstGeom prst="rect">
            <a:avLst/>
          </a:prstGeom>
          <a:solidFill>
            <a:schemeClr val="lt2">
              <a:alpha val="68235"/>
            </a:scheme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63" name="Google Shape;963;p105"/>
          <p:cNvSpPr/>
          <p:nvPr/>
        </p:nvSpPr>
        <p:spPr>
          <a:xfrm>
            <a:off x="0" y="3700463"/>
            <a:ext cx="9412014" cy="2414587"/>
          </a:xfrm>
          <a:prstGeom prst="rect">
            <a:avLst/>
          </a:prstGeom>
          <a:gradFill>
            <a:gsLst>
              <a:gs pos="0">
                <a:srgbClr val="062379"/>
              </a:gs>
              <a:gs pos="55000">
                <a:srgbClr val="385ED2"/>
              </a:gs>
              <a:gs pos="76000">
                <a:srgbClr val="4873F5">
                  <a:alpha val="88235"/>
                </a:srgbClr>
              </a:gs>
              <a:gs pos="100000">
                <a:srgbClr val="43E1D3">
                  <a:alpha val="88235"/>
                </a:srgbClr>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64" name="Google Shape;964;p105"/>
          <p:cNvSpPr txBox="1">
            <a:spLocks noGrp="1"/>
          </p:cNvSpPr>
          <p:nvPr>
            <p:ph type="title"/>
          </p:nvPr>
        </p:nvSpPr>
        <p:spPr>
          <a:xfrm>
            <a:off x="737591" y="4108436"/>
            <a:ext cx="8494899" cy="1569660"/>
          </a:xfrm>
          <a:prstGeom prst="rect">
            <a:avLst/>
          </a:prstGeom>
          <a:noFill/>
          <a:ln>
            <a:noFill/>
          </a:ln>
          <a:effectLst>
            <a:outerShdw blurRad="190500" algn="tl" rotWithShape="0">
              <a:srgbClr val="000000">
                <a:alpha val="28235"/>
              </a:srgbClr>
            </a:outerShdw>
          </a:effectLst>
        </p:spPr>
        <p:txBody>
          <a:bodyPr spcFirstLastPara="1" wrap="square" lIns="0" tIns="0" rIns="0" bIns="0" anchor="ctr" anchorCtr="0">
            <a:spAutoFit/>
          </a:bodyPr>
          <a:lstStyle>
            <a:lvl1pPr lvl="0" algn="l">
              <a:lnSpc>
                <a:spcPct val="80000"/>
              </a:lnSpc>
              <a:spcBef>
                <a:spcPts val="0"/>
              </a:spcBef>
              <a:spcAft>
                <a:spcPts val="0"/>
              </a:spcAft>
              <a:buClr>
                <a:schemeClr val="lt1"/>
              </a:buClr>
              <a:buSzPts val="6000"/>
              <a:buFont typeface="Franklin Gothic"/>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65" name="Google Shape;965;p105"/>
          <p:cNvGrpSpPr/>
          <p:nvPr/>
        </p:nvGrpSpPr>
        <p:grpSpPr>
          <a:xfrm>
            <a:off x="11998459" y="6162188"/>
            <a:ext cx="68500" cy="441925"/>
            <a:chOff x="11998459" y="6162188"/>
            <a:chExt cx="68500" cy="441925"/>
          </a:xfrm>
        </p:grpSpPr>
        <p:sp>
          <p:nvSpPr>
            <p:cNvPr id="966" name="Google Shape;966;p10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67" name="Google Shape;967;p10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68" name="Google Shape;968;p10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69" name="Google Shape;969;p10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70" name="Google Shape;970;p10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71" name="Google Shape;971;p10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72" name="Google Shape;972;p10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73" name="Google Shape;973;p10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74" name="Google Shape;974;p10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75" name="Google Shape;975;p10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76" name="Google Shape;976;p10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77" name="Google Shape;977;p10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78" name="Google Shape;978;p10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grpSp>
      <p:sp>
        <p:nvSpPr>
          <p:cNvPr id="979" name="Google Shape;979;p105"/>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1"/>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sp>
        <p:nvSpPr>
          <p:cNvPr id="980" name="Google Shape;980;p10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matchingName="Breaker Slide_2">
  <p:cSld name="Breaker Slide_2">
    <p:bg>
      <p:bgPr>
        <a:solidFill>
          <a:schemeClr val="lt2"/>
        </a:solidFill>
        <a:effectLst/>
      </p:bgPr>
    </p:bg>
    <p:spTree>
      <p:nvGrpSpPr>
        <p:cNvPr id="1" name="Shape 981"/>
        <p:cNvGrpSpPr/>
        <p:nvPr/>
      </p:nvGrpSpPr>
      <p:grpSpPr>
        <a:xfrm>
          <a:off x="0" y="0"/>
          <a:ext cx="0" cy="0"/>
          <a:chOff x="0" y="0"/>
          <a:chExt cx="0" cy="0"/>
        </a:xfrm>
      </p:grpSpPr>
      <p:pic>
        <p:nvPicPr>
          <p:cNvPr id="982" name="Google Shape;982;p106"/>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983" name="Google Shape;983;p106"/>
          <p:cNvSpPr/>
          <p:nvPr/>
        </p:nvSpPr>
        <p:spPr>
          <a:xfrm>
            <a:off x="0" y="0"/>
            <a:ext cx="12192000" cy="6858000"/>
          </a:xfrm>
          <a:prstGeom prst="rect">
            <a:avLst/>
          </a:prstGeom>
          <a:gradFill>
            <a:gsLst>
              <a:gs pos="0">
                <a:srgbClr val="062379"/>
              </a:gs>
              <a:gs pos="16000">
                <a:srgbClr val="062379"/>
              </a:gs>
              <a:gs pos="55000">
                <a:srgbClr val="0934B6">
                  <a:alpha val="88235"/>
                </a:srgbClr>
              </a:gs>
              <a:gs pos="85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984" name="Google Shape;984;p106"/>
          <p:cNvSpPr txBox="1">
            <a:spLocks noGrp="1"/>
          </p:cNvSpPr>
          <p:nvPr>
            <p:ph type="title"/>
          </p:nvPr>
        </p:nvSpPr>
        <p:spPr>
          <a:xfrm>
            <a:off x="992390" y="4026897"/>
            <a:ext cx="6785798" cy="1569660"/>
          </a:xfrm>
          <a:prstGeom prst="rect">
            <a:avLst/>
          </a:prstGeom>
          <a:noFill/>
          <a:ln>
            <a:noFill/>
          </a:ln>
          <a:effectLst>
            <a:outerShdw blurRad="190500" algn="tl" rotWithShape="0">
              <a:srgbClr val="000000">
                <a:alpha val="28235"/>
              </a:srgbClr>
            </a:outerShdw>
          </a:effectLst>
        </p:spPr>
        <p:txBody>
          <a:bodyPr spcFirstLastPara="1" wrap="square" lIns="0" tIns="0" rIns="0" bIns="0" anchor="b" anchorCtr="0">
            <a:spAutoFit/>
          </a:bodyPr>
          <a:lstStyle>
            <a:lvl1pPr lvl="0" algn="l">
              <a:lnSpc>
                <a:spcPct val="80000"/>
              </a:lnSpc>
              <a:spcBef>
                <a:spcPts val="0"/>
              </a:spcBef>
              <a:spcAft>
                <a:spcPts val="0"/>
              </a:spcAft>
              <a:buClr>
                <a:schemeClr val="lt1"/>
              </a:buClr>
              <a:buSzPts val="6000"/>
              <a:buFont typeface="Franklin Gothic"/>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5" name="Google Shape;985;p106"/>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86" name="Google Shape;986;p106"/>
          <p:cNvCxnSpPr/>
          <p:nvPr/>
        </p:nvCxnSpPr>
        <p:spPr>
          <a:xfrm>
            <a:off x="992389" y="5712304"/>
            <a:ext cx="1542466" cy="0"/>
          </a:xfrm>
          <a:prstGeom prst="straightConnector1">
            <a:avLst/>
          </a:prstGeom>
          <a:noFill/>
          <a:ln w="38100" cap="flat" cmpd="sng">
            <a:solidFill>
              <a:schemeClr val="lt1"/>
            </a:solidFill>
            <a:prstDash val="solid"/>
            <a:miter lim="800000"/>
            <a:headEnd type="none" w="sm" len="sm"/>
            <a:tailEnd type="none" w="sm" len="sm"/>
          </a:ln>
        </p:spPr>
      </p:cxnSp>
      <p:grpSp>
        <p:nvGrpSpPr>
          <p:cNvPr id="987" name="Google Shape;987;p106"/>
          <p:cNvGrpSpPr/>
          <p:nvPr/>
        </p:nvGrpSpPr>
        <p:grpSpPr>
          <a:xfrm>
            <a:off x="11979441" y="4535494"/>
            <a:ext cx="110800" cy="2041948"/>
            <a:chOff x="11979441" y="4535495"/>
            <a:chExt cx="110800" cy="2041948"/>
          </a:xfrm>
        </p:grpSpPr>
        <p:grpSp>
          <p:nvGrpSpPr>
            <p:cNvPr id="988" name="Google Shape;988;p106"/>
            <p:cNvGrpSpPr/>
            <p:nvPr/>
          </p:nvGrpSpPr>
          <p:grpSpPr>
            <a:xfrm>
              <a:off x="11998460" y="6135518"/>
              <a:ext cx="68500" cy="441925"/>
              <a:chOff x="11998459" y="6162188"/>
              <a:chExt cx="68500" cy="441925"/>
            </a:xfrm>
          </p:grpSpPr>
          <p:sp>
            <p:nvSpPr>
              <p:cNvPr id="989" name="Google Shape;989;p106"/>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90" name="Google Shape;990;p106"/>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91" name="Google Shape;991;p106"/>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92" name="Google Shape;992;p106"/>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93" name="Google Shape;993;p106"/>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94" name="Google Shape;994;p106"/>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95" name="Google Shape;995;p106"/>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96" name="Google Shape;996;p106"/>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97" name="Google Shape;997;p106"/>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98" name="Google Shape;998;p106"/>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999" name="Google Shape;999;p106"/>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000" name="Google Shape;1000;p106"/>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001" name="Google Shape;1001;p106"/>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grpSp>
        <p:sp>
          <p:nvSpPr>
            <p:cNvPr id="1002" name="Google Shape;1002;p106"/>
            <p:cNvSpPr txBox="1"/>
            <p:nvPr/>
          </p:nvSpPr>
          <p:spPr>
            <a:xfrm rot="-5400000">
              <a:off x="11250972" y="526396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2"/>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gr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matchingName="Last Page">
  <p:cSld name="Last Page">
    <p:spTree>
      <p:nvGrpSpPr>
        <p:cNvPr id="1" name="Shape 1003"/>
        <p:cNvGrpSpPr/>
        <p:nvPr/>
      </p:nvGrpSpPr>
      <p:grpSpPr>
        <a:xfrm>
          <a:off x="0" y="0"/>
          <a:ext cx="0" cy="0"/>
          <a:chOff x="0" y="0"/>
          <a:chExt cx="0" cy="0"/>
        </a:xfrm>
      </p:grpSpPr>
      <p:sp>
        <p:nvSpPr>
          <p:cNvPr id="1004" name="Google Shape;1004;p107"/>
          <p:cNvSpPr/>
          <p:nvPr/>
        </p:nvSpPr>
        <p:spPr>
          <a:xfrm>
            <a:off x="0" y="0"/>
            <a:ext cx="12192000" cy="6858000"/>
          </a:xfrm>
          <a:prstGeom prst="rect">
            <a:avLst/>
          </a:prstGeom>
          <a:gradFill>
            <a:gsLst>
              <a:gs pos="0">
                <a:srgbClr val="062379"/>
              </a:gs>
              <a:gs pos="16000">
                <a:srgbClr val="062379"/>
              </a:gs>
              <a:gs pos="45000">
                <a:srgbClr val="0934B6">
                  <a:alpha val="88235"/>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1005" name="Google Shape;1005;p107"/>
          <p:cNvSpPr txBox="1"/>
          <p:nvPr/>
        </p:nvSpPr>
        <p:spPr>
          <a:xfrm>
            <a:off x="550863" y="5965461"/>
            <a:ext cx="3028906"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sng" strike="noStrike" cap="none">
                <a:solidFill>
                  <a:srgbClr val="43E1D3"/>
                </a:solidFill>
                <a:latin typeface="Calibri"/>
                <a:ea typeface="Calibri"/>
                <a:cs typeface="Calibri"/>
                <a:sym typeface="Calibri"/>
                <a:hlinkClick r:id="rId2">
                  <a:extLst>
                    <a:ext uri="{A12FA001-AC4F-418D-AE19-62706E023703}">
                      <ahyp:hlinkClr xmlns:ahyp="http://schemas.microsoft.com/office/drawing/2018/hyperlinkcolor" val="tx"/>
                    </a:ext>
                  </a:extLst>
                </a:hlinkClick>
              </a:rPr>
              <a:t>www.infomineo.com</a:t>
            </a:r>
            <a:endParaRPr sz="1200" b="1" i="0" u="sng" strike="noStrike" cap="none">
              <a:solidFill>
                <a:srgbClr val="43E1D3"/>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lt1"/>
                </a:solidFill>
                <a:latin typeface="Calibri"/>
                <a:ea typeface="Calibri"/>
                <a:cs typeface="Calibri"/>
                <a:sym typeface="Calibri"/>
              </a:rPr>
              <a:t>Infomineo Copyright © 2020. All rights reserved.</a:t>
            </a:r>
            <a:endParaRPr sz="1400" b="0" i="0" u="none" strike="noStrike" cap="none">
              <a:solidFill>
                <a:srgbClr val="000000"/>
              </a:solidFill>
              <a:latin typeface="Arial"/>
              <a:ea typeface="Arial"/>
              <a:cs typeface="Arial"/>
              <a:sym typeface="Arial"/>
            </a:endParaRPr>
          </a:p>
        </p:txBody>
      </p:sp>
      <p:pic>
        <p:nvPicPr>
          <p:cNvPr id="1006" name="Google Shape;1006;p107"/>
          <p:cNvPicPr preferRelativeResize="0"/>
          <p:nvPr/>
        </p:nvPicPr>
        <p:blipFill rotWithShape="1">
          <a:blip r:embed="rId3">
            <a:alphaModFix/>
          </a:blip>
          <a:srcRect/>
          <a:stretch/>
        </p:blipFill>
        <p:spPr>
          <a:xfrm>
            <a:off x="4256669" y="3006053"/>
            <a:ext cx="3678662" cy="845895"/>
          </a:xfrm>
          <a:prstGeom prst="rect">
            <a:avLst/>
          </a:prstGeom>
          <a:noFill/>
          <a:ln>
            <a:noFill/>
          </a:ln>
        </p:spPr>
      </p:pic>
      <p:pic>
        <p:nvPicPr>
          <p:cNvPr id="1007" name="Google Shape;1007;p107">
            <a:hlinkClick r:id="rId4"/>
          </p:cNvPr>
          <p:cNvPicPr preferRelativeResize="0"/>
          <p:nvPr/>
        </p:nvPicPr>
        <p:blipFill rotWithShape="1">
          <a:blip r:embed="rId5">
            <a:alphaModFix/>
          </a:blip>
          <a:srcRect/>
          <a:stretch/>
        </p:blipFill>
        <p:spPr>
          <a:xfrm>
            <a:off x="11323329" y="5965461"/>
            <a:ext cx="370332" cy="370332"/>
          </a:xfrm>
          <a:prstGeom prst="rect">
            <a:avLst/>
          </a:prstGeom>
          <a:noFill/>
          <a:ln>
            <a:noFill/>
          </a:ln>
        </p:spPr>
      </p:pic>
      <p:pic>
        <p:nvPicPr>
          <p:cNvPr id="1008" name="Google Shape;1008;p107">
            <a:hlinkClick r:id="rId6"/>
          </p:cNvPr>
          <p:cNvPicPr preferRelativeResize="0"/>
          <p:nvPr/>
        </p:nvPicPr>
        <p:blipFill rotWithShape="1">
          <a:blip r:embed="rId7">
            <a:alphaModFix/>
          </a:blip>
          <a:srcRect/>
          <a:stretch/>
        </p:blipFill>
        <p:spPr>
          <a:xfrm>
            <a:off x="10825964" y="5965461"/>
            <a:ext cx="368808" cy="370332"/>
          </a:xfrm>
          <a:prstGeom prst="rect">
            <a:avLst/>
          </a:prstGeom>
          <a:noFill/>
          <a:ln>
            <a:noFill/>
          </a:ln>
        </p:spPr>
      </p:pic>
      <p:pic>
        <p:nvPicPr>
          <p:cNvPr id="1009" name="Google Shape;1009;p107">
            <a:hlinkClick r:id="rId8"/>
          </p:cNvPr>
          <p:cNvPicPr preferRelativeResize="0"/>
          <p:nvPr/>
        </p:nvPicPr>
        <p:blipFill rotWithShape="1">
          <a:blip r:embed="rId9">
            <a:alphaModFix/>
          </a:blip>
          <a:srcRect/>
          <a:stretch/>
        </p:blipFill>
        <p:spPr>
          <a:xfrm>
            <a:off x="10328599" y="5965461"/>
            <a:ext cx="368808" cy="370332"/>
          </a:xfrm>
          <a:prstGeom prst="rect">
            <a:avLst/>
          </a:prstGeom>
          <a:noFill/>
          <a:ln>
            <a:noFill/>
          </a:ln>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1/3 Grey on Left">
  <p:cSld name="1/3 Grey on Left">
    <p:spTree>
      <p:nvGrpSpPr>
        <p:cNvPr id="1" name="Shape 98"/>
        <p:cNvGrpSpPr/>
        <p:nvPr/>
      </p:nvGrpSpPr>
      <p:grpSpPr>
        <a:xfrm>
          <a:off x="0" y="0"/>
          <a:ext cx="0" cy="0"/>
          <a:chOff x="0" y="0"/>
          <a:chExt cx="0" cy="0"/>
        </a:xfrm>
      </p:grpSpPr>
      <p:sp>
        <p:nvSpPr>
          <p:cNvPr id="99" name="Google Shape;99;p52"/>
          <p:cNvSpPr/>
          <p:nvPr/>
        </p:nvSpPr>
        <p:spPr>
          <a:xfrm>
            <a:off x="0" y="-1"/>
            <a:ext cx="4059776" cy="6857999"/>
          </a:xfrm>
          <a:prstGeom prst="rect">
            <a:avLst/>
          </a:pr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 name="Google Shape;100;p52"/>
          <p:cNvSpPr txBox="1">
            <a:spLocks noGrp="1"/>
          </p:cNvSpPr>
          <p:nvPr>
            <p:ph type="title"/>
          </p:nvPr>
        </p:nvSpPr>
        <p:spPr>
          <a:xfrm>
            <a:off x="539400" y="562841"/>
            <a:ext cx="3077171"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 name="Google Shape;101;p52"/>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 name="Google Shape;102;p52"/>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103" name="Google Shape;103;p52"/>
          <p:cNvSpPr txBox="1">
            <a:spLocks noGrp="1"/>
          </p:cNvSpPr>
          <p:nvPr>
            <p:ph type="ftr" idx="11"/>
          </p:nvPr>
        </p:nvSpPr>
        <p:spPr>
          <a:xfrm>
            <a:off x="436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matchingName="Guides">
  <p:cSld name="Guides">
    <p:spTree>
      <p:nvGrpSpPr>
        <p:cNvPr id="1" name="Shape 1010"/>
        <p:cNvGrpSpPr/>
        <p:nvPr/>
      </p:nvGrpSpPr>
      <p:grpSpPr>
        <a:xfrm>
          <a:off x="0" y="0"/>
          <a:ext cx="0" cy="0"/>
          <a:chOff x="0" y="0"/>
          <a:chExt cx="0" cy="0"/>
        </a:xfrm>
      </p:grpSpPr>
      <p:sp>
        <p:nvSpPr>
          <p:cNvPr id="1011" name="Google Shape;1011;p108"/>
          <p:cNvSpPr/>
          <p:nvPr/>
        </p:nvSpPr>
        <p:spPr>
          <a:xfrm>
            <a:off x="0" y="0"/>
            <a:ext cx="12193200" cy="6858000"/>
          </a:xfrm>
          <a:custGeom>
            <a:avLst/>
            <a:gdLst/>
            <a:ahLst/>
            <a:cxnLst/>
            <a:rect l="l" t="t" r="r" b="b"/>
            <a:pathLst>
              <a:path w="12193200" h="6858000" extrusionOk="0">
                <a:moveTo>
                  <a:pt x="566584" y="549276"/>
                </a:moveTo>
                <a:lnTo>
                  <a:pt x="566584" y="6308726"/>
                </a:lnTo>
                <a:lnTo>
                  <a:pt x="11641138" y="6308726"/>
                </a:lnTo>
                <a:lnTo>
                  <a:pt x="11641138" y="549276"/>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0000">
              <a:alpha val="3137"/>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dk1"/>
              </a:solidFill>
              <a:latin typeface="Calibri"/>
              <a:ea typeface="Calibri"/>
              <a:cs typeface="Calibri"/>
              <a:sym typeface="Calibri"/>
            </a:endParaRPr>
          </a:p>
        </p:txBody>
      </p:sp>
      <p:grpSp>
        <p:nvGrpSpPr>
          <p:cNvPr id="1012" name="Google Shape;1012;p108"/>
          <p:cNvGrpSpPr/>
          <p:nvPr/>
        </p:nvGrpSpPr>
        <p:grpSpPr>
          <a:xfrm>
            <a:off x="-600" y="549275"/>
            <a:ext cx="12193201" cy="5759450"/>
            <a:chOff x="-600" y="549275"/>
            <a:chExt cx="12193201" cy="5759450"/>
          </a:xfrm>
        </p:grpSpPr>
        <p:cxnSp>
          <p:nvCxnSpPr>
            <p:cNvPr id="1013" name="Google Shape;1013;p108"/>
            <p:cNvCxnSpPr/>
            <p:nvPr/>
          </p:nvCxnSpPr>
          <p:spPr>
            <a:xfrm>
              <a:off x="-600" y="54927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1014" name="Google Shape;1014;p108"/>
            <p:cNvCxnSpPr/>
            <p:nvPr/>
          </p:nvCxnSpPr>
          <p:spPr>
            <a:xfrm>
              <a:off x="-600" y="1072861"/>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1015" name="Google Shape;1015;p108"/>
            <p:cNvCxnSpPr/>
            <p:nvPr/>
          </p:nvCxnSpPr>
          <p:spPr>
            <a:xfrm>
              <a:off x="-600" y="1334654"/>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1016" name="Google Shape;1016;p108"/>
            <p:cNvCxnSpPr/>
            <p:nvPr/>
          </p:nvCxnSpPr>
          <p:spPr>
            <a:xfrm>
              <a:off x="-600" y="1596447"/>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1017" name="Google Shape;1017;p108"/>
            <p:cNvCxnSpPr/>
            <p:nvPr/>
          </p:nvCxnSpPr>
          <p:spPr>
            <a:xfrm>
              <a:off x="-600" y="1858240"/>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1018" name="Google Shape;1018;p108"/>
            <p:cNvCxnSpPr/>
            <p:nvPr/>
          </p:nvCxnSpPr>
          <p:spPr>
            <a:xfrm>
              <a:off x="-600" y="2120033"/>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1019" name="Google Shape;1019;p108"/>
            <p:cNvCxnSpPr/>
            <p:nvPr/>
          </p:nvCxnSpPr>
          <p:spPr>
            <a:xfrm>
              <a:off x="-600" y="2381826"/>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1020" name="Google Shape;1020;p108"/>
            <p:cNvCxnSpPr/>
            <p:nvPr/>
          </p:nvCxnSpPr>
          <p:spPr>
            <a:xfrm>
              <a:off x="-600" y="2643619"/>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1021" name="Google Shape;1021;p108"/>
            <p:cNvCxnSpPr/>
            <p:nvPr/>
          </p:nvCxnSpPr>
          <p:spPr>
            <a:xfrm>
              <a:off x="-600" y="2905412"/>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1022" name="Google Shape;1022;p108"/>
            <p:cNvCxnSpPr/>
            <p:nvPr/>
          </p:nvCxnSpPr>
          <p:spPr>
            <a:xfrm>
              <a:off x="-600" y="316720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1023" name="Google Shape;1023;p108"/>
            <p:cNvCxnSpPr/>
            <p:nvPr/>
          </p:nvCxnSpPr>
          <p:spPr>
            <a:xfrm>
              <a:off x="-600" y="342899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1024" name="Google Shape;1024;p108"/>
            <p:cNvCxnSpPr/>
            <p:nvPr/>
          </p:nvCxnSpPr>
          <p:spPr>
            <a:xfrm>
              <a:off x="-600" y="3690791"/>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1025" name="Google Shape;1025;p108"/>
            <p:cNvCxnSpPr/>
            <p:nvPr/>
          </p:nvCxnSpPr>
          <p:spPr>
            <a:xfrm>
              <a:off x="-600" y="3952584"/>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1026" name="Google Shape;1026;p108"/>
            <p:cNvCxnSpPr/>
            <p:nvPr/>
          </p:nvCxnSpPr>
          <p:spPr>
            <a:xfrm>
              <a:off x="-600" y="4214377"/>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1027" name="Google Shape;1027;p108"/>
            <p:cNvCxnSpPr/>
            <p:nvPr/>
          </p:nvCxnSpPr>
          <p:spPr>
            <a:xfrm>
              <a:off x="-600" y="4476170"/>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1028" name="Google Shape;1028;p108"/>
            <p:cNvCxnSpPr/>
            <p:nvPr/>
          </p:nvCxnSpPr>
          <p:spPr>
            <a:xfrm>
              <a:off x="-600" y="4737963"/>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1029" name="Google Shape;1029;p108"/>
            <p:cNvCxnSpPr/>
            <p:nvPr/>
          </p:nvCxnSpPr>
          <p:spPr>
            <a:xfrm>
              <a:off x="-600" y="4999756"/>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1030" name="Google Shape;1030;p108"/>
            <p:cNvCxnSpPr/>
            <p:nvPr/>
          </p:nvCxnSpPr>
          <p:spPr>
            <a:xfrm>
              <a:off x="-600" y="5261549"/>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1031" name="Google Shape;1031;p108"/>
            <p:cNvCxnSpPr/>
            <p:nvPr/>
          </p:nvCxnSpPr>
          <p:spPr>
            <a:xfrm>
              <a:off x="-600" y="5523342"/>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1032" name="Google Shape;1032;p108"/>
            <p:cNvCxnSpPr/>
            <p:nvPr/>
          </p:nvCxnSpPr>
          <p:spPr>
            <a:xfrm>
              <a:off x="-600" y="578513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1033" name="Google Shape;1033;p108"/>
            <p:cNvCxnSpPr/>
            <p:nvPr/>
          </p:nvCxnSpPr>
          <p:spPr>
            <a:xfrm>
              <a:off x="-600" y="81106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1034" name="Google Shape;1034;p108"/>
            <p:cNvCxnSpPr/>
            <p:nvPr/>
          </p:nvCxnSpPr>
          <p:spPr>
            <a:xfrm>
              <a:off x="-600" y="630872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1035" name="Google Shape;1035;p108"/>
            <p:cNvCxnSpPr/>
            <p:nvPr/>
          </p:nvCxnSpPr>
          <p:spPr>
            <a:xfrm>
              <a:off x="-600" y="604692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grpSp>
      <p:sp>
        <p:nvSpPr>
          <p:cNvPr id="1036" name="Google Shape;1036;p108"/>
          <p:cNvSpPr/>
          <p:nvPr/>
        </p:nvSpPr>
        <p:spPr>
          <a:xfrm>
            <a:off x="550263" y="6308721"/>
            <a:ext cx="11090873" cy="261799"/>
          </a:xfrm>
          <a:prstGeom prst="rect">
            <a:avLst/>
          </a:prstGeom>
          <a:solidFill>
            <a:srgbClr val="FF0000">
              <a:alpha val="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037" name="Google Shape;1037;p108"/>
          <p:cNvSpPr/>
          <p:nvPr/>
        </p:nvSpPr>
        <p:spPr>
          <a:xfrm>
            <a:off x="550864" y="1348221"/>
            <a:ext cx="11105556" cy="509202"/>
          </a:xfrm>
          <a:prstGeom prst="rect">
            <a:avLst/>
          </a:prstGeom>
          <a:solidFill>
            <a:srgbClr val="FF0000">
              <a:alpha val="3137"/>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038" name="Google Shape;1038;p108"/>
          <p:cNvSpPr/>
          <p:nvPr/>
        </p:nvSpPr>
        <p:spPr>
          <a:xfrm>
            <a:off x="550863" y="2120033"/>
            <a:ext cx="11090275" cy="4188692"/>
          </a:xfrm>
          <a:custGeom>
            <a:avLst/>
            <a:gdLst/>
            <a:ahLst/>
            <a:cxnLst/>
            <a:rect l="l" t="t" r="r" b="b"/>
            <a:pathLst>
              <a:path w="10931999" h="5537797" extrusionOk="0">
                <a:moveTo>
                  <a:pt x="0" y="0"/>
                </a:moveTo>
                <a:lnTo>
                  <a:pt x="10931999" y="0"/>
                </a:lnTo>
                <a:lnTo>
                  <a:pt x="10931999" y="5537797"/>
                </a:lnTo>
                <a:lnTo>
                  <a:pt x="0" y="5537797"/>
                </a:lnTo>
                <a:close/>
              </a:path>
            </a:pathLst>
          </a:custGeom>
          <a:noFill/>
          <a:ln w="9525" cap="flat" cmpd="sng">
            <a:solidFill>
              <a:schemeClr val="dk2">
                <a:alpha val="33333"/>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1200" b="0" i="0" u="none" strike="noStrike" cap="none">
              <a:solidFill>
                <a:schemeClr val="lt1"/>
              </a:solidFill>
              <a:latin typeface="Calibri"/>
              <a:ea typeface="Calibri"/>
              <a:cs typeface="Calibri"/>
              <a:sym typeface="Calibri"/>
            </a:endParaRPr>
          </a:p>
        </p:txBody>
      </p:sp>
      <p:grpSp>
        <p:nvGrpSpPr>
          <p:cNvPr id="1039" name="Google Shape;1039;p108"/>
          <p:cNvGrpSpPr/>
          <p:nvPr/>
        </p:nvGrpSpPr>
        <p:grpSpPr>
          <a:xfrm>
            <a:off x="1215339" y="1857423"/>
            <a:ext cx="9763000" cy="4458091"/>
            <a:chOff x="1215339" y="549274"/>
            <a:chExt cx="9763000" cy="5759450"/>
          </a:xfrm>
        </p:grpSpPr>
        <p:sp>
          <p:nvSpPr>
            <p:cNvPr id="1040" name="Google Shape;1040;p108"/>
            <p:cNvSpPr/>
            <p:nvPr/>
          </p:nvSpPr>
          <p:spPr>
            <a:xfrm>
              <a:off x="6900339" y="549274"/>
              <a:ext cx="288000" cy="5759450"/>
            </a:xfrm>
            <a:prstGeom prst="rect">
              <a:avLst/>
            </a:prstGeom>
            <a:solidFill>
              <a:srgbClr val="9EB5FA">
                <a:alpha val="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041" name="Google Shape;1041;p108"/>
            <p:cNvSpPr/>
            <p:nvPr/>
          </p:nvSpPr>
          <p:spPr>
            <a:xfrm>
              <a:off x="8795339" y="549274"/>
              <a:ext cx="288000" cy="5759450"/>
            </a:xfrm>
            <a:prstGeom prst="rect">
              <a:avLst/>
            </a:prstGeom>
            <a:solidFill>
              <a:srgbClr val="9EB5FA">
                <a:alpha val="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042" name="Google Shape;1042;p108"/>
            <p:cNvSpPr/>
            <p:nvPr/>
          </p:nvSpPr>
          <p:spPr>
            <a:xfrm>
              <a:off x="7847839" y="549274"/>
              <a:ext cx="288000" cy="5759450"/>
            </a:xfrm>
            <a:prstGeom prst="rect">
              <a:avLst/>
            </a:prstGeom>
            <a:solidFill>
              <a:srgbClr val="9EB5FA">
                <a:alpha val="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043" name="Google Shape;1043;p108"/>
            <p:cNvSpPr/>
            <p:nvPr/>
          </p:nvSpPr>
          <p:spPr>
            <a:xfrm>
              <a:off x="9742839" y="549274"/>
              <a:ext cx="288000" cy="5759450"/>
            </a:xfrm>
            <a:prstGeom prst="rect">
              <a:avLst/>
            </a:prstGeom>
            <a:solidFill>
              <a:srgbClr val="9EB5FA">
                <a:alpha val="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044" name="Google Shape;1044;p108"/>
            <p:cNvSpPr/>
            <p:nvPr/>
          </p:nvSpPr>
          <p:spPr>
            <a:xfrm>
              <a:off x="10690339" y="549274"/>
              <a:ext cx="288000" cy="5759450"/>
            </a:xfrm>
            <a:prstGeom prst="rect">
              <a:avLst/>
            </a:prstGeom>
            <a:solidFill>
              <a:srgbClr val="9EB5FA">
                <a:alpha val="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045" name="Google Shape;1045;p108"/>
            <p:cNvSpPr/>
            <p:nvPr/>
          </p:nvSpPr>
          <p:spPr>
            <a:xfrm>
              <a:off x="5952839" y="549274"/>
              <a:ext cx="288000" cy="5759450"/>
            </a:xfrm>
            <a:prstGeom prst="rect">
              <a:avLst/>
            </a:prstGeom>
            <a:solidFill>
              <a:srgbClr val="9EB5FA">
                <a:alpha val="2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046" name="Google Shape;1046;p108"/>
            <p:cNvSpPr/>
            <p:nvPr/>
          </p:nvSpPr>
          <p:spPr>
            <a:xfrm>
              <a:off x="1215339" y="549274"/>
              <a:ext cx="288000" cy="5759450"/>
            </a:xfrm>
            <a:prstGeom prst="rect">
              <a:avLst/>
            </a:prstGeom>
            <a:solidFill>
              <a:srgbClr val="9EB5FA">
                <a:alpha val="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047" name="Google Shape;1047;p108"/>
            <p:cNvSpPr/>
            <p:nvPr/>
          </p:nvSpPr>
          <p:spPr>
            <a:xfrm>
              <a:off x="2162839" y="549274"/>
              <a:ext cx="288000" cy="5759450"/>
            </a:xfrm>
            <a:prstGeom prst="rect">
              <a:avLst/>
            </a:prstGeom>
            <a:solidFill>
              <a:srgbClr val="9EB5FA">
                <a:alpha val="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048" name="Google Shape;1048;p108"/>
            <p:cNvSpPr/>
            <p:nvPr/>
          </p:nvSpPr>
          <p:spPr>
            <a:xfrm>
              <a:off x="3110339" y="549274"/>
              <a:ext cx="288000" cy="5759450"/>
            </a:xfrm>
            <a:prstGeom prst="rect">
              <a:avLst/>
            </a:prstGeom>
            <a:solidFill>
              <a:srgbClr val="9EB5FA">
                <a:alpha val="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049" name="Google Shape;1049;p108"/>
            <p:cNvSpPr/>
            <p:nvPr/>
          </p:nvSpPr>
          <p:spPr>
            <a:xfrm>
              <a:off x="4057839" y="549274"/>
              <a:ext cx="288000" cy="5759450"/>
            </a:xfrm>
            <a:prstGeom prst="rect">
              <a:avLst/>
            </a:prstGeom>
            <a:solidFill>
              <a:srgbClr val="9EB5FA">
                <a:alpha val="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050" name="Google Shape;1050;p108"/>
            <p:cNvSpPr/>
            <p:nvPr/>
          </p:nvSpPr>
          <p:spPr>
            <a:xfrm>
              <a:off x="5005339" y="549274"/>
              <a:ext cx="288000" cy="5759450"/>
            </a:xfrm>
            <a:prstGeom prst="rect">
              <a:avLst/>
            </a:prstGeom>
            <a:solidFill>
              <a:srgbClr val="9EB5FA">
                <a:alpha val="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grpSp>
      <p:sp>
        <p:nvSpPr>
          <p:cNvPr id="1051" name="Google Shape;1051;p108"/>
          <p:cNvSpPr txBox="1"/>
          <p:nvPr/>
        </p:nvSpPr>
        <p:spPr>
          <a:xfrm>
            <a:off x="550862" y="6309543"/>
            <a:ext cx="9030915" cy="277705"/>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7F7F7F"/>
              </a:buClr>
              <a:buSzPts val="1000"/>
              <a:buFont typeface="Arial"/>
              <a:buNone/>
            </a:pPr>
            <a:r>
              <a:rPr lang="en-US" sz="1000" b="0" i="0" u="none" strike="noStrike" cap="none">
                <a:solidFill>
                  <a:srgbClr val="7F7F7F"/>
                </a:solidFill>
                <a:latin typeface="Calibri"/>
                <a:ea typeface="Calibri"/>
                <a:cs typeface="Calibri"/>
                <a:sym typeface="Calibri"/>
              </a:rPr>
              <a:t>Footnotes/Notes</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0"/>
              </a:spcBef>
              <a:spcAft>
                <a:spcPts val="0"/>
              </a:spcAft>
              <a:buClr>
                <a:srgbClr val="7F7F7F"/>
              </a:buClr>
              <a:buSzPts val="1000"/>
              <a:buFont typeface="Arial"/>
              <a:buNone/>
            </a:pPr>
            <a:r>
              <a:rPr lang="en-US" sz="1000" b="0" i="0" u="none" strike="noStrike" cap="none">
                <a:solidFill>
                  <a:srgbClr val="7F7F7F"/>
                </a:solidFill>
                <a:latin typeface="Calibri"/>
                <a:ea typeface="Calibri"/>
                <a:cs typeface="Calibri"/>
                <a:sym typeface="Calibri"/>
              </a:rPr>
              <a:t>Source: Include a source here</a:t>
            </a:r>
            <a:endParaRPr sz="1400" b="0" i="0" u="none" strike="noStrike" cap="none">
              <a:solidFill>
                <a:srgbClr val="000000"/>
              </a:solidFill>
              <a:latin typeface="Arial"/>
              <a:ea typeface="Arial"/>
              <a:cs typeface="Arial"/>
              <a:sym typeface="Arial"/>
            </a:endParaRPr>
          </a:p>
        </p:txBody>
      </p:sp>
      <p:sp>
        <p:nvSpPr>
          <p:cNvPr id="1052" name="Google Shape;1052;p108"/>
          <p:cNvSpPr txBox="1">
            <a:spLocks noGrp="1"/>
          </p:cNvSpPr>
          <p:nvPr>
            <p:ph type="sldNum" idx="12"/>
          </p:nvPr>
        </p:nvSpPr>
        <p:spPr>
          <a:xfrm>
            <a:off x="11490153" y="6450225"/>
            <a:ext cx="150682" cy="153888"/>
          </a:xfrm>
          <a:prstGeom prst="rect">
            <a:avLst/>
          </a:prstGeom>
          <a:noFill/>
          <a:ln>
            <a:noFill/>
          </a:ln>
        </p:spPr>
        <p:txBody>
          <a:bodyPr spcFirstLastPara="1" wrap="square" lIns="0" tIns="0" rIns="0" bIns="0" anchor="b" anchorCtr="0">
            <a:sp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grpSp>
        <p:nvGrpSpPr>
          <p:cNvPr id="1053" name="Google Shape;1053;p108"/>
          <p:cNvGrpSpPr/>
          <p:nvPr/>
        </p:nvGrpSpPr>
        <p:grpSpPr>
          <a:xfrm>
            <a:off x="550864" y="6156603"/>
            <a:ext cx="11089971" cy="55199"/>
            <a:chOff x="550864" y="6156603"/>
            <a:chExt cx="11089971" cy="55199"/>
          </a:xfrm>
        </p:grpSpPr>
        <p:sp>
          <p:nvSpPr>
            <p:cNvPr id="1054" name="Google Shape;1054;p108"/>
            <p:cNvSpPr/>
            <p:nvPr/>
          </p:nvSpPr>
          <p:spPr>
            <a:xfrm>
              <a:off x="550864" y="6156603"/>
              <a:ext cx="1983600" cy="55199"/>
            </a:xfrm>
            <a:prstGeom prst="rect">
              <a:avLst/>
            </a:prstGeom>
            <a:solidFill>
              <a:srgbClr val="9EB5FA">
                <a:alpha val="2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dk1"/>
                </a:solidFill>
                <a:latin typeface="Calibri"/>
                <a:ea typeface="Calibri"/>
                <a:cs typeface="Calibri"/>
                <a:sym typeface="Calibri"/>
              </a:endParaRPr>
            </a:p>
          </p:txBody>
        </p:sp>
        <p:sp>
          <p:nvSpPr>
            <p:cNvPr id="1055" name="Google Shape;1055;p108"/>
            <p:cNvSpPr/>
            <p:nvPr/>
          </p:nvSpPr>
          <p:spPr>
            <a:xfrm>
              <a:off x="5104050" y="6156603"/>
              <a:ext cx="1983600" cy="55199"/>
            </a:xfrm>
            <a:prstGeom prst="rect">
              <a:avLst/>
            </a:prstGeom>
            <a:solidFill>
              <a:srgbClr val="9EB5FA">
                <a:alpha val="2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dk1"/>
                </a:solidFill>
                <a:latin typeface="Calibri"/>
                <a:ea typeface="Calibri"/>
                <a:cs typeface="Calibri"/>
                <a:sym typeface="Calibri"/>
              </a:endParaRPr>
            </a:p>
          </p:txBody>
        </p:sp>
        <p:sp>
          <p:nvSpPr>
            <p:cNvPr id="1056" name="Google Shape;1056;p108"/>
            <p:cNvSpPr/>
            <p:nvPr/>
          </p:nvSpPr>
          <p:spPr>
            <a:xfrm>
              <a:off x="7380643" y="6156603"/>
              <a:ext cx="1983600" cy="55199"/>
            </a:xfrm>
            <a:prstGeom prst="rect">
              <a:avLst/>
            </a:prstGeom>
            <a:solidFill>
              <a:srgbClr val="9EB5FA">
                <a:alpha val="2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dk1"/>
                </a:solidFill>
                <a:latin typeface="Calibri"/>
                <a:ea typeface="Calibri"/>
                <a:cs typeface="Calibri"/>
                <a:sym typeface="Calibri"/>
              </a:endParaRPr>
            </a:p>
          </p:txBody>
        </p:sp>
        <p:sp>
          <p:nvSpPr>
            <p:cNvPr id="1057" name="Google Shape;1057;p108"/>
            <p:cNvSpPr/>
            <p:nvPr/>
          </p:nvSpPr>
          <p:spPr>
            <a:xfrm>
              <a:off x="9657235" y="6156603"/>
              <a:ext cx="1983600" cy="55199"/>
            </a:xfrm>
            <a:prstGeom prst="rect">
              <a:avLst/>
            </a:prstGeom>
            <a:solidFill>
              <a:srgbClr val="9EB5FA">
                <a:alpha val="2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dk1"/>
                </a:solidFill>
                <a:latin typeface="Calibri"/>
                <a:ea typeface="Calibri"/>
                <a:cs typeface="Calibri"/>
                <a:sym typeface="Calibri"/>
              </a:endParaRPr>
            </a:p>
          </p:txBody>
        </p:sp>
        <p:sp>
          <p:nvSpPr>
            <p:cNvPr id="1058" name="Google Shape;1058;p108"/>
            <p:cNvSpPr/>
            <p:nvPr/>
          </p:nvSpPr>
          <p:spPr>
            <a:xfrm>
              <a:off x="2827457" y="6156603"/>
              <a:ext cx="1983600" cy="55199"/>
            </a:xfrm>
            <a:prstGeom prst="rect">
              <a:avLst/>
            </a:prstGeom>
            <a:solidFill>
              <a:srgbClr val="9EB5FA">
                <a:alpha val="28235"/>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dk1"/>
                </a:solidFill>
                <a:latin typeface="Calibri"/>
                <a:ea typeface="Calibri"/>
                <a:cs typeface="Calibri"/>
                <a:sym typeface="Calibri"/>
              </a:endParaRPr>
            </a:p>
          </p:txBody>
        </p:sp>
      </p:grpSp>
      <p:grpSp>
        <p:nvGrpSpPr>
          <p:cNvPr id="1059" name="Google Shape;1059;p108"/>
          <p:cNvGrpSpPr/>
          <p:nvPr/>
        </p:nvGrpSpPr>
        <p:grpSpPr>
          <a:xfrm>
            <a:off x="11979441" y="4535495"/>
            <a:ext cx="110800" cy="2041948"/>
            <a:chOff x="11979441" y="4535495"/>
            <a:chExt cx="110800" cy="2041948"/>
          </a:xfrm>
        </p:grpSpPr>
        <p:grpSp>
          <p:nvGrpSpPr>
            <p:cNvPr id="1060" name="Google Shape;1060;p108"/>
            <p:cNvGrpSpPr/>
            <p:nvPr/>
          </p:nvGrpSpPr>
          <p:grpSpPr>
            <a:xfrm>
              <a:off x="11998460" y="6135518"/>
              <a:ext cx="68500" cy="441925"/>
              <a:chOff x="11998459" y="6162188"/>
              <a:chExt cx="68500" cy="441925"/>
            </a:xfrm>
          </p:grpSpPr>
          <p:sp>
            <p:nvSpPr>
              <p:cNvPr id="1061" name="Google Shape;1061;p108"/>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062" name="Google Shape;1062;p108"/>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063" name="Google Shape;1063;p108"/>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064" name="Google Shape;1064;p108"/>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065" name="Google Shape;1065;p108"/>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066" name="Google Shape;1066;p108"/>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067" name="Google Shape;1067;p108"/>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068" name="Google Shape;1068;p108"/>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069" name="Google Shape;1069;p108"/>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070" name="Google Shape;1070;p108"/>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071" name="Google Shape;1071;p108"/>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072" name="Google Shape;1072;p108"/>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073" name="Google Shape;1073;p108"/>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grpSp>
        <p:pic>
          <p:nvPicPr>
            <p:cNvPr id="1074" name="Google Shape;1074;p108"/>
            <p:cNvPicPr preferRelativeResize="0"/>
            <p:nvPr/>
          </p:nvPicPr>
          <p:blipFill rotWithShape="1">
            <a:blip r:embed="rId2">
              <a:alphaModFix/>
            </a:blip>
            <a:srcRect/>
            <a:stretch/>
          </p:blipFill>
          <p:spPr>
            <a:xfrm rot="-5400000">
              <a:off x="11811888" y="6322371"/>
              <a:ext cx="441438" cy="68706"/>
            </a:xfrm>
            <a:prstGeom prst="rect">
              <a:avLst/>
            </a:prstGeom>
            <a:noFill/>
            <a:ln>
              <a:noFill/>
            </a:ln>
          </p:spPr>
        </p:pic>
        <p:sp>
          <p:nvSpPr>
            <p:cNvPr id="1075" name="Google Shape;1075;p108"/>
            <p:cNvSpPr txBox="1"/>
            <p:nvPr/>
          </p:nvSpPr>
          <p:spPr>
            <a:xfrm rot="-5400000">
              <a:off x="11250972" y="526396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rgbClr val="B4B4B4"/>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grpSp>
      <p:sp>
        <p:nvSpPr>
          <p:cNvPr id="1076" name="Google Shape;1076;p108"/>
          <p:cNvSpPr txBox="1">
            <a:spLocks noGrp="1"/>
          </p:cNvSpPr>
          <p:nvPr>
            <p:ph type="title"/>
          </p:nvPr>
        </p:nvSpPr>
        <p:spPr>
          <a:xfrm>
            <a:off x="53181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1077" name="Google Shape;1077;p108"/>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Subtitle">
  <p:cSld name="Title+Subtitle">
    <p:spTree>
      <p:nvGrpSpPr>
        <p:cNvPr id="1" name="Shape 104"/>
        <p:cNvGrpSpPr/>
        <p:nvPr/>
      </p:nvGrpSpPr>
      <p:grpSpPr>
        <a:xfrm>
          <a:off x="0" y="0"/>
          <a:ext cx="0" cy="0"/>
          <a:chOff x="0" y="0"/>
          <a:chExt cx="0" cy="0"/>
        </a:xfrm>
      </p:grpSpPr>
      <p:sp>
        <p:nvSpPr>
          <p:cNvPr id="105" name="Google Shape;105;p53"/>
          <p:cNvSpPr txBox="1">
            <a:spLocks noGrp="1"/>
          </p:cNvSpPr>
          <p:nvPr>
            <p:ph type="sldNum" idx="12"/>
          </p:nvPr>
        </p:nvSpPr>
        <p:spPr>
          <a:xfrm>
            <a:off x="11490153" y="6450225"/>
            <a:ext cx="150682" cy="15388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06" name="Google Shape;106;p53"/>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atin typeface="Franklin Gothic"/>
                <a:ea typeface="Franklin Gothic"/>
                <a:cs typeface="Franklin Gothic"/>
                <a:sym typeface="Franklin Gothic"/>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 name="Google Shape;107;p53"/>
          <p:cNvSpPr txBox="1">
            <a:spLocks noGrp="1"/>
          </p:cNvSpPr>
          <p:nvPr>
            <p:ph type="body" idx="1"/>
          </p:nvPr>
        </p:nvSpPr>
        <p:spPr>
          <a:xfrm>
            <a:off x="550862" y="1028324"/>
            <a:ext cx="11089972" cy="292388"/>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rgbClr val="6D90F8"/>
              </a:buClr>
              <a:buSzPts val="2000"/>
              <a:buNone/>
              <a:defRPr sz="2000">
                <a:solidFill>
                  <a:srgbClr val="6D90F8"/>
                </a:solidFill>
                <a:latin typeface="Libre Franklin"/>
                <a:ea typeface="Libre Franklin"/>
                <a:cs typeface="Libre Franklin"/>
                <a:sym typeface="Libre Franklin"/>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oleObject" Target="../embeddings/oleObject2.bin"/><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tags" Target="../tags/tag3.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image" Target="../media/image2.png"/><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theme" Target="../theme/theme2.xml"/><Relationship Id="rId30"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oleObject" Target="../embeddings/oleObject3.bin"/><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tags" Target="../tags/tag4.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image" Target="../media/image2.png"/><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theme" Target="../theme/theme3.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C245F17-99DD-9C17-43D9-1F68E3A4EEAF}"/>
              </a:ext>
            </a:extLst>
          </p:cNvPr>
          <p:cNvGraphicFramePr>
            <a:graphicFrameLocks noChangeAspect="1"/>
          </p:cNvGraphicFramePr>
          <p:nvPr userDrawn="1">
            <p:custDataLst>
              <p:tags r:id="rId30"/>
            </p:custDataLst>
            <p:extLst>
              <p:ext uri="{D42A27DB-BD31-4B8C-83A1-F6EECF244321}">
                <p14:modId xmlns:p14="http://schemas.microsoft.com/office/powerpoint/2010/main" val="1394983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95" imgH="396" progId="TCLayout.ActiveDocument.1">
                  <p:embed/>
                </p:oleObj>
              </mc:Choice>
              <mc:Fallback>
                <p:oleObj name="think-cell Slide" r:id="rId31" imgW="395" imgH="396"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grpSp>
        <p:nvGrpSpPr>
          <p:cNvPr id="10" name="Google Shape;10;p45"/>
          <p:cNvGrpSpPr/>
          <p:nvPr/>
        </p:nvGrpSpPr>
        <p:grpSpPr>
          <a:xfrm>
            <a:off x="11998459" y="6162188"/>
            <a:ext cx="68500" cy="441925"/>
            <a:chOff x="11998459" y="6162188"/>
            <a:chExt cx="68500" cy="441925"/>
          </a:xfrm>
        </p:grpSpPr>
        <p:sp>
          <p:nvSpPr>
            <p:cNvPr id="11" name="Google Shape;11;p4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2" name="Google Shape;12;p4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3" name="Google Shape;13;p4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 name="Google Shape;14;p4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5" name="Google Shape;15;p4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6" name="Google Shape;16;p4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7" name="Google Shape;17;p4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8" name="Google Shape;18;p4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9" name="Google Shape;19;p4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0" name="Google Shape;20;p4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1" name="Google Shape;21;p4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2" name="Google Shape;22;p4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3" name="Google Shape;23;p4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grpSp>
      <p:pic>
        <p:nvPicPr>
          <p:cNvPr id="24" name="Google Shape;24;p45"/>
          <p:cNvPicPr preferRelativeResize="0"/>
          <p:nvPr/>
        </p:nvPicPr>
        <p:blipFill rotWithShape="1">
          <a:blip r:embed="rId33">
            <a:alphaModFix/>
          </a:blip>
          <a:srcRect/>
          <a:stretch/>
        </p:blipFill>
        <p:spPr>
          <a:xfrm rot="-5400000">
            <a:off x="11811887" y="6349041"/>
            <a:ext cx="441438" cy="68706"/>
          </a:xfrm>
          <a:prstGeom prst="rect">
            <a:avLst/>
          </a:prstGeom>
          <a:noFill/>
          <a:ln>
            <a:noFill/>
          </a:ln>
        </p:spPr>
      </p:pic>
      <p:sp>
        <p:nvSpPr>
          <p:cNvPr id="25" name="Google Shape;25;p45"/>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3200"/>
              <a:buFont typeface="Franklin Gothic"/>
              <a:buNone/>
              <a:defRPr sz="3200" b="0" i="0" u="none" strike="noStrike" cap="none">
                <a:solidFill>
                  <a:schemeClr val="dk2"/>
                </a:solidFill>
                <a:latin typeface="Franklin Gothic"/>
                <a:ea typeface="Franklin Gothic"/>
                <a:cs typeface="Franklin Gothic"/>
                <a:sym typeface="Franklin Gothic"/>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6" name="Google Shape;26;p45"/>
          <p:cNvSpPr txBox="1">
            <a:spLocks noGrp="1"/>
          </p:cNvSpPr>
          <p:nvPr>
            <p:ph type="body" idx="1"/>
          </p:nvPr>
        </p:nvSpPr>
        <p:spPr>
          <a:xfrm>
            <a:off x="550862" y="1859913"/>
            <a:ext cx="11089973" cy="1349087"/>
          </a:xfrm>
          <a:prstGeom prst="rect">
            <a:avLst/>
          </a:prstGeom>
          <a:noFill/>
          <a:ln>
            <a:noFill/>
          </a:ln>
        </p:spPr>
        <p:txBody>
          <a:bodyPr spcFirstLastPara="1" wrap="square" lIns="0" tIns="0" rIns="0" bIns="0" anchor="t" anchorCtr="0">
            <a:spAutoFit/>
          </a:bodyPr>
          <a:lstStyle>
            <a:lvl1pPr marL="457200" marR="0" lvl="0" indent="-228600" algn="l" rtl="0">
              <a:lnSpc>
                <a:spcPct val="95000"/>
              </a:lnSpc>
              <a:spcBef>
                <a:spcPts val="10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1pPr>
            <a:lvl2pPr marL="914400" marR="0" lvl="1" indent="-320040" algn="l" rtl="0">
              <a:lnSpc>
                <a:spcPct val="95000"/>
              </a:lnSpc>
              <a:spcBef>
                <a:spcPts val="5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2pPr>
            <a:lvl3pPr marL="1371600" marR="0" lvl="2" indent="-330200" algn="l" rtl="0">
              <a:lnSpc>
                <a:spcPct val="95000"/>
              </a:lnSpc>
              <a:spcBef>
                <a:spcPts val="3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3pPr>
            <a:lvl4pPr marL="1828800" marR="0" lvl="3" indent="-320039" algn="l" rtl="0">
              <a:lnSpc>
                <a:spcPct val="95000"/>
              </a:lnSpc>
              <a:spcBef>
                <a:spcPts val="1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4pPr>
            <a:lvl5pPr marL="2286000" marR="0" lvl="4" indent="-330200" algn="l" rtl="0">
              <a:lnSpc>
                <a:spcPct val="95000"/>
              </a:lnSpc>
              <a:spcBef>
                <a:spcPts val="1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7" name="Google Shape;27;p45"/>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marR="0" lvl="0" algn="l" rtl="0">
              <a:lnSpc>
                <a:spcPct val="100000"/>
              </a:lnSpc>
              <a:spcBef>
                <a:spcPts val="0"/>
              </a:spcBef>
              <a:spcAft>
                <a:spcPts val="0"/>
              </a:spcAft>
              <a:buClr>
                <a:srgbClr val="000000"/>
              </a:buClr>
              <a:buSzPts val="1400"/>
              <a:buFont typeface="Arial"/>
              <a:buNone/>
              <a:defRPr sz="10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8" name="Google Shape;28;p4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9" name="Google Shape;29;p45"/>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rgbClr val="B4B4B4"/>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cxnSp>
        <p:nvCxnSpPr>
          <p:cNvPr id="30" name="Google Shape;30;p45"/>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31" name="Google Shape;31;p45"/>
          <p:cNvSpPr txBox="1"/>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Clr>
                <a:srgbClr val="000000"/>
              </a:buClr>
              <a:buSzPts val="1000"/>
              <a:buFont typeface="Arial"/>
              <a:buNone/>
            </a:pPr>
            <a:fld id="{00000000-1234-1234-1234-123412341234}" type="slidenum">
              <a:rPr lang="en-US" sz="1000" b="0" i="0" u="none" strike="noStrike" cap="none">
                <a:solidFill>
                  <a:srgbClr val="7F7F7F"/>
                </a:solidFill>
                <a:latin typeface="Calibri"/>
                <a:ea typeface="Calibri"/>
                <a:cs typeface="Calibri"/>
                <a:sym typeface="Calibri"/>
              </a:rPr>
              <a:t>‹#›</a:t>
            </a:fld>
            <a:endParaRPr sz="1000" b="0" i="0" u="none" strike="noStrike" cap="none">
              <a:solidFill>
                <a:srgbClr val="7F7F7F"/>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730" r:id="rId2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46">
          <p15:clr>
            <a:srgbClr val="F26B43"/>
          </p15:clr>
        </p15:guide>
        <p15:guide id="2" pos="347">
          <p15:clr>
            <a:srgbClr val="F26B43"/>
          </p15:clr>
        </p15:guide>
        <p15:guide id="3" pos="7333">
          <p15:clr>
            <a:srgbClr val="F26B43"/>
          </p15:clr>
        </p15:guide>
        <p15:guide id="4" orient="horz" pos="1170">
          <p15:clr>
            <a:srgbClr val="F26B43"/>
          </p15:clr>
        </p15:guide>
        <p15:guide id="5" orient="horz" pos="3974">
          <p15:clr>
            <a:srgbClr val="F26B43"/>
          </p15:clr>
        </p15:guide>
        <p15:guide id="6" pos="3749">
          <p15:clr>
            <a:srgbClr val="F26B43"/>
          </p15:clr>
        </p15:guide>
        <p15:guide id="7"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47"/>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97B3ED-5C14-8AB4-63BB-A8385E84E339}"/>
              </a:ext>
            </a:extLst>
          </p:cNvPr>
          <p:cNvGraphicFramePr>
            <a:graphicFrameLocks noChangeAspect="1"/>
          </p:cNvGraphicFramePr>
          <p:nvPr userDrawn="1">
            <p:custDataLst>
              <p:tags r:id="rId28"/>
            </p:custDataLst>
            <p:extLst>
              <p:ext uri="{D42A27DB-BD31-4B8C-83A1-F6EECF244321}">
                <p14:modId xmlns:p14="http://schemas.microsoft.com/office/powerpoint/2010/main" val="1300598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395" imgH="396" progId="TCLayout.ActiveDocument.1">
                  <p:embed/>
                </p:oleObj>
              </mc:Choice>
              <mc:Fallback>
                <p:oleObj name="think-cell Slide" r:id="rId29" imgW="395" imgH="396"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grpSp>
        <p:nvGrpSpPr>
          <p:cNvPr id="348" name="Google Shape;348;p80"/>
          <p:cNvGrpSpPr/>
          <p:nvPr/>
        </p:nvGrpSpPr>
        <p:grpSpPr>
          <a:xfrm>
            <a:off x="11998459" y="6162188"/>
            <a:ext cx="68500" cy="441925"/>
            <a:chOff x="11998459" y="6162188"/>
            <a:chExt cx="68500" cy="441925"/>
          </a:xfrm>
        </p:grpSpPr>
        <p:sp>
          <p:nvSpPr>
            <p:cNvPr id="349" name="Google Shape;349;p80"/>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350" name="Google Shape;350;p80"/>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351" name="Google Shape;351;p80"/>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352" name="Google Shape;352;p80"/>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353" name="Google Shape;353;p80"/>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354" name="Google Shape;354;p80"/>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355" name="Google Shape;355;p80"/>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356" name="Google Shape;356;p80"/>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357" name="Google Shape;357;p80"/>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358" name="Google Shape;358;p80"/>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359" name="Google Shape;359;p80"/>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360" name="Google Shape;360;p80"/>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361" name="Google Shape;361;p80"/>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grpSp>
      <p:pic>
        <p:nvPicPr>
          <p:cNvPr id="362" name="Google Shape;362;p80"/>
          <p:cNvPicPr preferRelativeResize="0"/>
          <p:nvPr/>
        </p:nvPicPr>
        <p:blipFill rotWithShape="1">
          <a:blip r:embed="rId31">
            <a:alphaModFix/>
          </a:blip>
          <a:srcRect/>
          <a:stretch/>
        </p:blipFill>
        <p:spPr>
          <a:xfrm rot="-5400000">
            <a:off x="11811887" y="6349041"/>
            <a:ext cx="441438" cy="68706"/>
          </a:xfrm>
          <a:prstGeom prst="rect">
            <a:avLst/>
          </a:prstGeom>
          <a:noFill/>
          <a:ln>
            <a:noFill/>
          </a:ln>
        </p:spPr>
      </p:pic>
      <p:sp>
        <p:nvSpPr>
          <p:cNvPr id="363" name="Google Shape;363;p80"/>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3200"/>
              <a:buFont typeface="Franklin Gothic"/>
              <a:buNone/>
              <a:defRPr sz="3200" b="0" i="0" u="none" strike="noStrike" cap="none">
                <a:solidFill>
                  <a:schemeClr val="dk2"/>
                </a:solidFill>
                <a:latin typeface="Franklin Gothic"/>
                <a:ea typeface="Franklin Gothic"/>
                <a:cs typeface="Franklin Gothic"/>
                <a:sym typeface="Franklin Gothic"/>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364" name="Google Shape;364;p80"/>
          <p:cNvSpPr txBox="1">
            <a:spLocks noGrp="1"/>
          </p:cNvSpPr>
          <p:nvPr>
            <p:ph type="body" idx="1"/>
          </p:nvPr>
        </p:nvSpPr>
        <p:spPr>
          <a:xfrm>
            <a:off x="550862" y="1859913"/>
            <a:ext cx="11089973" cy="1349087"/>
          </a:xfrm>
          <a:prstGeom prst="rect">
            <a:avLst/>
          </a:prstGeom>
          <a:noFill/>
          <a:ln>
            <a:noFill/>
          </a:ln>
        </p:spPr>
        <p:txBody>
          <a:bodyPr spcFirstLastPara="1" wrap="square" lIns="0" tIns="0" rIns="0" bIns="0" anchor="t" anchorCtr="0">
            <a:spAutoFit/>
          </a:bodyPr>
          <a:lstStyle>
            <a:lvl1pPr marL="457200" marR="0" lvl="0" indent="-228600" algn="l" rtl="0">
              <a:lnSpc>
                <a:spcPct val="95000"/>
              </a:lnSpc>
              <a:spcBef>
                <a:spcPts val="10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1pPr>
            <a:lvl2pPr marL="914400" marR="0" lvl="1" indent="-320040" algn="l" rtl="0">
              <a:lnSpc>
                <a:spcPct val="95000"/>
              </a:lnSpc>
              <a:spcBef>
                <a:spcPts val="5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2pPr>
            <a:lvl3pPr marL="1371600" marR="0" lvl="2" indent="-330200" algn="l" rtl="0">
              <a:lnSpc>
                <a:spcPct val="95000"/>
              </a:lnSpc>
              <a:spcBef>
                <a:spcPts val="3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3pPr>
            <a:lvl4pPr marL="1828800" marR="0" lvl="3" indent="-320039" algn="l" rtl="0">
              <a:lnSpc>
                <a:spcPct val="95000"/>
              </a:lnSpc>
              <a:spcBef>
                <a:spcPts val="1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4pPr>
            <a:lvl5pPr marL="2286000" marR="0" lvl="4" indent="-330200" algn="l" rtl="0">
              <a:lnSpc>
                <a:spcPct val="95000"/>
              </a:lnSpc>
              <a:spcBef>
                <a:spcPts val="1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65" name="Google Shape;365;p80"/>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marR="0" lvl="0" algn="l" rtl="0">
              <a:lnSpc>
                <a:spcPct val="100000"/>
              </a:lnSpc>
              <a:spcBef>
                <a:spcPts val="0"/>
              </a:spcBef>
              <a:spcAft>
                <a:spcPts val="0"/>
              </a:spcAft>
              <a:buClr>
                <a:srgbClr val="000000"/>
              </a:buClr>
              <a:buSzPts val="1400"/>
              <a:buFont typeface="Arial"/>
              <a:buNone/>
              <a:defRPr sz="10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366" name="Google Shape;366;p80"/>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67" name="Google Shape;367;p80"/>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rgbClr val="B4B4B4"/>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cxnSp>
        <p:nvCxnSpPr>
          <p:cNvPr id="368" name="Google Shape;368;p80"/>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369" name="Google Shape;369;p80"/>
          <p:cNvSpPr txBox="1"/>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Clr>
                <a:srgbClr val="000000"/>
              </a:buClr>
              <a:buSzPts val="1000"/>
              <a:buFont typeface="Arial"/>
              <a:buNone/>
            </a:pPr>
            <a:fld id="{00000000-1234-1234-1234-123412341234}" type="slidenum">
              <a:rPr lang="en-US" sz="1000" b="0" i="0" u="none" strike="noStrike" cap="none">
                <a:solidFill>
                  <a:srgbClr val="7F7F7F"/>
                </a:solidFill>
                <a:latin typeface="Calibri"/>
                <a:ea typeface="Calibri"/>
                <a:cs typeface="Calibri"/>
                <a:sym typeface="Calibri"/>
              </a:rPr>
              <a:t>‹#›</a:t>
            </a:fld>
            <a:endParaRPr sz="1000" b="0" i="0" u="none" strike="noStrike" cap="none">
              <a:solidFill>
                <a:srgbClr val="7F7F7F"/>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2" r:id="rId2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46">
          <p15:clr>
            <a:srgbClr val="F26B43"/>
          </p15:clr>
        </p15:guide>
        <p15:guide id="2" pos="347">
          <p15:clr>
            <a:srgbClr val="F26B43"/>
          </p15:clr>
        </p15:guide>
        <p15:guide id="3" pos="7333">
          <p15:clr>
            <a:srgbClr val="F26B43"/>
          </p15:clr>
        </p15:guide>
        <p15:guide id="4" orient="horz" pos="1170">
          <p15:clr>
            <a:srgbClr val="F26B43"/>
          </p15:clr>
        </p15:guide>
        <p15:guide id="5" orient="horz" pos="3974">
          <p15:clr>
            <a:srgbClr val="F26B43"/>
          </p15:clr>
        </p15:guide>
        <p15:guide id="6" pos="3749">
          <p15:clr>
            <a:srgbClr val="F26B43"/>
          </p15:clr>
        </p15:guide>
        <p15:guide id="7"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8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A38A44-307B-46D9-4719-B5F73CF0C28F}"/>
              </a:ext>
            </a:extLst>
          </p:cNvPr>
          <p:cNvGraphicFramePr>
            <a:graphicFrameLocks noChangeAspect="1"/>
          </p:cNvGraphicFramePr>
          <p:nvPr userDrawn="1">
            <p:custDataLst>
              <p:tags r:id="rId28"/>
            </p:custDataLst>
            <p:extLst>
              <p:ext uri="{D42A27DB-BD31-4B8C-83A1-F6EECF244321}">
                <p14:modId xmlns:p14="http://schemas.microsoft.com/office/powerpoint/2010/main" val="3449597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395" imgH="396" progId="TCLayout.ActiveDocument.1">
                  <p:embed/>
                </p:oleObj>
              </mc:Choice>
              <mc:Fallback>
                <p:oleObj name="think-cell Slide" r:id="rId29" imgW="395" imgH="396"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683" name="Google Shape;683;p82"/>
          <p:cNvSpPr txBox="1">
            <a:spLocks noGrp="1"/>
          </p:cNvSpPr>
          <p:nvPr>
            <p:ph type="title"/>
          </p:nvPr>
        </p:nvSpPr>
        <p:spPr>
          <a:xfrm>
            <a:off x="531813" y="560588"/>
            <a:ext cx="11089972" cy="422295"/>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3200"/>
              <a:buFont typeface="Franklin Gothic"/>
              <a:buNone/>
              <a:defRPr sz="3200" b="0" i="0" u="none" strike="noStrike" cap="none">
                <a:solidFill>
                  <a:schemeClr val="dk2"/>
                </a:solidFill>
                <a:latin typeface="Franklin Gothic"/>
                <a:ea typeface="Franklin Gothic"/>
                <a:cs typeface="Franklin Gothic"/>
                <a:sym typeface="Franklin Gothic"/>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684" name="Google Shape;684;p82"/>
          <p:cNvSpPr txBox="1">
            <a:spLocks noGrp="1"/>
          </p:cNvSpPr>
          <p:nvPr>
            <p:ph type="body" idx="1"/>
          </p:nvPr>
        </p:nvSpPr>
        <p:spPr>
          <a:xfrm>
            <a:off x="550862" y="1859913"/>
            <a:ext cx="11089973" cy="1323439"/>
          </a:xfrm>
          <a:prstGeom prst="rect">
            <a:avLst/>
          </a:prstGeom>
          <a:noFill/>
          <a:ln>
            <a:noFill/>
          </a:ln>
        </p:spPr>
        <p:txBody>
          <a:bodyPr spcFirstLastPara="1" wrap="square" lIns="0" tIns="0" rIns="0" bIns="0" anchor="t" anchorCtr="0">
            <a:spAutoFit/>
          </a:bodyPr>
          <a:lstStyle>
            <a:lvl1pPr marL="457200" marR="0" lvl="0" indent="-228600" algn="l" rtl="0">
              <a:lnSpc>
                <a:spcPct val="95000"/>
              </a:lnSpc>
              <a:spcBef>
                <a:spcPts val="10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1pPr>
            <a:lvl2pPr marL="914400" marR="0" lvl="1" indent="-320040" algn="l" rtl="0">
              <a:lnSpc>
                <a:spcPct val="95000"/>
              </a:lnSpc>
              <a:spcBef>
                <a:spcPts val="5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2pPr>
            <a:lvl3pPr marL="1371600" marR="0" lvl="2" indent="-330200" algn="l" rtl="0">
              <a:lnSpc>
                <a:spcPct val="95000"/>
              </a:lnSpc>
              <a:spcBef>
                <a:spcPts val="3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3pPr>
            <a:lvl4pPr marL="1828800" marR="0" lvl="3" indent="-320039" algn="l" rtl="0">
              <a:lnSpc>
                <a:spcPct val="95000"/>
              </a:lnSpc>
              <a:spcBef>
                <a:spcPts val="100"/>
              </a:spcBef>
              <a:spcAft>
                <a:spcPts val="0"/>
              </a:spcAft>
              <a:buClr>
                <a:schemeClr val="dk2"/>
              </a:buClr>
              <a:buSzPts val="144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95000"/>
              </a:lnSpc>
              <a:spcBef>
                <a:spcPts val="1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85" name="Google Shape;685;p82"/>
          <p:cNvSpPr txBox="1">
            <a:spLocks noGrp="1"/>
          </p:cNvSpPr>
          <p:nvPr>
            <p:ph type="ftr" idx="11"/>
          </p:nvPr>
        </p:nvSpPr>
        <p:spPr>
          <a:xfrm>
            <a:off x="550863" y="6465614"/>
            <a:ext cx="488916" cy="138499"/>
          </a:xfrm>
          <a:prstGeom prst="rect">
            <a:avLst/>
          </a:prstGeom>
          <a:noFill/>
          <a:ln>
            <a:noFill/>
          </a:ln>
        </p:spPr>
        <p:txBody>
          <a:bodyPr spcFirstLastPara="1" wrap="square" lIns="0" tIns="0" rIns="0" bIns="0" anchor="b" anchorCtr="0">
            <a:spAutoFit/>
          </a:bodyPr>
          <a:lstStyle>
            <a:lvl1pPr marR="0" lvl="0" algn="l" rtl="0">
              <a:lnSpc>
                <a:spcPct val="100000"/>
              </a:lnSpc>
              <a:spcBef>
                <a:spcPts val="0"/>
              </a:spcBef>
              <a:spcAft>
                <a:spcPts val="0"/>
              </a:spcAft>
              <a:buClr>
                <a:srgbClr val="000000"/>
              </a:buClr>
              <a:buSzPts val="1400"/>
              <a:buFont typeface="Arial"/>
              <a:buNone/>
              <a:defRPr sz="10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686" name="Google Shape;686;p82"/>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grpSp>
        <p:nvGrpSpPr>
          <p:cNvPr id="687" name="Google Shape;687;p82"/>
          <p:cNvGrpSpPr/>
          <p:nvPr/>
        </p:nvGrpSpPr>
        <p:grpSpPr>
          <a:xfrm>
            <a:off x="11979441" y="4535495"/>
            <a:ext cx="110800" cy="2041948"/>
            <a:chOff x="11979441" y="4535495"/>
            <a:chExt cx="110800" cy="2041948"/>
          </a:xfrm>
        </p:grpSpPr>
        <p:grpSp>
          <p:nvGrpSpPr>
            <p:cNvPr id="688" name="Google Shape;688;p82"/>
            <p:cNvGrpSpPr/>
            <p:nvPr/>
          </p:nvGrpSpPr>
          <p:grpSpPr>
            <a:xfrm>
              <a:off x="11998460" y="6135518"/>
              <a:ext cx="68500" cy="441925"/>
              <a:chOff x="11998459" y="6162188"/>
              <a:chExt cx="68500" cy="441925"/>
            </a:xfrm>
          </p:grpSpPr>
          <p:sp>
            <p:nvSpPr>
              <p:cNvPr id="689" name="Google Shape;689;p82"/>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690" name="Google Shape;690;p82"/>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691" name="Google Shape;691;p82"/>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692" name="Google Shape;692;p82"/>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693" name="Google Shape;693;p82"/>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694" name="Google Shape;694;p82"/>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695" name="Google Shape;695;p82"/>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696" name="Google Shape;696;p82"/>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697" name="Google Shape;697;p82"/>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698" name="Google Shape;698;p82"/>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699" name="Google Shape;699;p82"/>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00" name="Google Shape;700;p82"/>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701" name="Google Shape;701;p82"/>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grpSp>
        <p:pic>
          <p:nvPicPr>
            <p:cNvPr id="702" name="Google Shape;702;p82"/>
            <p:cNvPicPr preferRelativeResize="0"/>
            <p:nvPr/>
          </p:nvPicPr>
          <p:blipFill rotWithShape="1">
            <a:blip r:embed="rId31">
              <a:alphaModFix/>
            </a:blip>
            <a:srcRect/>
            <a:stretch/>
          </p:blipFill>
          <p:spPr>
            <a:xfrm rot="-5400000">
              <a:off x="11811888" y="6322371"/>
              <a:ext cx="441438" cy="68706"/>
            </a:xfrm>
            <a:prstGeom prst="rect">
              <a:avLst/>
            </a:prstGeom>
            <a:noFill/>
            <a:ln>
              <a:noFill/>
            </a:ln>
          </p:spPr>
        </p:pic>
        <p:sp>
          <p:nvSpPr>
            <p:cNvPr id="703" name="Google Shape;703;p82"/>
            <p:cNvSpPr txBox="1"/>
            <p:nvPr/>
          </p:nvSpPr>
          <p:spPr>
            <a:xfrm rot="-5400000">
              <a:off x="11250972" y="526396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rgbClr val="B4B4B4"/>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grpSp>
      <p:cxnSp>
        <p:nvCxnSpPr>
          <p:cNvPr id="704" name="Google Shape;704;p82"/>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705" name="Google Shape;705;p82"/>
          <p:cNvSpPr txBox="1"/>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Clr>
                <a:srgbClr val="000000"/>
              </a:buClr>
              <a:buSzPts val="1000"/>
              <a:buFont typeface="Arial"/>
              <a:buNone/>
            </a:pPr>
            <a:fld id="{00000000-1234-1234-1234-123412341234}" type="slidenum">
              <a:rPr lang="en-US" sz="1000" b="0" i="0" u="none" strike="noStrike" cap="none">
                <a:solidFill>
                  <a:srgbClr val="7F7F7F"/>
                </a:solidFill>
                <a:latin typeface="Calibri"/>
                <a:ea typeface="Calibri"/>
                <a:cs typeface="Calibri"/>
                <a:sym typeface="Calibri"/>
              </a:rPr>
              <a:t>‹#›</a:t>
            </a:fld>
            <a:endParaRPr sz="1000" b="0" i="0" u="none" strike="noStrike" cap="none">
              <a:solidFill>
                <a:srgbClr val="7F7F7F"/>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46">
          <p15:clr>
            <a:srgbClr val="F26B43"/>
          </p15:clr>
        </p15:guide>
        <p15:guide id="2" pos="347">
          <p15:clr>
            <a:srgbClr val="F26B43"/>
          </p15:clr>
        </p15:guide>
        <p15:guide id="3" pos="7333">
          <p15:clr>
            <a:srgbClr val="F26B43"/>
          </p15:clr>
        </p15:guide>
        <p15:guide id="4" orient="horz" pos="1170">
          <p15:clr>
            <a:srgbClr val="F26B43"/>
          </p15:clr>
        </p15:guide>
        <p15:guide id="5" orient="horz" pos="3974">
          <p15:clr>
            <a:srgbClr val="F26B43"/>
          </p15:clr>
        </p15:guide>
        <p15:guide id="6" pos="3749">
          <p15:clr>
            <a:srgbClr val="F26B43"/>
          </p15:clr>
        </p15:guide>
        <p15:guide id="7"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79.png"/><Relationship Id="rId11" Type="http://schemas.openxmlformats.org/officeDocument/2006/relationships/image" Target="../media/image75.png"/><Relationship Id="rId5" Type="http://schemas.openxmlformats.org/officeDocument/2006/relationships/image" Target="../media/image78.png"/><Relationship Id="rId10" Type="http://schemas.openxmlformats.org/officeDocument/2006/relationships/image" Target="../media/image83.png"/><Relationship Id="rId4" Type="http://schemas.openxmlformats.org/officeDocument/2006/relationships/image" Target="../media/image77.png"/><Relationship Id="rId9" Type="http://schemas.openxmlformats.org/officeDocument/2006/relationships/image" Target="../media/image82.png"/></Relationships>
</file>

<file path=ppt/slides/_rels/slide12.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13.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14.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75.png"/><Relationship Id="rId7" Type="http://schemas.openxmlformats.org/officeDocument/2006/relationships/image" Target="../media/image98.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97.png"/><Relationship Id="rId5" Type="http://schemas.openxmlformats.org/officeDocument/2006/relationships/image" Target="../media/image96.png"/><Relationship Id="rId10" Type="http://schemas.openxmlformats.org/officeDocument/2006/relationships/image" Target="../media/image101.png"/><Relationship Id="rId4" Type="http://schemas.openxmlformats.org/officeDocument/2006/relationships/image" Target="../media/image95.png"/><Relationship Id="rId9" Type="http://schemas.openxmlformats.org/officeDocument/2006/relationships/image" Target="../media/image100.png"/></Relationships>
</file>

<file path=ppt/slides/_rels/slide15.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6.png"/><Relationship Id="rId7" Type="http://schemas.openxmlformats.org/officeDocument/2006/relationships/image" Target="../media/image105.png"/><Relationship Id="rId2" Type="http://schemas.openxmlformats.org/officeDocument/2006/relationships/notesSlide" Target="../notesSlides/notesSlide15.xml"/><Relationship Id="rId1" Type="http://schemas.openxmlformats.org/officeDocument/2006/relationships/slideLayout" Target="../slideLayouts/slideLayout55.xml"/><Relationship Id="rId6" Type="http://schemas.openxmlformats.org/officeDocument/2006/relationships/image" Target="../media/image104.png"/><Relationship Id="rId11" Type="http://schemas.openxmlformats.org/officeDocument/2006/relationships/image" Target="../media/image108.png"/><Relationship Id="rId5" Type="http://schemas.openxmlformats.org/officeDocument/2006/relationships/image" Target="../media/image103.png"/><Relationship Id="rId10" Type="http://schemas.openxmlformats.org/officeDocument/2006/relationships/chart" Target="../charts/chart1.xml"/><Relationship Id="rId4" Type="http://schemas.openxmlformats.org/officeDocument/2006/relationships/image" Target="../media/image102.png"/><Relationship Id="rId9" Type="http://schemas.openxmlformats.org/officeDocument/2006/relationships/image" Target="../media/image107.png"/></Relationships>
</file>

<file path=ppt/slides/_rels/slide16.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109.png"/><Relationship Id="rId7" Type="http://schemas.openxmlformats.org/officeDocument/2006/relationships/image" Target="../media/image113.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118.png"/><Relationship Id="rId5" Type="http://schemas.openxmlformats.org/officeDocument/2006/relationships/image" Target="../media/image117.png"/><Relationship Id="rId10" Type="http://schemas.openxmlformats.org/officeDocument/2006/relationships/image" Target="../media/image122.png"/><Relationship Id="rId4" Type="http://schemas.openxmlformats.org/officeDocument/2006/relationships/image" Target="../media/image116.png"/><Relationship Id="rId9" Type="http://schemas.openxmlformats.org/officeDocument/2006/relationships/image" Target="../media/image121.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122.png"/><Relationship Id="rId4" Type="http://schemas.openxmlformats.org/officeDocument/2006/relationships/image" Target="../media/image77.png"/></Relationships>
</file>

<file path=ppt/slides/_rels/slide21.xml.rels><?xml version="1.0" encoding="UTF-8" standalone="yes"?>
<Relationships xmlns="http://schemas.openxmlformats.org/package/2006/relationships"><Relationship Id="rId3" Type="http://schemas.openxmlformats.org/officeDocument/2006/relationships/image" Target="../media/image123.png"/><Relationship Id="rId7" Type="http://schemas.openxmlformats.org/officeDocument/2006/relationships/image" Target="../media/image122.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126.jpg"/><Relationship Id="rId5" Type="http://schemas.openxmlformats.org/officeDocument/2006/relationships/image" Target="../media/image125.png"/><Relationship Id="rId4" Type="http://schemas.openxmlformats.org/officeDocument/2006/relationships/image" Target="../media/image124.png"/></Relationships>
</file>

<file path=ppt/slides/_rels/slide22.xml.rels><?xml version="1.0" encoding="UTF-8" standalone="yes"?>
<Relationships xmlns="http://schemas.openxmlformats.org/package/2006/relationships"><Relationship Id="rId8" Type="http://schemas.openxmlformats.org/officeDocument/2006/relationships/image" Target="../media/image132.jpg"/><Relationship Id="rId3" Type="http://schemas.openxmlformats.org/officeDocument/2006/relationships/image" Target="../media/image127.jpg"/><Relationship Id="rId7" Type="http://schemas.openxmlformats.org/officeDocument/2006/relationships/image" Target="../media/image131.jpg"/><Relationship Id="rId12" Type="http://schemas.openxmlformats.org/officeDocument/2006/relationships/image" Target="../media/image122.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130.jpg"/><Relationship Id="rId11" Type="http://schemas.openxmlformats.org/officeDocument/2006/relationships/image" Target="../media/image135.jpg"/><Relationship Id="rId5" Type="http://schemas.openxmlformats.org/officeDocument/2006/relationships/image" Target="../media/image129.png"/><Relationship Id="rId10" Type="http://schemas.openxmlformats.org/officeDocument/2006/relationships/image" Target="../media/image134.jpg"/><Relationship Id="rId4" Type="http://schemas.openxmlformats.org/officeDocument/2006/relationships/image" Target="../media/image128.jpg"/><Relationship Id="rId9" Type="http://schemas.openxmlformats.org/officeDocument/2006/relationships/image" Target="../media/image133.jpg"/></Relationships>
</file>

<file path=ppt/slides/_rels/slide2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23.xml"/><Relationship Id="rId1" Type="http://schemas.openxmlformats.org/officeDocument/2006/relationships/slideLayout" Target="../slideLayouts/slideLayout8.xml"/><Relationship Id="rId5" Type="http://schemas.openxmlformats.org/officeDocument/2006/relationships/image" Target="../media/image122.png"/><Relationship Id="rId4" Type="http://schemas.openxmlformats.org/officeDocument/2006/relationships/image" Target="../media/image137.png"/></Relationships>
</file>

<file path=ppt/slides/_rels/slide24.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24.xml"/><Relationship Id="rId1" Type="http://schemas.openxmlformats.org/officeDocument/2006/relationships/slideLayout" Target="../slideLayouts/slideLayout8.xml"/><Relationship Id="rId5" Type="http://schemas.openxmlformats.org/officeDocument/2006/relationships/image" Target="../media/image122.png"/><Relationship Id="rId4" Type="http://schemas.openxmlformats.org/officeDocument/2006/relationships/image" Target="../media/image139.png"/></Relationships>
</file>

<file path=ppt/slides/_rels/slide25.xml.rels><?xml version="1.0" encoding="UTF-8" standalone="yes"?>
<Relationships xmlns="http://schemas.openxmlformats.org/package/2006/relationships"><Relationship Id="rId3" Type="http://schemas.openxmlformats.org/officeDocument/2006/relationships/image" Target="../media/image140.jpg"/><Relationship Id="rId2" Type="http://schemas.openxmlformats.org/officeDocument/2006/relationships/notesSlide" Target="../notesSlides/notesSlide25.xml"/><Relationship Id="rId1" Type="http://schemas.openxmlformats.org/officeDocument/2006/relationships/slideLayout" Target="../slideLayouts/slideLayout8.xml"/><Relationship Id="rId6" Type="http://schemas.openxmlformats.org/officeDocument/2006/relationships/image" Target="../media/image122.png"/><Relationship Id="rId5" Type="http://schemas.openxmlformats.org/officeDocument/2006/relationships/image" Target="../media/image142.jpg"/><Relationship Id="rId4" Type="http://schemas.openxmlformats.org/officeDocument/2006/relationships/image" Target="../media/image141.jpg"/></Relationships>
</file>

<file path=ppt/slides/_rels/slide26.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slide" Target="slide23.xml"/><Relationship Id="rId7" Type="http://schemas.openxmlformats.org/officeDocument/2006/relationships/image" Target="../media/image146.png"/><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openxmlformats.org/officeDocument/2006/relationships/image" Target="../media/image145.png"/><Relationship Id="rId5" Type="http://schemas.openxmlformats.org/officeDocument/2006/relationships/image" Target="../media/image144.jpg"/><Relationship Id="rId4" Type="http://schemas.openxmlformats.org/officeDocument/2006/relationships/image" Target="../media/image143.jpg"/><Relationship Id="rId9" Type="http://schemas.openxmlformats.org/officeDocument/2006/relationships/image" Target="../media/image122.png"/></Relationships>
</file>

<file path=ppt/slides/_rels/slide27.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27.xml"/><Relationship Id="rId1" Type="http://schemas.openxmlformats.org/officeDocument/2006/relationships/slideLayout" Target="../slideLayouts/slideLayout8.xml"/><Relationship Id="rId4" Type="http://schemas.openxmlformats.org/officeDocument/2006/relationships/image" Target="../media/image122.png"/></Relationships>
</file>

<file path=ppt/slides/_rels/slide28.xml.rels><?xml version="1.0" encoding="UTF-8" standalone="yes"?>
<Relationships xmlns="http://schemas.openxmlformats.org/package/2006/relationships"><Relationship Id="rId3" Type="http://schemas.openxmlformats.org/officeDocument/2006/relationships/image" Target="../media/image149.jpg"/><Relationship Id="rId2" Type="http://schemas.openxmlformats.org/officeDocument/2006/relationships/notesSlide" Target="../notesSlides/notesSlide28.xml"/><Relationship Id="rId1" Type="http://schemas.openxmlformats.org/officeDocument/2006/relationships/slideLayout" Target="../slideLayouts/slideLayout8.xml"/><Relationship Id="rId4" Type="http://schemas.openxmlformats.org/officeDocument/2006/relationships/image" Target="../media/image122.png"/></Relationships>
</file>

<file path=ppt/slides/_rels/slide29.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09.png"/><Relationship Id="rId7" Type="http://schemas.openxmlformats.org/officeDocument/2006/relationships/image" Target="../media/image113.png"/><Relationship Id="rId2" Type="http://schemas.openxmlformats.org/officeDocument/2006/relationships/notesSlide" Target="../notesSlides/notesSlide29.xml"/><Relationship Id="rId1" Type="http://schemas.openxmlformats.org/officeDocument/2006/relationships/slideLayout" Target="../slideLayouts/slideLayout6.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s>
</file>

<file path=ppt/slides/_rels/slide3.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5.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29.xml"/><Relationship Id="rId6" Type="http://schemas.openxmlformats.org/officeDocument/2006/relationships/image" Target="../media/image19.png"/><Relationship Id="rId11" Type="http://schemas.openxmlformats.org/officeDocument/2006/relationships/image" Target="../media/image1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6.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151.png"/></Relationships>
</file>

<file path=ppt/slides/_rels/slide3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77.png"/></Relationships>
</file>

<file path=ppt/slides/_rels/slide34.xml.rels><?xml version="1.0" encoding="UTF-8" standalone="yes"?>
<Relationships xmlns="http://schemas.openxmlformats.org/package/2006/relationships"><Relationship Id="rId8" Type="http://schemas.openxmlformats.org/officeDocument/2006/relationships/image" Target="../media/image157.png"/><Relationship Id="rId3" Type="http://schemas.openxmlformats.org/officeDocument/2006/relationships/image" Target="../media/image152.png"/><Relationship Id="rId7" Type="http://schemas.openxmlformats.org/officeDocument/2006/relationships/image" Target="../media/image156.png"/><Relationship Id="rId2" Type="http://schemas.openxmlformats.org/officeDocument/2006/relationships/notesSlide" Target="../notesSlides/notesSlide34.xml"/><Relationship Id="rId1" Type="http://schemas.openxmlformats.org/officeDocument/2006/relationships/slideLayout" Target="../slideLayouts/slideLayout9.xml"/><Relationship Id="rId6" Type="http://schemas.openxmlformats.org/officeDocument/2006/relationships/image" Target="../media/image155.png"/><Relationship Id="rId5" Type="http://schemas.openxmlformats.org/officeDocument/2006/relationships/image" Target="../media/image154.png"/><Relationship Id="rId4" Type="http://schemas.openxmlformats.org/officeDocument/2006/relationships/image" Target="../media/image153.png"/><Relationship Id="rId9" Type="http://schemas.openxmlformats.org/officeDocument/2006/relationships/hyperlink" Target="mailto:translation@infomineo.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158.jp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image" Target="../media/image159.jp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14.png"/><Relationship Id="rId7"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slides/_rels/slide40.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40.xml"/><Relationship Id="rId1" Type="http://schemas.openxmlformats.org/officeDocument/2006/relationships/slideLayout" Target="../slideLayouts/slideLayout11.xml"/><Relationship Id="rId6" Type="http://schemas.openxmlformats.org/officeDocument/2006/relationships/image" Target="../media/image165.jpg"/><Relationship Id="rId5" Type="http://schemas.openxmlformats.org/officeDocument/2006/relationships/image" Target="../media/image164.png"/><Relationship Id="rId4" Type="http://schemas.openxmlformats.org/officeDocument/2006/relationships/image" Target="../media/image163.png"/></Relationships>
</file>

<file path=ppt/slides/_rels/slide41.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42.xml"/><Relationship Id="rId1" Type="http://schemas.openxmlformats.org/officeDocument/2006/relationships/slideLayout" Target="../slideLayouts/slideLayout11.xml"/><Relationship Id="rId4" Type="http://schemas.openxmlformats.org/officeDocument/2006/relationships/image" Target="../media/image168.png"/></Relationships>
</file>

<file path=ppt/slides/_rels/slide43.xml.rels><?xml version="1.0" encoding="UTF-8" standalone="yes"?>
<Relationships xmlns="http://schemas.openxmlformats.org/package/2006/relationships"><Relationship Id="rId3" Type="http://schemas.openxmlformats.org/officeDocument/2006/relationships/image" Target="../media/image109.png"/><Relationship Id="rId7" Type="http://schemas.openxmlformats.org/officeDocument/2006/relationships/image" Target="../media/image113.png"/><Relationship Id="rId2" Type="http://schemas.openxmlformats.org/officeDocument/2006/relationships/notesSlide" Target="../notesSlides/notesSlide43.xml"/><Relationship Id="rId1" Type="http://schemas.openxmlformats.org/officeDocument/2006/relationships/slideLayout" Target="../slideLayouts/slideLayout6.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image" Target="../media/image73.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5.bin"/><Relationship Id="rId4" Type="http://schemas.microsoft.com/office/2018/10/relationships/comments" Target="../comments/modernComment_135_819D9188.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69.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47.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notesSlide" Target="../notesSlides/notesSlide47.xml"/><Relationship Id="rId1" Type="http://schemas.openxmlformats.org/officeDocument/2006/relationships/slideLayout" Target="../slideLayouts/slideLayout2.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 Id="rId9" Type="http://schemas.openxmlformats.org/officeDocument/2006/relationships/image" Target="../media/image169.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image" Target="../media/image171.png"/><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image" Target="../media/image170.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49.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6.png"/><Relationship Id="rId7" Type="http://schemas.openxmlformats.org/officeDocument/2006/relationships/image" Target="../media/image105.png"/><Relationship Id="rId2" Type="http://schemas.openxmlformats.org/officeDocument/2006/relationships/notesSlide" Target="../notesSlides/notesSlide49.xml"/><Relationship Id="rId1" Type="http://schemas.openxmlformats.org/officeDocument/2006/relationships/slideLayout" Target="../slideLayouts/slideLayout28.xml"/><Relationship Id="rId6" Type="http://schemas.openxmlformats.org/officeDocument/2006/relationships/image" Target="../media/image104.png"/><Relationship Id="rId11" Type="http://schemas.openxmlformats.org/officeDocument/2006/relationships/image" Target="../media/image173.png"/><Relationship Id="rId5" Type="http://schemas.openxmlformats.org/officeDocument/2006/relationships/image" Target="../media/image103.png"/><Relationship Id="rId10" Type="http://schemas.openxmlformats.org/officeDocument/2006/relationships/image" Target="../media/image172.png"/><Relationship Id="rId4" Type="http://schemas.openxmlformats.org/officeDocument/2006/relationships/image" Target="../media/image102.png"/><Relationship Id="rId9" Type="http://schemas.openxmlformats.org/officeDocument/2006/relationships/image" Target="../media/image107.png"/></Relationships>
</file>

<file path=ppt/slides/_rels/slide5.xml.rels><?xml version="1.0" encoding="UTF-8" standalone="yes"?>
<Relationships xmlns="http://schemas.openxmlformats.org/package/2006/relationships"><Relationship Id="rId13" Type="http://schemas.openxmlformats.org/officeDocument/2006/relationships/image" Target="../media/image44.png"/><Relationship Id="rId18" Type="http://schemas.openxmlformats.org/officeDocument/2006/relationships/image" Target="../media/image49.png"/><Relationship Id="rId26" Type="http://schemas.openxmlformats.org/officeDocument/2006/relationships/image" Target="../media/image57.jpg"/><Relationship Id="rId3" Type="http://schemas.openxmlformats.org/officeDocument/2006/relationships/image" Target="../media/image34.png"/><Relationship Id="rId21" Type="http://schemas.openxmlformats.org/officeDocument/2006/relationships/image" Target="../media/image52.png"/><Relationship Id="rId34" Type="http://schemas.openxmlformats.org/officeDocument/2006/relationships/image" Target="../media/image65.png"/><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png"/><Relationship Id="rId25" Type="http://schemas.openxmlformats.org/officeDocument/2006/relationships/image" Target="../media/image56.png"/><Relationship Id="rId33" Type="http://schemas.openxmlformats.org/officeDocument/2006/relationships/image" Target="../media/image64.png"/><Relationship Id="rId2" Type="http://schemas.openxmlformats.org/officeDocument/2006/relationships/notesSlide" Target="../notesSlides/notesSlide5.xml"/><Relationship Id="rId16" Type="http://schemas.openxmlformats.org/officeDocument/2006/relationships/image" Target="../media/image47.png"/><Relationship Id="rId20" Type="http://schemas.openxmlformats.org/officeDocument/2006/relationships/image" Target="../media/image51.png"/><Relationship Id="rId29" Type="http://schemas.openxmlformats.org/officeDocument/2006/relationships/image" Target="../media/image60.png"/><Relationship Id="rId1" Type="http://schemas.openxmlformats.org/officeDocument/2006/relationships/slideLayout" Target="../slideLayouts/slideLayout2.xml"/><Relationship Id="rId6" Type="http://schemas.openxmlformats.org/officeDocument/2006/relationships/image" Target="../media/image37.png"/><Relationship Id="rId11" Type="http://schemas.openxmlformats.org/officeDocument/2006/relationships/image" Target="../media/image42.png"/><Relationship Id="rId24" Type="http://schemas.openxmlformats.org/officeDocument/2006/relationships/image" Target="../media/image55.png"/><Relationship Id="rId32" Type="http://schemas.openxmlformats.org/officeDocument/2006/relationships/image" Target="../media/image63.png"/><Relationship Id="rId5" Type="http://schemas.openxmlformats.org/officeDocument/2006/relationships/image" Target="../media/image36.png"/><Relationship Id="rId15" Type="http://schemas.openxmlformats.org/officeDocument/2006/relationships/image" Target="../media/image46.png"/><Relationship Id="rId23" Type="http://schemas.openxmlformats.org/officeDocument/2006/relationships/image" Target="../media/image54.png"/><Relationship Id="rId28" Type="http://schemas.openxmlformats.org/officeDocument/2006/relationships/image" Target="../media/image59.png"/><Relationship Id="rId36" Type="http://schemas.openxmlformats.org/officeDocument/2006/relationships/image" Target="../media/image66.png"/><Relationship Id="rId10" Type="http://schemas.openxmlformats.org/officeDocument/2006/relationships/image" Target="../media/image41.png"/><Relationship Id="rId19" Type="http://schemas.openxmlformats.org/officeDocument/2006/relationships/image" Target="../media/image50.png"/><Relationship Id="rId31" Type="http://schemas.openxmlformats.org/officeDocument/2006/relationships/image" Target="../media/image62.pn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image" Target="../media/image45.png"/><Relationship Id="rId22" Type="http://schemas.openxmlformats.org/officeDocument/2006/relationships/image" Target="../media/image53.png"/><Relationship Id="rId27" Type="http://schemas.openxmlformats.org/officeDocument/2006/relationships/image" Target="../media/image58.png"/><Relationship Id="rId30" Type="http://schemas.openxmlformats.org/officeDocument/2006/relationships/image" Target="../media/image61.png"/><Relationship Id="rId35" Type="http://schemas.openxmlformats.org/officeDocument/2006/relationships/image" Target="../media/image14.png"/><Relationship Id="rId8" Type="http://schemas.openxmlformats.org/officeDocument/2006/relationships/image" Target="../media/image39.png"/></Relationships>
</file>

<file path=ppt/slides/_rels/slide50.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109.png"/><Relationship Id="rId7" Type="http://schemas.openxmlformats.org/officeDocument/2006/relationships/image" Target="../media/image113.png"/><Relationship Id="rId2" Type="http://schemas.openxmlformats.org/officeDocument/2006/relationships/notesSlide" Target="../notesSlides/notesSlide50.xml"/><Relationship Id="rId1" Type="http://schemas.openxmlformats.org/officeDocument/2006/relationships/slideLayout" Target="../slideLayouts/slideLayout6.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notesSlide" Target="../notesSlides/notesSlide53.xml"/><Relationship Id="rId1" Type="http://schemas.openxmlformats.org/officeDocument/2006/relationships/slideLayout" Target="../slideLayouts/slideLayout13.xml"/><Relationship Id="rId6" Type="http://schemas.openxmlformats.org/officeDocument/2006/relationships/image" Target="../media/image177.png"/><Relationship Id="rId5" Type="http://schemas.openxmlformats.org/officeDocument/2006/relationships/image" Target="../media/image176.png"/><Relationship Id="rId4" Type="http://schemas.openxmlformats.org/officeDocument/2006/relationships/image" Target="../media/image175.png"/></Relationships>
</file>

<file path=ppt/slides/_rels/slide54.xml.rels><?xml version="1.0" encoding="UTF-8" standalone="yes"?>
<Relationships xmlns="http://schemas.openxmlformats.org/package/2006/relationships"><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notesSlide" Target="../notesSlides/notesSlide54.xml"/><Relationship Id="rId1" Type="http://schemas.openxmlformats.org/officeDocument/2006/relationships/slideLayout" Target="../slideLayouts/slideLayout13.xml"/><Relationship Id="rId6" Type="http://schemas.openxmlformats.org/officeDocument/2006/relationships/image" Target="../media/image177.png"/><Relationship Id="rId5" Type="http://schemas.openxmlformats.org/officeDocument/2006/relationships/image" Target="../media/image176.png"/><Relationship Id="rId4" Type="http://schemas.openxmlformats.org/officeDocument/2006/relationships/image" Target="../media/image175.png"/></Relationships>
</file>

<file path=ppt/slides/_rels/slide55.xml.rels><?xml version="1.0" encoding="UTF-8" standalone="yes"?>
<Relationships xmlns="http://schemas.openxmlformats.org/package/2006/relationships"><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notesSlide" Target="../notesSlides/notesSlide55.xml"/><Relationship Id="rId1" Type="http://schemas.openxmlformats.org/officeDocument/2006/relationships/slideLayout" Target="../slideLayouts/slideLayout13.xml"/><Relationship Id="rId6" Type="http://schemas.openxmlformats.org/officeDocument/2006/relationships/image" Target="../media/image177.png"/><Relationship Id="rId5" Type="http://schemas.openxmlformats.org/officeDocument/2006/relationships/image" Target="../media/image176.png"/><Relationship Id="rId4" Type="http://schemas.openxmlformats.org/officeDocument/2006/relationships/image" Target="../media/image175.png"/></Relationships>
</file>

<file path=ppt/slides/_rels/slide56.xml.rels><?xml version="1.0" encoding="UTF-8" standalone="yes"?>
<Relationships xmlns="http://schemas.openxmlformats.org/package/2006/relationships"><Relationship Id="rId8" Type="http://schemas.openxmlformats.org/officeDocument/2006/relationships/image" Target="../media/image184.png"/><Relationship Id="rId3" Type="http://schemas.openxmlformats.org/officeDocument/2006/relationships/image" Target="../media/image179.png"/><Relationship Id="rId7" Type="http://schemas.openxmlformats.org/officeDocument/2006/relationships/image" Target="../media/image183.png"/><Relationship Id="rId2" Type="http://schemas.openxmlformats.org/officeDocument/2006/relationships/notesSlide" Target="../notesSlides/notesSlide56.xml"/><Relationship Id="rId1" Type="http://schemas.openxmlformats.org/officeDocument/2006/relationships/slideLayout" Target="../slideLayouts/slideLayout2.xml"/><Relationship Id="rId6" Type="http://schemas.openxmlformats.org/officeDocument/2006/relationships/image" Target="../media/image182.png"/><Relationship Id="rId5" Type="http://schemas.openxmlformats.org/officeDocument/2006/relationships/image" Target="../media/image181.png"/><Relationship Id="rId4" Type="http://schemas.openxmlformats.org/officeDocument/2006/relationships/image" Target="../media/image180.png"/></Relationships>
</file>

<file path=ppt/slides/_rels/slide57.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57.xml"/><Relationship Id="rId1" Type="http://schemas.openxmlformats.org/officeDocument/2006/relationships/slideLayout" Target="../slideLayouts/slideLayout2.xml"/><Relationship Id="rId5" Type="http://schemas.openxmlformats.org/officeDocument/2006/relationships/image" Target="../media/image187.png"/><Relationship Id="rId4" Type="http://schemas.openxmlformats.org/officeDocument/2006/relationships/image" Target="../media/image186.png"/></Relationships>
</file>

<file path=ppt/slides/_rels/slide58.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58.xml"/><Relationship Id="rId1" Type="http://schemas.openxmlformats.org/officeDocument/2006/relationships/slideLayout" Target="../slideLayouts/slideLayout9.xml"/><Relationship Id="rId4" Type="http://schemas.openxmlformats.org/officeDocument/2006/relationships/image" Target="../media/image189.jp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 Id="rId9" Type="http://schemas.openxmlformats.org/officeDocument/2006/relationships/image" Target="../media/image73.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73.png"/><Relationship Id="rId5" Type="http://schemas.openxmlformats.org/officeDocument/2006/relationships/image" Target="../media/image71.png"/><Relationship Id="rId4" Type="http://schemas.openxmlformats.org/officeDocument/2006/relationships/image" Target="../media/image7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082"/>
        <p:cNvGrpSpPr/>
        <p:nvPr/>
      </p:nvGrpSpPr>
      <p:grpSpPr>
        <a:xfrm>
          <a:off x="0" y="0"/>
          <a:ext cx="0" cy="0"/>
          <a:chOff x="0" y="0"/>
          <a:chExt cx="0" cy="0"/>
        </a:xfrm>
      </p:grpSpPr>
      <p:sp>
        <p:nvSpPr>
          <p:cNvPr id="1083" name="Google Shape;1083;p1"/>
          <p:cNvSpPr txBox="1">
            <a:spLocks noGrp="1"/>
          </p:cNvSpPr>
          <p:nvPr>
            <p:ph type="ctrTitle"/>
          </p:nvPr>
        </p:nvSpPr>
        <p:spPr>
          <a:xfrm>
            <a:off x="902896" y="4024233"/>
            <a:ext cx="5853504" cy="1634999"/>
          </a:xfrm>
          <a:prstGeom prst="rect">
            <a:avLst/>
          </a:prstGeom>
          <a:noFill/>
          <a:ln>
            <a:noFill/>
          </a:ln>
        </p:spPr>
        <p:txBody>
          <a:bodyPr spcFirstLastPara="1" wrap="square" lIns="0" tIns="0" rIns="0" bIns="0" anchor="b" anchorCtr="0">
            <a:spAutoFit/>
          </a:bodyPr>
          <a:lstStyle/>
          <a:p>
            <a:pPr marL="0" lvl="0" indent="0" algn="l" rtl="0">
              <a:lnSpc>
                <a:spcPct val="70000"/>
              </a:lnSpc>
              <a:spcBef>
                <a:spcPts val="0"/>
              </a:spcBef>
              <a:spcAft>
                <a:spcPts val="0"/>
              </a:spcAft>
              <a:buClr>
                <a:schemeClr val="lt1"/>
              </a:buClr>
              <a:buSzPts val="7500"/>
              <a:buFont typeface="Franklin Gothic"/>
              <a:buNone/>
            </a:pPr>
            <a:r>
              <a:rPr lang="en-US" sz="7500"/>
              <a:t>Infomineo  presentation</a:t>
            </a:r>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406"/>
        <p:cNvGrpSpPr/>
        <p:nvPr/>
      </p:nvGrpSpPr>
      <p:grpSpPr>
        <a:xfrm>
          <a:off x="0" y="0"/>
          <a:ext cx="0" cy="0"/>
          <a:chOff x="0" y="0"/>
          <a:chExt cx="0" cy="0"/>
        </a:xfrm>
      </p:grpSpPr>
      <p:sp>
        <p:nvSpPr>
          <p:cNvPr id="1407" name="Google Shape;1407;p9"/>
          <p:cNvSpPr/>
          <p:nvPr/>
        </p:nvSpPr>
        <p:spPr>
          <a:xfrm>
            <a:off x="550863" y="1562582"/>
            <a:ext cx="3387145" cy="4734829"/>
          </a:xfrm>
          <a:prstGeom prst="roundRect">
            <a:avLst>
              <a:gd name="adj" fmla="val 3729"/>
            </a:avLst>
          </a:prstGeom>
          <a:solidFill>
            <a:schemeClr val="lt1"/>
          </a:solidFill>
          <a:ln>
            <a:noFill/>
          </a:ln>
          <a:effectLst>
            <a:outerShdw blurRad="508000" algn="ctr" rotWithShape="0">
              <a:srgbClr val="000000">
                <a:alpha val="12941"/>
              </a:srgbClr>
            </a:outerShdw>
          </a:effectLst>
        </p:spPr>
        <p:txBody>
          <a:bodyPr spcFirstLastPara="1" wrap="square" lIns="144000" tIns="180000" rIns="144000" bIns="180000" anchor="t" anchorCtr="0">
            <a:noAutofit/>
          </a:bodyPr>
          <a:lstStyle/>
          <a:p>
            <a:pPr marL="0" marR="0" lvl="0" indent="0" algn="ctr" rtl="0">
              <a:lnSpc>
                <a:spcPct val="141666"/>
              </a:lnSpc>
              <a:spcBef>
                <a:spcPts val="0"/>
              </a:spcBef>
              <a:spcAft>
                <a:spcPts val="0"/>
              </a:spcAft>
              <a:buClr>
                <a:schemeClr val="accent1"/>
              </a:buClr>
              <a:buSzPts val="1200"/>
              <a:buFont typeface="Calibri"/>
              <a:buNone/>
            </a:pPr>
            <a:endParaRPr sz="1200" b="0" i="0" u="none" strike="noStrike" cap="none">
              <a:solidFill>
                <a:schemeClr val="dk1"/>
              </a:solidFill>
              <a:latin typeface="Calibri"/>
              <a:ea typeface="Calibri"/>
              <a:cs typeface="Calibri"/>
              <a:sym typeface="Calibri"/>
            </a:endParaRPr>
          </a:p>
        </p:txBody>
      </p:sp>
      <p:sp>
        <p:nvSpPr>
          <p:cNvPr id="1408" name="Google Shape;1408;p9"/>
          <p:cNvSpPr/>
          <p:nvPr/>
        </p:nvSpPr>
        <p:spPr>
          <a:xfrm>
            <a:off x="4412108" y="1562582"/>
            <a:ext cx="3387145" cy="4734829"/>
          </a:xfrm>
          <a:prstGeom prst="roundRect">
            <a:avLst>
              <a:gd name="adj" fmla="val 3729"/>
            </a:avLst>
          </a:prstGeom>
          <a:solidFill>
            <a:schemeClr val="lt1"/>
          </a:solidFill>
          <a:ln>
            <a:noFill/>
          </a:ln>
          <a:effectLst>
            <a:outerShdw blurRad="508000" algn="ctr" rotWithShape="0">
              <a:srgbClr val="000000">
                <a:alpha val="12941"/>
              </a:srgbClr>
            </a:outerShdw>
          </a:effectLst>
        </p:spPr>
        <p:txBody>
          <a:bodyPr spcFirstLastPara="1" wrap="square" lIns="144000" tIns="180000" rIns="144000" bIns="180000" anchor="t" anchorCtr="0">
            <a:noAutofit/>
          </a:bodyPr>
          <a:lstStyle/>
          <a:p>
            <a:pPr marL="0" marR="0" lvl="0" indent="0" algn="ctr" rtl="0">
              <a:lnSpc>
                <a:spcPct val="141666"/>
              </a:lnSpc>
              <a:spcBef>
                <a:spcPts val="0"/>
              </a:spcBef>
              <a:spcAft>
                <a:spcPts val="0"/>
              </a:spcAft>
              <a:buClr>
                <a:schemeClr val="accent1"/>
              </a:buClr>
              <a:buSzPts val="1200"/>
              <a:buFont typeface="Calibri"/>
              <a:buNone/>
            </a:pPr>
            <a:endParaRPr sz="1200" b="0" i="0" u="none" strike="noStrike" cap="none">
              <a:solidFill>
                <a:schemeClr val="dk1"/>
              </a:solidFill>
              <a:latin typeface="Calibri"/>
              <a:ea typeface="Calibri"/>
              <a:cs typeface="Calibri"/>
              <a:sym typeface="Calibri"/>
            </a:endParaRPr>
          </a:p>
        </p:txBody>
      </p:sp>
      <p:sp>
        <p:nvSpPr>
          <p:cNvPr id="1409" name="Google Shape;1409;p9"/>
          <p:cNvSpPr/>
          <p:nvPr/>
        </p:nvSpPr>
        <p:spPr>
          <a:xfrm>
            <a:off x="8273352" y="1562582"/>
            <a:ext cx="3387145" cy="4734829"/>
          </a:xfrm>
          <a:prstGeom prst="roundRect">
            <a:avLst>
              <a:gd name="adj" fmla="val 3729"/>
            </a:avLst>
          </a:prstGeom>
          <a:solidFill>
            <a:schemeClr val="lt1"/>
          </a:solidFill>
          <a:ln>
            <a:noFill/>
          </a:ln>
          <a:effectLst>
            <a:outerShdw blurRad="508000" algn="ctr" rotWithShape="0">
              <a:srgbClr val="000000">
                <a:alpha val="12941"/>
              </a:srgbClr>
            </a:outerShdw>
          </a:effectLst>
        </p:spPr>
        <p:txBody>
          <a:bodyPr spcFirstLastPara="1" wrap="square" lIns="144000" tIns="180000" rIns="144000" bIns="180000" anchor="t" anchorCtr="0">
            <a:noAutofit/>
          </a:bodyPr>
          <a:lstStyle/>
          <a:p>
            <a:pPr marL="0" marR="0" lvl="0" indent="0" algn="ctr" rtl="0">
              <a:lnSpc>
                <a:spcPct val="141666"/>
              </a:lnSpc>
              <a:spcBef>
                <a:spcPts val="0"/>
              </a:spcBef>
              <a:spcAft>
                <a:spcPts val="0"/>
              </a:spcAft>
              <a:buClr>
                <a:schemeClr val="accent1"/>
              </a:buClr>
              <a:buSzPts val="1200"/>
              <a:buFont typeface="Calibri"/>
              <a:buNone/>
            </a:pPr>
            <a:endParaRPr sz="1200" b="0" i="0" u="none" strike="noStrike" cap="none">
              <a:solidFill>
                <a:schemeClr val="dk1"/>
              </a:solidFill>
              <a:latin typeface="Calibri"/>
              <a:ea typeface="Calibri"/>
              <a:cs typeface="Calibri"/>
              <a:sym typeface="Calibri"/>
            </a:endParaRPr>
          </a:p>
        </p:txBody>
      </p:sp>
      <p:sp>
        <p:nvSpPr>
          <p:cNvPr id="1410" name="Google Shape;1410;p9"/>
          <p:cNvSpPr txBox="1">
            <a:spLocks noGrp="1"/>
          </p:cNvSpPr>
          <p:nvPr>
            <p:ph type="title"/>
          </p:nvPr>
        </p:nvSpPr>
        <p:spPr>
          <a:xfrm>
            <a:off x="539400"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Infomineo offers a complete range of Research services</a:t>
            </a:r>
            <a:endParaRPr/>
          </a:p>
        </p:txBody>
      </p:sp>
      <p:sp>
        <p:nvSpPr>
          <p:cNvPr id="1411" name="Google Shape;1411;p9"/>
          <p:cNvSpPr txBox="1"/>
          <p:nvPr/>
        </p:nvSpPr>
        <p:spPr>
          <a:xfrm>
            <a:off x="1922076" y="2346436"/>
            <a:ext cx="1867604" cy="581698"/>
          </a:xfrm>
          <a:prstGeom prst="rect">
            <a:avLst/>
          </a:prstGeom>
          <a:noFill/>
          <a:ln>
            <a:noFill/>
          </a:ln>
        </p:spPr>
        <p:txBody>
          <a:bodyPr spcFirstLastPara="1" wrap="square" lIns="0" tIns="0" rIns="0" bIns="0" anchor="t" anchorCtr="0">
            <a:spAutoFit/>
          </a:bodyPr>
          <a:lstStyle/>
          <a:p>
            <a:pPr marL="0" marR="0" lvl="1" indent="0" algn="l" rtl="0">
              <a:lnSpc>
                <a:spcPct val="90000"/>
              </a:lnSpc>
              <a:spcBef>
                <a:spcPts val="0"/>
              </a:spcBef>
              <a:spcAft>
                <a:spcPts val="0"/>
              </a:spcAft>
              <a:buClr>
                <a:schemeClr val="accent4"/>
              </a:buClr>
              <a:buSzPts val="1400"/>
              <a:buFont typeface="Noto Sans Symbols"/>
              <a:buNone/>
            </a:pPr>
            <a:r>
              <a:rPr lang="en-US" sz="1400" b="0" i="0" u="none" strike="noStrike" cap="none">
                <a:solidFill>
                  <a:srgbClr val="3D3D3D"/>
                </a:solidFill>
                <a:latin typeface="Calibri"/>
                <a:ea typeface="Calibri"/>
                <a:cs typeface="Calibri"/>
                <a:sym typeface="Calibri"/>
              </a:rPr>
              <a:t>Country selection, demographics, economy, doing business etc.</a:t>
            </a:r>
            <a:endParaRPr sz="1400" b="0" i="0" u="none" strike="noStrike" cap="none">
              <a:solidFill>
                <a:srgbClr val="000000"/>
              </a:solidFill>
              <a:latin typeface="Arial"/>
              <a:ea typeface="Arial"/>
              <a:cs typeface="Arial"/>
              <a:sym typeface="Arial"/>
            </a:endParaRPr>
          </a:p>
        </p:txBody>
      </p:sp>
      <p:sp>
        <p:nvSpPr>
          <p:cNvPr id="1412" name="Google Shape;1412;p9"/>
          <p:cNvSpPr/>
          <p:nvPr/>
        </p:nvSpPr>
        <p:spPr>
          <a:xfrm>
            <a:off x="8690485" y="1772498"/>
            <a:ext cx="2552879" cy="2769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2000"/>
              <a:buFont typeface="Arial"/>
              <a:buNone/>
            </a:pPr>
            <a:r>
              <a:rPr lang="en-US" sz="2000" b="0" i="0" u="none" strike="noStrike" cap="none">
                <a:solidFill>
                  <a:schemeClr val="accent1"/>
                </a:solidFill>
                <a:latin typeface="Franklin Gothic"/>
                <a:ea typeface="Franklin Gothic"/>
                <a:cs typeface="Franklin Gothic"/>
                <a:sym typeface="Franklin Gothic"/>
              </a:rPr>
              <a:t>Three Types of Support</a:t>
            </a:r>
            <a:endParaRPr sz="1400" b="0" i="0" u="none" strike="noStrike" cap="none">
              <a:solidFill>
                <a:srgbClr val="000000"/>
              </a:solidFill>
              <a:latin typeface="Arial"/>
              <a:ea typeface="Arial"/>
              <a:cs typeface="Arial"/>
              <a:sym typeface="Arial"/>
            </a:endParaRPr>
          </a:p>
        </p:txBody>
      </p:sp>
      <p:sp>
        <p:nvSpPr>
          <p:cNvPr id="1413" name="Google Shape;1413;p9"/>
          <p:cNvSpPr/>
          <p:nvPr/>
        </p:nvSpPr>
        <p:spPr>
          <a:xfrm>
            <a:off x="4549902" y="1772498"/>
            <a:ext cx="3111557" cy="2769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2000"/>
              <a:buFont typeface="Arial"/>
              <a:buNone/>
            </a:pPr>
            <a:r>
              <a:rPr lang="en-US" sz="2000" b="0" i="0" u="none" strike="noStrike" cap="none">
                <a:solidFill>
                  <a:schemeClr val="accent1"/>
                </a:solidFill>
                <a:latin typeface="Franklin Gothic"/>
                <a:ea typeface="Franklin Gothic"/>
                <a:cs typeface="Franklin Gothic"/>
                <a:sym typeface="Franklin Gothic"/>
              </a:rPr>
              <a:t>Combination of Approaches</a:t>
            </a:r>
            <a:endParaRPr sz="1400" b="0" i="0" u="none" strike="noStrike" cap="none">
              <a:solidFill>
                <a:srgbClr val="000000"/>
              </a:solidFill>
              <a:latin typeface="Arial"/>
              <a:ea typeface="Arial"/>
              <a:cs typeface="Arial"/>
              <a:sym typeface="Arial"/>
            </a:endParaRPr>
          </a:p>
        </p:txBody>
      </p:sp>
      <p:sp>
        <p:nvSpPr>
          <p:cNvPr id="1414" name="Google Shape;1414;p9"/>
          <p:cNvSpPr/>
          <p:nvPr/>
        </p:nvSpPr>
        <p:spPr>
          <a:xfrm>
            <a:off x="902337" y="1772498"/>
            <a:ext cx="2684196" cy="2769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2000"/>
              <a:buFont typeface="Arial"/>
              <a:buNone/>
            </a:pPr>
            <a:r>
              <a:rPr lang="en-US" sz="2000" b="0" i="0" u="none" strike="noStrike" cap="none">
                <a:solidFill>
                  <a:schemeClr val="accent1"/>
                </a:solidFill>
                <a:latin typeface="Franklin Gothic"/>
                <a:ea typeface="Franklin Gothic"/>
                <a:cs typeface="Franklin Gothic"/>
                <a:sym typeface="Franklin Gothic"/>
              </a:rPr>
              <a:t>Four Levels of Research</a:t>
            </a:r>
            <a:endParaRPr sz="1400" b="0" i="0" u="none" strike="noStrike" cap="none">
              <a:solidFill>
                <a:srgbClr val="000000"/>
              </a:solidFill>
              <a:latin typeface="Arial"/>
              <a:ea typeface="Arial"/>
              <a:cs typeface="Arial"/>
              <a:sym typeface="Arial"/>
            </a:endParaRPr>
          </a:p>
        </p:txBody>
      </p:sp>
      <p:sp>
        <p:nvSpPr>
          <p:cNvPr id="1415" name="Google Shape;1415;p9"/>
          <p:cNvSpPr/>
          <p:nvPr/>
        </p:nvSpPr>
        <p:spPr>
          <a:xfrm rot="5400000">
            <a:off x="740300" y="2260293"/>
            <a:ext cx="1039080" cy="1029893"/>
          </a:xfrm>
          <a:prstGeom prst="homePlate">
            <a:avLst>
              <a:gd name="adj" fmla="val 18367"/>
            </a:avLst>
          </a:prstGeom>
          <a:solidFill>
            <a:schemeClr val="lt1">
              <a:alpha val="47843"/>
            </a:schemeClr>
          </a:solidFill>
          <a:ln w="1905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16" name="Google Shape;1416;p9"/>
          <p:cNvSpPr/>
          <p:nvPr/>
        </p:nvSpPr>
        <p:spPr>
          <a:xfrm rot="5400000">
            <a:off x="743513" y="3217739"/>
            <a:ext cx="1039080" cy="1029893"/>
          </a:xfrm>
          <a:prstGeom prst="chevron">
            <a:avLst>
              <a:gd name="adj" fmla="val 17686"/>
            </a:avLst>
          </a:prstGeom>
          <a:solidFill>
            <a:schemeClr val="lt1">
              <a:alpha val="47843"/>
            </a:schemeClr>
          </a:solidFill>
          <a:ln w="1905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17" name="Google Shape;1417;p9"/>
          <p:cNvSpPr/>
          <p:nvPr/>
        </p:nvSpPr>
        <p:spPr>
          <a:xfrm rot="5400000">
            <a:off x="743513" y="4175186"/>
            <a:ext cx="1039080" cy="1029893"/>
          </a:xfrm>
          <a:prstGeom prst="chevron">
            <a:avLst>
              <a:gd name="adj" fmla="val 17686"/>
            </a:avLst>
          </a:prstGeom>
          <a:solidFill>
            <a:schemeClr val="lt1">
              <a:alpha val="47843"/>
            </a:schemeClr>
          </a:solidFill>
          <a:ln w="1905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18" name="Google Shape;1418;p9"/>
          <p:cNvSpPr/>
          <p:nvPr/>
        </p:nvSpPr>
        <p:spPr>
          <a:xfrm rot="5400000">
            <a:off x="743513" y="5132633"/>
            <a:ext cx="1039080" cy="1029893"/>
          </a:xfrm>
          <a:prstGeom prst="chevron">
            <a:avLst>
              <a:gd name="adj" fmla="val 17686"/>
            </a:avLst>
          </a:prstGeom>
          <a:solidFill>
            <a:schemeClr val="lt1">
              <a:alpha val="47843"/>
            </a:schemeClr>
          </a:solidFill>
          <a:ln w="1905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19" name="Google Shape;1419;p9"/>
          <p:cNvSpPr txBox="1"/>
          <p:nvPr/>
        </p:nvSpPr>
        <p:spPr>
          <a:xfrm>
            <a:off x="787400" y="2520379"/>
            <a:ext cx="944880" cy="1938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a:solidFill>
                  <a:srgbClr val="3D3D3D"/>
                </a:solidFill>
                <a:latin typeface="Calibri"/>
                <a:ea typeface="Calibri"/>
                <a:cs typeface="Calibri"/>
                <a:sym typeface="Calibri"/>
              </a:rPr>
              <a:t>Country</a:t>
            </a:r>
            <a:endParaRPr sz="1200" b="0" i="0" u="none" strike="noStrike" cap="none">
              <a:solidFill>
                <a:schemeClr val="dk1"/>
              </a:solidFill>
              <a:latin typeface="Calibri"/>
              <a:ea typeface="Calibri"/>
              <a:cs typeface="Calibri"/>
              <a:sym typeface="Calibri"/>
            </a:endParaRPr>
          </a:p>
        </p:txBody>
      </p:sp>
      <p:sp>
        <p:nvSpPr>
          <p:cNvPr id="1420" name="Google Shape;1420;p9"/>
          <p:cNvSpPr txBox="1"/>
          <p:nvPr/>
        </p:nvSpPr>
        <p:spPr>
          <a:xfrm>
            <a:off x="787400" y="3589586"/>
            <a:ext cx="944880" cy="1938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a:solidFill>
                  <a:srgbClr val="3D3D3D"/>
                </a:solidFill>
                <a:latin typeface="Calibri"/>
                <a:ea typeface="Calibri"/>
                <a:cs typeface="Calibri"/>
                <a:sym typeface="Calibri"/>
              </a:rPr>
              <a:t>Market</a:t>
            </a:r>
            <a:endParaRPr sz="1200" b="0" i="0" u="none" strike="noStrike" cap="none">
              <a:solidFill>
                <a:srgbClr val="3D3D3D"/>
              </a:solidFill>
              <a:latin typeface="Calibri"/>
              <a:ea typeface="Calibri"/>
              <a:cs typeface="Calibri"/>
              <a:sym typeface="Calibri"/>
            </a:endParaRPr>
          </a:p>
        </p:txBody>
      </p:sp>
      <p:sp>
        <p:nvSpPr>
          <p:cNvPr id="1421" name="Google Shape;1421;p9"/>
          <p:cNvSpPr txBox="1"/>
          <p:nvPr/>
        </p:nvSpPr>
        <p:spPr>
          <a:xfrm>
            <a:off x="787400" y="4536873"/>
            <a:ext cx="944880" cy="1938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a:solidFill>
                  <a:srgbClr val="3D3D3D"/>
                </a:solidFill>
                <a:latin typeface="Calibri"/>
                <a:ea typeface="Calibri"/>
                <a:cs typeface="Calibri"/>
                <a:sym typeface="Calibri"/>
              </a:rPr>
              <a:t>Company</a:t>
            </a:r>
            <a:endParaRPr sz="1200" b="0" i="0" u="none" strike="noStrike" cap="none">
              <a:solidFill>
                <a:srgbClr val="3D3D3D"/>
              </a:solidFill>
              <a:latin typeface="Calibri"/>
              <a:ea typeface="Calibri"/>
              <a:cs typeface="Calibri"/>
              <a:sym typeface="Calibri"/>
            </a:endParaRPr>
          </a:p>
        </p:txBody>
      </p:sp>
      <p:sp>
        <p:nvSpPr>
          <p:cNvPr id="1422" name="Google Shape;1422;p9"/>
          <p:cNvSpPr txBox="1"/>
          <p:nvPr/>
        </p:nvSpPr>
        <p:spPr>
          <a:xfrm>
            <a:off x="787400" y="5465315"/>
            <a:ext cx="944880" cy="387798"/>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a:solidFill>
                  <a:srgbClr val="3D3D3D"/>
                </a:solidFill>
                <a:latin typeface="Calibri"/>
                <a:ea typeface="Calibri"/>
                <a:cs typeface="Calibri"/>
                <a:sym typeface="Calibri"/>
              </a:rPr>
              <a:t>Consumer/ Expert</a:t>
            </a:r>
            <a:endParaRPr sz="1200" b="0" i="0" u="none" strike="noStrike" cap="none">
              <a:solidFill>
                <a:srgbClr val="3D3D3D"/>
              </a:solidFill>
              <a:latin typeface="Calibri"/>
              <a:ea typeface="Calibri"/>
              <a:cs typeface="Calibri"/>
              <a:sym typeface="Calibri"/>
            </a:endParaRPr>
          </a:p>
        </p:txBody>
      </p:sp>
      <p:sp>
        <p:nvSpPr>
          <p:cNvPr id="1423" name="Google Shape;1423;p9"/>
          <p:cNvSpPr txBox="1"/>
          <p:nvPr/>
        </p:nvSpPr>
        <p:spPr>
          <a:xfrm>
            <a:off x="1922076" y="3211006"/>
            <a:ext cx="1867604" cy="775597"/>
          </a:xfrm>
          <a:prstGeom prst="rect">
            <a:avLst/>
          </a:prstGeom>
          <a:noFill/>
          <a:ln>
            <a:noFill/>
          </a:ln>
        </p:spPr>
        <p:txBody>
          <a:bodyPr spcFirstLastPara="1" wrap="square" lIns="0" tIns="0" rIns="0" bIns="0" anchor="t" anchorCtr="0">
            <a:spAutoFit/>
          </a:bodyPr>
          <a:lstStyle/>
          <a:p>
            <a:pPr marL="0" marR="0" lvl="1" indent="0" algn="l" rtl="0">
              <a:lnSpc>
                <a:spcPct val="90000"/>
              </a:lnSpc>
              <a:spcBef>
                <a:spcPts val="0"/>
              </a:spcBef>
              <a:spcAft>
                <a:spcPts val="0"/>
              </a:spcAft>
              <a:buClr>
                <a:schemeClr val="accent4"/>
              </a:buClr>
              <a:buSzPts val="1400"/>
              <a:buFont typeface="Noto Sans Symbols"/>
              <a:buNone/>
            </a:pPr>
            <a:r>
              <a:rPr lang="en-US" sz="1400" b="0" i="0" u="none" strike="noStrike" cap="none">
                <a:solidFill>
                  <a:srgbClr val="3D3D3D"/>
                </a:solidFill>
                <a:latin typeface="Calibri"/>
                <a:ea typeface="Calibri"/>
                <a:cs typeface="Calibri"/>
                <a:sym typeface="Calibri"/>
              </a:rPr>
              <a:t>Market sizing, competitive landscaping, road to market/value chain mapping etc.</a:t>
            </a:r>
            <a:endParaRPr sz="1400" b="0" i="0" u="none" strike="noStrike" cap="none">
              <a:solidFill>
                <a:srgbClr val="000000"/>
              </a:solidFill>
              <a:latin typeface="Arial"/>
              <a:ea typeface="Arial"/>
              <a:cs typeface="Arial"/>
              <a:sym typeface="Arial"/>
            </a:endParaRPr>
          </a:p>
        </p:txBody>
      </p:sp>
      <p:sp>
        <p:nvSpPr>
          <p:cNvPr id="1424" name="Google Shape;1424;p9"/>
          <p:cNvSpPr txBox="1"/>
          <p:nvPr/>
        </p:nvSpPr>
        <p:spPr>
          <a:xfrm>
            <a:off x="1922076" y="4190912"/>
            <a:ext cx="1867604" cy="775597"/>
          </a:xfrm>
          <a:prstGeom prst="rect">
            <a:avLst/>
          </a:prstGeom>
          <a:noFill/>
          <a:ln>
            <a:noFill/>
          </a:ln>
        </p:spPr>
        <p:txBody>
          <a:bodyPr spcFirstLastPara="1" wrap="square" lIns="0" tIns="0" rIns="0" bIns="0" anchor="t" anchorCtr="0">
            <a:spAutoFit/>
          </a:bodyPr>
          <a:lstStyle/>
          <a:p>
            <a:pPr marL="0" marR="0" lvl="1" indent="0" algn="l" rtl="0">
              <a:lnSpc>
                <a:spcPct val="90000"/>
              </a:lnSpc>
              <a:spcBef>
                <a:spcPts val="0"/>
              </a:spcBef>
              <a:spcAft>
                <a:spcPts val="0"/>
              </a:spcAft>
              <a:buClr>
                <a:schemeClr val="accent4"/>
              </a:buClr>
              <a:buSzPts val="1400"/>
              <a:buFont typeface="Noto Sans Symbols"/>
              <a:buNone/>
            </a:pPr>
            <a:r>
              <a:rPr lang="en-US" sz="1400" b="0" i="0" u="none" strike="noStrike" cap="none">
                <a:solidFill>
                  <a:srgbClr val="3D3D3D"/>
                </a:solidFill>
                <a:latin typeface="Calibri"/>
                <a:ea typeface="Calibri"/>
                <a:cs typeface="Calibri"/>
                <a:sym typeface="Calibri"/>
              </a:rPr>
              <a:t>Company financials, company profiling, supplier/client identification etc.</a:t>
            </a:r>
            <a:endParaRPr sz="1400" b="0" i="0" u="none" strike="noStrike" cap="none">
              <a:solidFill>
                <a:srgbClr val="000000"/>
              </a:solidFill>
              <a:latin typeface="Arial"/>
              <a:ea typeface="Arial"/>
              <a:cs typeface="Arial"/>
              <a:sym typeface="Arial"/>
            </a:endParaRPr>
          </a:p>
        </p:txBody>
      </p:sp>
      <p:sp>
        <p:nvSpPr>
          <p:cNvPr id="1425" name="Google Shape;1425;p9"/>
          <p:cNvSpPr txBox="1"/>
          <p:nvPr/>
        </p:nvSpPr>
        <p:spPr>
          <a:xfrm>
            <a:off x="1922076" y="5155031"/>
            <a:ext cx="1867604" cy="969496"/>
          </a:xfrm>
          <a:prstGeom prst="rect">
            <a:avLst/>
          </a:prstGeom>
          <a:noFill/>
          <a:ln>
            <a:noFill/>
          </a:ln>
        </p:spPr>
        <p:txBody>
          <a:bodyPr spcFirstLastPara="1" wrap="square" lIns="0" tIns="0" rIns="0" bIns="0" anchor="t" anchorCtr="0">
            <a:spAutoFit/>
          </a:bodyPr>
          <a:lstStyle/>
          <a:p>
            <a:pPr marL="0" marR="0" lvl="1" indent="0" algn="l" rtl="0">
              <a:lnSpc>
                <a:spcPct val="90000"/>
              </a:lnSpc>
              <a:spcBef>
                <a:spcPts val="0"/>
              </a:spcBef>
              <a:spcAft>
                <a:spcPts val="0"/>
              </a:spcAft>
              <a:buClr>
                <a:schemeClr val="accent4"/>
              </a:buClr>
              <a:buSzPts val="1400"/>
              <a:buFont typeface="Noto Sans Symbols"/>
              <a:buNone/>
            </a:pPr>
            <a:r>
              <a:rPr lang="en-US" sz="1400" b="0" i="0" u="none" strike="noStrike" cap="none">
                <a:solidFill>
                  <a:srgbClr val="3D3D3D"/>
                </a:solidFill>
                <a:latin typeface="Calibri"/>
                <a:ea typeface="Calibri"/>
                <a:cs typeface="Calibri"/>
                <a:sym typeface="Calibri"/>
              </a:rPr>
              <a:t>Performing online surveys, getting insights from social listening, organising expert interviews</a:t>
            </a:r>
            <a:endParaRPr sz="1400" b="0" i="0" u="none" strike="noStrike" cap="none">
              <a:solidFill>
                <a:srgbClr val="000000"/>
              </a:solidFill>
              <a:latin typeface="Arial"/>
              <a:ea typeface="Arial"/>
              <a:cs typeface="Arial"/>
              <a:sym typeface="Arial"/>
            </a:endParaRPr>
          </a:p>
        </p:txBody>
      </p:sp>
      <p:grpSp>
        <p:nvGrpSpPr>
          <p:cNvPr id="1426" name="Google Shape;1426;p9"/>
          <p:cNvGrpSpPr/>
          <p:nvPr/>
        </p:nvGrpSpPr>
        <p:grpSpPr>
          <a:xfrm>
            <a:off x="4972362" y="3358004"/>
            <a:ext cx="2266638" cy="2074300"/>
            <a:chOff x="4972362" y="3358004"/>
            <a:chExt cx="2266638" cy="2074300"/>
          </a:xfrm>
        </p:grpSpPr>
        <p:sp>
          <p:nvSpPr>
            <p:cNvPr id="1427" name="Google Shape;1427;p9"/>
            <p:cNvSpPr/>
            <p:nvPr/>
          </p:nvSpPr>
          <p:spPr>
            <a:xfrm>
              <a:off x="4972362" y="3358004"/>
              <a:ext cx="1254110" cy="1254111"/>
            </a:xfrm>
            <a:prstGeom prst="flowChartConnector">
              <a:avLst/>
            </a:prstGeom>
            <a:solidFill>
              <a:schemeClr val="lt1"/>
            </a:solidFill>
            <a:ln w="2857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28" name="Google Shape;1428;p9"/>
            <p:cNvSpPr/>
            <p:nvPr/>
          </p:nvSpPr>
          <p:spPr>
            <a:xfrm>
              <a:off x="5984890" y="3358004"/>
              <a:ext cx="1254110" cy="1254111"/>
            </a:xfrm>
            <a:prstGeom prst="flowChartConnector">
              <a:avLst/>
            </a:prstGeom>
            <a:solidFill>
              <a:schemeClr val="lt1"/>
            </a:solidFill>
            <a:ln w="2857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29" name="Google Shape;1429;p9"/>
            <p:cNvSpPr/>
            <p:nvPr/>
          </p:nvSpPr>
          <p:spPr>
            <a:xfrm>
              <a:off x="5478626" y="4178193"/>
              <a:ext cx="1254110" cy="1254111"/>
            </a:xfrm>
            <a:prstGeom prst="flowChartConnector">
              <a:avLst/>
            </a:prstGeom>
            <a:solidFill>
              <a:schemeClr val="lt1"/>
            </a:solidFill>
            <a:ln w="2857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430" name="Google Shape;1430;p9"/>
          <p:cNvSpPr txBox="1"/>
          <p:nvPr/>
        </p:nvSpPr>
        <p:spPr>
          <a:xfrm>
            <a:off x="5186824" y="3782758"/>
            <a:ext cx="635046" cy="387798"/>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a:solidFill>
                  <a:srgbClr val="3D3D3D"/>
                </a:solidFill>
                <a:latin typeface="Calibri"/>
                <a:ea typeface="Calibri"/>
                <a:cs typeface="Calibri"/>
                <a:sym typeface="Calibri"/>
              </a:rPr>
              <a:t>Desk</a:t>
            </a:r>
            <a:br>
              <a:rPr lang="en-US" sz="1400" b="1" i="0" u="none" strike="noStrike" cap="none">
                <a:solidFill>
                  <a:srgbClr val="3D3D3D"/>
                </a:solidFill>
                <a:latin typeface="Calibri"/>
                <a:ea typeface="Calibri"/>
                <a:cs typeface="Calibri"/>
                <a:sym typeface="Calibri"/>
              </a:rPr>
            </a:br>
            <a:r>
              <a:rPr lang="en-US" sz="1400" b="1" i="0" u="none" strike="noStrike" cap="none">
                <a:solidFill>
                  <a:srgbClr val="3D3D3D"/>
                </a:solidFill>
                <a:latin typeface="Calibri"/>
                <a:ea typeface="Calibri"/>
                <a:cs typeface="Calibri"/>
                <a:sym typeface="Calibri"/>
              </a:rPr>
              <a:t>research</a:t>
            </a:r>
            <a:endParaRPr sz="1200" b="0" i="0" u="none" strike="noStrike" cap="none">
              <a:solidFill>
                <a:schemeClr val="dk1"/>
              </a:solidFill>
              <a:latin typeface="Calibri"/>
              <a:ea typeface="Calibri"/>
              <a:cs typeface="Calibri"/>
              <a:sym typeface="Calibri"/>
            </a:endParaRPr>
          </a:p>
        </p:txBody>
      </p:sp>
      <p:sp>
        <p:nvSpPr>
          <p:cNvPr id="1431" name="Google Shape;1431;p9"/>
          <p:cNvSpPr txBox="1"/>
          <p:nvPr/>
        </p:nvSpPr>
        <p:spPr>
          <a:xfrm>
            <a:off x="6388685" y="3782758"/>
            <a:ext cx="635046" cy="387798"/>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a:solidFill>
                  <a:srgbClr val="3D3D3D"/>
                </a:solidFill>
                <a:latin typeface="Calibri"/>
                <a:ea typeface="Calibri"/>
                <a:cs typeface="Calibri"/>
                <a:sym typeface="Calibri"/>
              </a:rPr>
              <a:t>Primary</a:t>
            </a:r>
            <a:br>
              <a:rPr lang="en-US" sz="1400" b="1" i="0" u="none" strike="noStrike" cap="none">
                <a:solidFill>
                  <a:srgbClr val="3D3D3D"/>
                </a:solidFill>
                <a:latin typeface="Calibri"/>
                <a:ea typeface="Calibri"/>
                <a:cs typeface="Calibri"/>
                <a:sym typeface="Calibri"/>
              </a:rPr>
            </a:br>
            <a:r>
              <a:rPr lang="en-US" sz="1400" b="1" i="0" u="none" strike="noStrike" cap="none">
                <a:solidFill>
                  <a:srgbClr val="3D3D3D"/>
                </a:solidFill>
                <a:latin typeface="Calibri"/>
                <a:ea typeface="Calibri"/>
                <a:cs typeface="Calibri"/>
                <a:sym typeface="Calibri"/>
              </a:rPr>
              <a:t>research</a:t>
            </a:r>
            <a:endParaRPr sz="1200" b="0" i="0" u="none" strike="noStrike" cap="none">
              <a:solidFill>
                <a:schemeClr val="dk1"/>
              </a:solidFill>
              <a:latin typeface="Calibri"/>
              <a:ea typeface="Calibri"/>
              <a:cs typeface="Calibri"/>
              <a:sym typeface="Calibri"/>
            </a:endParaRPr>
          </a:p>
        </p:txBody>
      </p:sp>
      <p:sp>
        <p:nvSpPr>
          <p:cNvPr id="1432" name="Google Shape;1432;p9"/>
          <p:cNvSpPr txBox="1"/>
          <p:nvPr/>
        </p:nvSpPr>
        <p:spPr>
          <a:xfrm>
            <a:off x="5635505" y="4757294"/>
            <a:ext cx="975139" cy="387798"/>
          </a:xfrm>
          <a:prstGeom prst="rect">
            <a:avLst/>
          </a:prstGeom>
          <a:solidFill>
            <a:schemeClr val="lt1"/>
          </a:solid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a:solidFill>
                  <a:srgbClr val="3D3D3D"/>
                </a:solidFill>
                <a:latin typeface="Calibri"/>
                <a:ea typeface="Calibri"/>
                <a:cs typeface="Calibri"/>
                <a:sym typeface="Calibri"/>
              </a:rPr>
              <a:t>Tech enabled</a:t>
            </a:r>
            <a:br>
              <a:rPr lang="en-US" sz="1400" b="1" i="0" u="none" strike="noStrike" cap="none">
                <a:solidFill>
                  <a:srgbClr val="3D3D3D"/>
                </a:solidFill>
                <a:latin typeface="Calibri"/>
                <a:ea typeface="Calibri"/>
                <a:cs typeface="Calibri"/>
                <a:sym typeface="Calibri"/>
              </a:rPr>
            </a:br>
            <a:r>
              <a:rPr lang="en-US" sz="1400" b="1" i="0" u="none" strike="noStrike" cap="none">
                <a:solidFill>
                  <a:srgbClr val="3D3D3D"/>
                </a:solidFill>
                <a:latin typeface="Calibri"/>
                <a:ea typeface="Calibri"/>
                <a:cs typeface="Calibri"/>
                <a:sym typeface="Calibri"/>
              </a:rPr>
              <a:t>research</a:t>
            </a:r>
            <a:endParaRPr sz="1200" b="0" i="0" u="none" strike="noStrike" cap="none">
              <a:solidFill>
                <a:schemeClr val="dk1"/>
              </a:solidFill>
              <a:latin typeface="Calibri"/>
              <a:ea typeface="Calibri"/>
              <a:cs typeface="Calibri"/>
              <a:sym typeface="Calibri"/>
            </a:endParaRPr>
          </a:p>
        </p:txBody>
      </p:sp>
      <p:sp>
        <p:nvSpPr>
          <p:cNvPr id="1433" name="Google Shape;1433;p9"/>
          <p:cNvSpPr txBox="1"/>
          <p:nvPr/>
        </p:nvSpPr>
        <p:spPr>
          <a:xfrm>
            <a:off x="4688194" y="2459099"/>
            <a:ext cx="1361221" cy="775597"/>
          </a:xfrm>
          <a:prstGeom prst="rect">
            <a:avLst/>
          </a:prstGeom>
          <a:noFill/>
          <a:ln>
            <a:noFill/>
          </a:ln>
        </p:spPr>
        <p:txBody>
          <a:bodyPr spcFirstLastPara="1" wrap="square" lIns="0" tIns="0" rIns="0" bIns="0" anchor="t" anchorCtr="0">
            <a:spAutoFit/>
          </a:bodyPr>
          <a:lstStyle/>
          <a:p>
            <a:pPr marL="0" marR="0" lvl="1" indent="0" algn="l" rtl="0">
              <a:lnSpc>
                <a:spcPct val="90000"/>
              </a:lnSpc>
              <a:spcBef>
                <a:spcPts val="0"/>
              </a:spcBef>
              <a:spcAft>
                <a:spcPts val="0"/>
              </a:spcAft>
              <a:buClr>
                <a:schemeClr val="accent4"/>
              </a:buClr>
              <a:buSzPts val="1400"/>
              <a:buFont typeface="Noto Sans Symbols"/>
              <a:buNone/>
            </a:pPr>
            <a:r>
              <a:rPr lang="en-US" sz="1400" b="0" i="0" u="none" strike="noStrike" cap="none">
                <a:solidFill>
                  <a:srgbClr val="3D3D3D"/>
                </a:solidFill>
                <a:latin typeface="Calibri"/>
                <a:ea typeface="Calibri"/>
                <a:cs typeface="Calibri"/>
                <a:sym typeface="Calibri"/>
              </a:rPr>
              <a:t>Open sources and paid sources such as Orbis, Capital IQ and Factiva</a:t>
            </a:r>
            <a:endParaRPr sz="1400" b="0" i="0" u="none" strike="noStrike" cap="none">
              <a:solidFill>
                <a:srgbClr val="000000"/>
              </a:solidFill>
              <a:latin typeface="Arial"/>
              <a:ea typeface="Arial"/>
              <a:cs typeface="Arial"/>
              <a:sym typeface="Arial"/>
            </a:endParaRPr>
          </a:p>
        </p:txBody>
      </p:sp>
      <p:sp>
        <p:nvSpPr>
          <p:cNvPr id="1434" name="Google Shape;1434;p9"/>
          <p:cNvSpPr txBox="1"/>
          <p:nvPr/>
        </p:nvSpPr>
        <p:spPr>
          <a:xfrm>
            <a:off x="6133874" y="2687986"/>
            <a:ext cx="1505683" cy="581698"/>
          </a:xfrm>
          <a:prstGeom prst="rect">
            <a:avLst/>
          </a:prstGeom>
          <a:noFill/>
          <a:ln>
            <a:noFill/>
          </a:ln>
        </p:spPr>
        <p:txBody>
          <a:bodyPr spcFirstLastPara="1" wrap="square" lIns="0" tIns="0" rIns="0" bIns="0" anchor="t" anchorCtr="0">
            <a:spAutoFit/>
          </a:bodyPr>
          <a:lstStyle/>
          <a:p>
            <a:pPr marL="0" marR="0" lvl="1" indent="0" algn="r" rtl="0">
              <a:lnSpc>
                <a:spcPct val="90000"/>
              </a:lnSpc>
              <a:spcBef>
                <a:spcPts val="0"/>
              </a:spcBef>
              <a:spcAft>
                <a:spcPts val="0"/>
              </a:spcAft>
              <a:buClr>
                <a:schemeClr val="accent4"/>
              </a:buClr>
              <a:buSzPts val="1400"/>
              <a:buFont typeface="Noto Sans Symbols"/>
              <a:buNone/>
            </a:pPr>
            <a:r>
              <a:rPr lang="en-US" sz="1400" b="0" i="0" u="none" strike="noStrike" cap="none">
                <a:solidFill>
                  <a:srgbClr val="3D3D3D"/>
                </a:solidFill>
                <a:latin typeface="Calibri"/>
                <a:ea typeface="Calibri"/>
                <a:cs typeface="Calibri"/>
                <a:sym typeface="Calibri"/>
              </a:rPr>
              <a:t>Via online surveys,  cold calling, and Expert interviews</a:t>
            </a:r>
            <a:endParaRPr sz="1400" b="0" i="0" u="none" strike="noStrike" cap="none">
              <a:solidFill>
                <a:srgbClr val="000000"/>
              </a:solidFill>
              <a:latin typeface="Arial"/>
              <a:ea typeface="Arial"/>
              <a:cs typeface="Arial"/>
              <a:sym typeface="Arial"/>
            </a:endParaRPr>
          </a:p>
        </p:txBody>
      </p:sp>
      <p:sp>
        <p:nvSpPr>
          <p:cNvPr id="1435" name="Google Shape;1435;p9"/>
          <p:cNvSpPr txBox="1"/>
          <p:nvPr/>
        </p:nvSpPr>
        <p:spPr>
          <a:xfrm>
            <a:off x="5031283" y="5511020"/>
            <a:ext cx="2148794" cy="193899"/>
          </a:xfrm>
          <a:prstGeom prst="rect">
            <a:avLst/>
          </a:prstGeom>
          <a:noFill/>
          <a:ln>
            <a:noFill/>
          </a:ln>
        </p:spPr>
        <p:txBody>
          <a:bodyPr spcFirstLastPara="1" wrap="square" lIns="0" tIns="0" rIns="0" bIns="0" anchor="t" anchorCtr="0">
            <a:spAutoFit/>
          </a:bodyPr>
          <a:lstStyle/>
          <a:p>
            <a:pPr marL="0" marR="0" lvl="1" indent="0" algn="ctr" rtl="0">
              <a:lnSpc>
                <a:spcPct val="90000"/>
              </a:lnSpc>
              <a:spcBef>
                <a:spcPts val="0"/>
              </a:spcBef>
              <a:spcAft>
                <a:spcPts val="0"/>
              </a:spcAft>
              <a:buClr>
                <a:schemeClr val="accent4"/>
              </a:buClr>
              <a:buSzPts val="1400"/>
              <a:buFont typeface="Noto Sans Symbols"/>
              <a:buNone/>
            </a:pPr>
            <a:r>
              <a:rPr lang="en-US" sz="1400" b="0" i="0" u="none" strike="noStrike" cap="none">
                <a:solidFill>
                  <a:srgbClr val="3D3D3D"/>
                </a:solidFill>
                <a:latin typeface="Calibri"/>
                <a:ea typeface="Calibri"/>
                <a:cs typeface="Calibri"/>
                <a:sym typeface="Calibri"/>
              </a:rPr>
              <a:t>Social listening, web scraping</a:t>
            </a:r>
            <a:endParaRPr sz="1400" b="0" i="0" u="none" strike="noStrike" cap="none">
              <a:solidFill>
                <a:srgbClr val="000000"/>
              </a:solidFill>
              <a:latin typeface="Arial"/>
              <a:ea typeface="Arial"/>
              <a:cs typeface="Arial"/>
              <a:sym typeface="Arial"/>
            </a:endParaRPr>
          </a:p>
        </p:txBody>
      </p:sp>
      <p:sp>
        <p:nvSpPr>
          <p:cNvPr id="1436" name="Google Shape;1436;p9"/>
          <p:cNvSpPr/>
          <p:nvPr/>
        </p:nvSpPr>
        <p:spPr>
          <a:xfrm>
            <a:off x="8415054" y="2255699"/>
            <a:ext cx="1115025" cy="1115026"/>
          </a:xfrm>
          <a:prstGeom prst="flowChartConnector">
            <a:avLst/>
          </a:prstGeom>
          <a:noFill/>
          <a:ln w="2857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37" name="Google Shape;1437;p9"/>
          <p:cNvSpPr/>
          <p:nvPr/>
        </p:nvSpPr>
        <p:spPr>
          <a:xfrm>
            <a:off x="8415054" y="3633852"/>
            <a:ext cx="1115025" cy="1115026"/>
          </a:xfrm>
          <a:prstGeom prst="flowChartConnector">
            <a:avLst/>
          </a:prstGeom>
          <a:noFill/>
          <a:ln w="2857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38" name="Google Shape;1438;p9"/>
          <p:cNvSpPr/>
          <p:nvPr/>
        </p:nvSpPr>
        <p:spPr>
          <a:xfrm>
            <a:off x="8415054" y="5012004"/>
            <a:ext cx="1115025" cy="1115026"/>
          </a:xfrm>
          <a:prstGeom prst="flowChartConnector">
            <a:avLst/>
          </a:prstGeom>
          <a:noFill/>
          <a:ln w="2857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39" name="Google Shape;1439;p9"/>
          <p:cNvSpPr txBox="1"/>
          <p:nvPr/>
        </p:nvSpPr>
        <p:spPr>
          <a:xfrm>
            <a:off x="8708872" y="2716263"/>
            <a:ext cx="527388" cy="1938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a:solidFill>
                  <a:srgbClr val="3D3D3D"/>
                </a:solidFill>
                <a:latin typeface="Calibri"/>
                <a:ea typeface="Calibri"/>
                <a:cs typeface="Calibri"/>
                <a:sym typeface="Calibri"/>
              </a:rPr>
              <a:t>Ad-hoc</a:t>
            </a:r>
            <a:endParaRPr sz="1200" b="0" i="0" u="none" strike="noStrike" cap="none">
              <a:solidFill>
                <a:schemeClr val="dk1"/>
              </a:solidFill>
              <a:latin typeface="Calibri"/>
              <a:ea typeface="Calibri"/>
              <a:cs typeface="Calibri"/>
              <a:sym typeface="Calibri"/>
            </a:endParaRPr>
          </a:p>
        </p:txBody>
      </p:sp>
      <p:sp>
        <p:nvSpPr>
          <p:cNvPr id="1440" name="Google Shape;1440;p9"/>
          <p:cNvSpPr txBox="1"/>
          <p:nvPr/>
        </p:nvSpPr>
        <p:spPr>
          <a:xfrm>
            <a:off x="8604070" y="4093963"/>
            <a:ext cx="676082" cy="1938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a:solidFill>
                  <a:srgbClr val="3D3D3D"/>
                </a:solidFill>
                <a:latin typeface="Calibri"/>
                <a:ea typeface="Calibri"/>
                <a:cs typeface="Calibri"/>
                <a:sym typeface="Calibri"/>
              </a:rPr>
              <a:t>Tracking</a:t>
            </a:r>
            <a:endParaRPr sz="1200" b="0" i="0" u="none" strike="noStrike" cap="none">
              <a:solidFill>
                <a:schemeClr val="dk1"/>
              </a:solidFill>
              <a:latin typeface="Calibri"/>
              <a:ea typeface="Calibri"/>
              <a:cs typeface="Calibri"/>
              <a:sym typeface="Calibri"/>
            </a:endParaRPr>
          </a:p>
        </p:txBody>
      </p:sp>
      <p:sp>
        <p:nvSpPr>
          <p:cNvPr id="1441" name="Google Shape;1441;p9"/>
          <p:cNvSpPr txBox="1"/>
          <p:nvPr/>
        </p:nvSpPr>
        <p:spPr>
          <a:xfrm>
            <a:off x="8478553" y="5375618"/>
            <a:ext cx="988026" cy="387798"/>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a:solidFill>
                  <a:srgbClr val="3D3D3D"/>
                </a:solidFill>
                <a:latin typeface="Calibri"/>
                <a:ea typeface="Calibri"/>
                <a:cs typeface="Calibri"/>
                <a:sym typeface="Calibri"/>
              </a:rPr>
              <a:t>Content</a:t>
            </a:r>
            <a:br>
              <a:rPr lang="en-US" sz="1400" b="1" i="0" u="none" strike="noStrike" cap="none">
                <a:solidFill>
                  <a:srgbClr val="3D3D3D"/>
                </a:solidFill>
                <a:latin typeface="Calibri"/>
                <a:ea typeface="Calibri"/>
                <a:cs typeface="Calibri"/>
                <a:sym typeface="Calibri"/>
              </a:rPr>
            </a:br>
            <a:r>
              <a:rPr lang="en-US" sz="1400" b="1" i="0" u="none" strike="noStrike" cap="none">
                <a:solidFill>
                  <a:srgbClr val="3D3D3D"/>
                </a:solidFill>
                <a:latin typeface="Calibri"/>
                <a:ea typeface="Calibri"/>
                <a:cs typeface="Calibri"/>
                <a:sym typeface="Calibri"/>
              </a:rPr>
              <a:t>development</a:t>
            </a:r>
            <a:endParaRPr sz="1200" b="0" i="0" u="none" strike="noStrike" cap="none">
              <a:solidFill>
                <a:schemeClr val="dk1"/>
              </a:solidFill>
              <a:latin typeface="Calibri"/>
              <a:ea typeface="Calibri"/>
              <a:cs typeface="Calibri"/>
              <a:sym typeface="Calibri"/>
            </a:endParaRPr>
          </a:p>
        </p:txBody>
      </p:sp>
      <p:sp>
        <p:nvSpPr>
          <p:cNvPr id="1442" name="Google Shape;1442;p9"/>
          <p:cNvSpPr txBox="1"/>
          <p:nvPr/>
        </p:nvSpPr>
        <p:spPr>
          <a:xfrm>
            <a:off x="9653405" y="5278668"/>
            <a:ext cx="1790489" cy="387798"/>
          </a:xfrm>
          <a:prstGeom prst="rect">
            <a:avLst/>
          </a:prstGeom>
          <a:noFill/>
          <a:ln>
            <a:noFill/>
          </a:ln>
        </p:spPr>
        <p:txBody>
          <a:bodyPr spcFirstLastPara="1" wrap="square" lIns="0" tIns="0" rIns="0" bIns="0" anchor="t" anchorCtr="0">
            <a:spAutoFit/>
          </a:bodyPr>
          <a:lstStyle/>
          <a:p>
            <a:pPr marL="0" marR="0" lvl="1" indent="0" algn="l" rtl="0">
              <a:lnSpc>
                <a:spcPct val="90000"/>
              </a:lnSpc>
              <a:spcBef>
                <a:spcPts val="0"/>
              </a:spcBef>
              <a:spcAft>
                <a:spcPts val="0"/>
              </a:spcAft>
              <a:buClr>
                <a:schemeClr val="accent4"/>
              </a:buClr>
              <a:buSzPts val="1400"/>
              <a:buFont typeface="Noto Sans Symbols"/>
              <a:buNone/>
            </a:pPr>
            <a:r>
              <a:rPr lang="en-US" sz="1400" b="0" i="0" u="none" strike="noStrike" cap="none">
                <a:solidFill>
                  <a:srgbClr val="3D3D3D"/>
                </a:solidFill>
                <a:latin typeface="Calibri"/>
                <a:ea typeface="Calibri"/>
                <a:cs typeface="Calibri"/>
                <a:sym typeface="Calibri"/>
              </a:rPr>
              <a:t>Database creation, thought leadership</a:t>
            </a:r>
            <a:endParaRPr sz="1400" b="0" i="0" u="none" strike="noStrike" cap="none">
              <a:solidFill>
                <a:srgbClr val="000000"/>
              </a:solidFill>
              <a:latin typeface="Arial"/>
              <a:ea typeface="Arial"/>
              <a:cs typeface="Arial"/>
              <a:sym typeface="Arial"/>
            </a:endParaRPr>
          </a:p>
        </p:txBody>
      </p:sp>
      <p:sp>
        <p:nvSpPr>
          <p:cNvPr id="1443" name="Google Shape;1443;p9"/>
          <p:cNvSpPr txBox="1"/>
          <p:nvPr/>
        </p:nvSpPr>
        <p:spPr>
          <a:xfrm>
            <a:off x="9653405" y="3790395"/>
            <a:ext cx="1790489" cy="775597"/>
          </a:xfrm>
          <a:prstGeom prst="rect">
            <a:avLst/>
          </a:prstGeom>
          <a:noFill/>
          <a:ln>
            <a:noFill/>
          </a:ln>
        </p:spPr>
        <p:txBody>
          <a:bodyPr spcFirstLastPara="1" wrap="square" lIns="0" tIns="0" rIns="0" bIns="0" anchor="ctr" anchorCtr="0">
            <a:spAutoFit/>
          </a:bodyPr>
          <a:lstStyle/>
          <a:p>
            <a:pPr marL="0" marR="0" lvl="1" indent="0" algn="l" rtl="0">
              <a:lnSpc>
                <a:spcPct val="90000"/>
              </a:lnSpc>
              <a:spcBef>
                <a:spcPts val="0"/>
              </a:spcBef>
              <a:spcAft>
                <a:spcPts val="0"/>
              </a:spcAft>
              <a:buClr>
                <a:schemeClr val="accent4"/>
              </a:buClr>
              <a:buSzPts val="1400"/>
              <a:buFont typeface="Noto Sans Symbols"/>
              <a:buNone/>
            </a:pPr>
            <a:r>
              <a:rPr lang="en-US" sz="1400" b="0" i="0" u="none" strike="noStrike" cap="none">
                <a:solidFill>
                  <a:srgbClr val="3D3D3D"/>
                </a:solidFill>
                <a:latin typeface="Calibri"/>
                <a:ea typeface="Calibri"/>
                <a:cs typeface="Calibri"/>
                <a:sym typeface="Calibri"/>
              </a:rPr>
              <a:t>Preparing newsletters, regular benchmarking, tracking competitive moves etc.</a:t>
            </a:r>
            <a:endParaRPr sz="1400" b="0" i="0" u="none" strike="noStrike" cap="none">
              <a:solidFill>
                <a:srgbClr val="000000"/>
              </a:solidFill>
              <a:latin typeface="Arial"/>
              <a:ea typeface="Arial"/>
              <a:cs typeface="Arial"/>
              <a:sym typeface="Arial"/>
            </a:endParaRPr>
          </a:p>
        </p:txBody>
      </p:sp>
      <p:sp>
        <p:nvSpPr>
          <p:cNvPr id="1444" name="Google Shape;1444;p9"/>
          <p:cNvSpPr txBox="1"/>
          <p:nvPr/>
        </p:nvSpPr>
        <p:spPr>
          <a:xfrm>
            <a:off x="9653405" y="2328465"/>
            <a:ext cx="1790489" cy="969496"/>
          </a:xfrm>
          <a:prstGeom prst="rect">
            <a:avLst/>
          </a:prstGeom>
          <a:noFill/>
          <a:ln>
            <a:noFill/>
          </a:ln>
        </p:spPr>
        <p:txBody>
          <a:bodyPr spcFirstLastPara="1" wrap="square" lIns="0" tIns="0" rIns="0" bIns="0" anchor="ctr" anchorCtr="0">
            <a:spAutoFit/>
          </a:bodyPr>
          <a:lstStyle/>
          <a:p>
            <a:pPr marL="0" marR="0" lvl="1" indent="0" algn="l" rtl="0">
              <a:lnSpc>
                <a:spcPct val="90000"/>
              </a:lnSpc>
              <a:spcBef>
                <a:spcPts val="0"/>
              </a:spcBef>
              <a:spcAft>
                <a:spcPts val="0"/>
              </a:spcAft>
              <a:buClr>
                <a:schemeClr val="accent4"/>
              </a:buClr>
              <a:buSzPts val="1400"/>
              <a:buFont typeface="Noto Sans Symbols"/>
              <a:buNone/>
            </a:pPr>
            <a:r>
              <a:rPr lang="en-US" sz="1400" b="0" i="0" u="none" strike="noStrike" cap="none">
                <a:solidFill>
                  <a:srgbClr val="3D3D3D"/>
                </a:solidFill>
                <a:latin typeface="Calibri"/>
                <a:ea typeface="Calibri"/>
                <a:cs typeface="Calibri"/>
                <a:sym typeface="Calibri"/>
              </a:rPr>
              <a:t>Answering research requests to support project execution, proposal development or internal discussions</a:t>
            </a:r>
            <a:endParaRPr sz="1400" b="0" i="0" u="none" strike="noStrike" cap="none">
              <a:solidFill>
                <a:srgbClr val="000000"/>
              </a:solidFill>
              <a:latin typeface="Arial"/>
              <a:ea typeface="Arial"/>
              <a:cs typeface="Arial"/>
              <a:sym typeface="Arial"/>
            </a:endParaRPr>
          </a:p>
        </p:txBody>
      </p:sp>
      <p:grpSp>
        <p:nvGrpSpPr>
          <p:cNvPr id="1445" name="Google Shape;1445;p9"/>
          <p:cNvGrpSpPr/>
          <p:nvPr/>
        </p:nvGrpSpPr>
        <p:grpSpPr>
          <a:xfrm>
            <a:off x="10976464" y="135255"/>
            <a:ext cx="1046733" cy="468742"/>
            <a:chOff x="10976464" y="135255"/>
            <a:chExt cx="1046733" cy="468742"/>
          </a:xfrm>
        </p:grpSpPr>
        <p:sp>
          <p:nvSpPr>
            <p:cNvPr id="1446" name="Google Shape;1446;p9"/>
            <p:cNvSpPr txBox="1"/>
            <p:nvPr/>
          </p:nvSpPr>
          <p:spPr>
            <a:xfrm>
              <a:off x="10976464" y="292682"/>
              <a:ext cx="533800" cy="153888"/>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Research</a:t>
              </a:r>
              <a:endParaRPr sz="1400" b="0" i="0" u="none" strike="noStrike" cap="none">
                <a:solidFill>
                  <a:srgbClr val="000000"/>
                </a:solidFill>
                <a:latin typeface="Arial"/>
                <a:ea typeface="Arial"/>
                <a:cs typeface="Arial"/>
                <a:sym typeface="Arial"/>
              </a:endParaRPr>
            </a:p>
          </p:txBody>
        </p:sp>
        <p:sp>
          <p:nvSpPr>
            <p:cNvPr id="1447" name="Google Shape;1447;p9"/>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pic>
          <p:nvPicPr>
            <p:cNvPr id="1448" name="Google Shape;1448;p9"/>
            <p:cNvPicPr preferRelativeResize="0"/>
            <p:nvPr/>
          </p:nvPicPr>
          <p:blipFill rotWithShape="1">
            <a:blip r:embed="rId3">
              <a:alphaModFix/>
            </a:blip>
            <a:srcRect/>
            <a:stretch/>
          </p:blipFill>
          <p:spPr>
            <a:xfrm>
              <a:off x="11641138" y="237175"/>
              <a:ext cx="269974" cy="269974"/>
            </a:xfrm>
            <a:prstGeom prst="rect">
              <a:avLst/>
            </a:prstGeom>
            <a:noFill/>
            <a:ln>
              <a:noFill/>
            </a:ln>
          </p:spPr>
        </p:pic>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452"/>
        <p:cNvGrpSpPr/>
        <p:nvPr/>
      </p:nvGrpSpPr>
      <p:grpSpPr>
        <a:xfrm>
          <a:off x="0" y="0"/>
          <a:ext cx="0" cy="0"/>
          <a:chOff x="0" y="0"/>
          <a:chExt cx="0" cy="0"/>
        </a:xfrm>
      </p:grpSpPr>
      <p:sp>
        <p:nvSpPr>
          <p:cNvPr id="1453" name="Google Shape;1453;p10"/>
          <p:cNvSpPr/>
          <p:nvPr/>
        </p:nvSpPr>
        <p:spPr>
          <a:xfrm>
            <a:off x="969649" y="1447024"/>
            <a:ext cx="1997022" cy="1014395"/>
          </a:xfrm>
          <a:custGeom>
            <a:avLst/>
            <a:gdLst/>
            <a:ahLst/>
            <a:cxnLst/>
            <a:rect l="l" t="t" r="r" b="b"/>
            <a:pathLst>
              <a:path w="1997022" h="1014395" extrusionOk="0">
                <a:moveTo>
                  <a:pt x="998511" y="0"/>
                </a:moveTo>
                <a:cubicBezTo>
                  <a:pt x="1549973" y="0"/>
                  <a:pt x="1997022" y="447048"/>
                  <a:pt x="1997022" y="998510"/>
                </a:cubicBezTo>
                <a:lnTo>
                  <a:pt x="1996220" y="1014395"/>
                </a:lnTo>
                <a:lnTo>
                  <a:pt x="802" y="1014395"/>
                </a:lnTo>
                <a:lnTo>
                  <a:pt x="0" y="998510"/>
                </a:lnTo>
                <a:cubicBezTo>
                  <a:pt x="0" y="447048"/>
                  <a:pt x="447049" y="0"/>
                  <a:pt x="998511" y="0"/>
                </a:cubicBezTo>
                <a:close/>
              </a:path>
            </a:pathLst>
          </a:custGeom>
          <a:gradFill>
            <a:gsLst>
              <a:gs pos="0">
                <a:srgbClr val="E5E5E5"/>
              </a:gs>
              <a:gs pos="73000">
                <a:srgbClr val="F0F0F0">
                  <a:alpha val="47843"/>
                </a:srgbClr>
              </a:gs>
              <a:gs pos="100000">
                <a:srgbClr val="FFFFFF">
                  <a:alpha val="0"/>
                </a:srgbClr>
              </a:gs>
            </a:gsLst>
            <a:lin ang="54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54" name="Google Shape;1454;p10"/>
          <p:cNvSpPr/>
          <p:nvPr/>
        </p:nvSpPr>
        <p:spPr>
          <a:xfrm>
            <a:off x="4533964" y="1447024"/>
            <a:ext cx="1997022" cy="1014395"/>
          </a:xfrm>
          <a:custGeom>
            <a:avLst/>
            <a:gdLst/>
            <a:ahLst/>
            <a:cxnLst/>
            <a:rect l="l" t="t" r="r" b="b"/>
            <a:pathLst>
              <a:path w="1997022" h="1014395" extrusionOk="0">
                <a:moveTo>
                  <a:pt x="998511" y="0"/>
                </a:moveTo>
                <a:cubicBezTo>
                  <a:pt x="1549973" y="0"/>
                  <a:pt x="1997022" y="447048"/>
                  <a:pt x="1997022" y="998510"/>
                </a:cubicBezTo>
                <a:lnTo>
                  <a:pt x="1996220" y="1014395"/>
                </a:lnTo>
                <a:lnTo>
                  <a:pt x="802" y="1014395"/>
                </a:lnTo>
                <a:lnTo>
                  <a:pt x="0" y="998510"/>
                </a:lnTo>
                <a:cubicBezTo>
                  <a:pt x="0" y="447048"/>
                  <a:pt x="447049" y="0"/>
                  <a:pt x="998511" y="0"/>
                </a:cubicBezTo>
                <a:close/>
              </a:path>
            </a:pathLst>
          </a:custGeom>
          <a:gradFill>
            <a:gsLst>
              <a:gs pos="0">
                <a:srgbClr val="E5E5E5"/>
              </a:gs>
              <a:gs pos="73000">
                <a:srgbClr val="F0F0F0">
                  <a:alpha val="47843"/>
                </a:srgbClr>
              </a:gs>
              <a:gs pos="100000">
                <a:srgbClr val="FFFFFF">
                  <a:alpha val="0"/>
                </a:srgbClr>
              </a:gs>
            </a:gsLst>
            <a:lin ang="54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55" name="Google Shape;1455;p10"/>
          <p:cNvSpPr/>
          <p:nvPr/>
        </p:nvSpPr>
        <p:spPr>
          <a:xfrm>
            <a:off x="8570032" y="1447024"/>
            <a:ext cx="1997022" cy="1014395"/>
          </a:xfrm>
          <a:custGeom>
            <a:avLst/>
            <a:gdLst/>
            <a:ahLst/>
            <a:cxnLst/>
            <a:rect l="l" t="t" r="r" b="b"/>
            <a:pathLst>
              <a:path w="1997022" h="1014395" extrusionOk="0">
                <a:moveTo>
                  <a:pt x="998511" y="0"/>
                </a:moveTo>
                <a:cubicBezTo>
                  <a:pt x="1549973" y="0"/>
                  <a:pt x="1997022" y="447048"/>
                  <a:pt x="1997022" y="998510"/>
                </a:cubicBezTo>
                <a:lnTo>
                  <a:pt x="1996220" y="1014395"/>
                </a:lnTo>
                <a:lnTo>
                  <a:pt x="802" y="1014395"/>
                </a:lnTo>
                <a:lnTo>
                  <a:pt x="0" y="998510"/>
                </a:lnTo>
                <a:cubicBezTo>
                  <a:pt x="0" y="447048"/>
                  <a:pt x="447049" y="0"/>
                  <a:pt x="998511" y="0"/>
                </a:cubicBezTo>
                <a:close/>
              </a:path>
            </a:pathLst>
          </a:custGeom>
          <a:gradFill>
            <a:gsLst>
              <a:gs pos="0">
                <a:srgbClr val="E5E5E5"/>
              </a:gs>
              <a:gs pos="73000">
                <a:srgbClr val="F0F0F0">
                  <a:alpha val="47843"/>
                </a:srgbClr>
              </a:gs>
              <a:gs pos="100000">
                <a:srgbClr val="FFFFFF">
                  <a:alpha val="0"/>
                </a:srgbClr>
              </a:gs>
            </a:gsLst>
            <a:lin ang="54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56" name="Google Shape;1456;p10"/>
          <p:cNvSpPr/>
          <p:nvPr/>
        </p:nvSpPr>
        <p:spPr>
          <a:xfrm>
            <a:off x="3544766" y="3289569"/>
            <a:ext cx="3858536" cy="3019156"/>
          </a:xfrm>
          <a:prstGeom prst="roundRect">
            <a:avLst>
              <a:gd name="adj" fmla="val 2870"/>
            </a:avLst>
          </a:prstGeom>
          <a:solidFill>
            <a:srgbClr val="CDD9FC">
              <a:alpha val="60000"/>
            </a:srgbClr>
          </a:solidFill>
          <a:ln>
            <a:noFill/>
          </a:ln>
        </p:spPr>
        <p:txBody>
          <a:bodyPr spcFirstLastPara="1" wrap="square" lIns="0" tIns="37325" rIns="0" bIns="37325" anchor="ctr" anchorCtr="0">
            <a:noAutofit/>
          </a:bodyPr>
          <a:lstStyle/>
          <a:p>
            <a:pPr marL="0" marR="0" lvl="0" indent="0" algn="ctr" rtl="0">
              <a:lnSpc>
                <a:spcPct val="90000"/>
              </a:lnSpc>
              <a:spcBef>
                <a:spcPts val="0"/>
              </a:spcBef>
              <a:spcAft>
                <a:spcPts val="0"/>
              </a:spcAft>
              <a:buClr>
                <a:srgbClr val="000000"/>
              </a:buClr>
              <a:buSzPts val="1600"/>
              <a:buFont typeface="Arial"/>
              <a:buNone/>
            </a:pPr>
            <a:endParaRPr sz="1600" b="1" i="0" u="none" strike="noStrike" cap="none">
              <a:solidFill>
                <a:schemeClr val="lt1"/>
              </a:solidFill>
              <a:latin typeface="Calibri"/>
              <a:ea typeface="Calibri"/>
              <a:cs typeface="Calibri"/>
              <a:sym typeface="Calibri"/>
            </a:endParaRPr>
          </a:p>
        </p:txBody>
      </p:sp>
      <p:sp>
        <p:nvSpPr>
          <p:cNvPr id="1457" name="Google Shape;1457;p10"/>
          <p:cNvSpPr txBox="1">
            <a:spLocks noGrp="1"/>
          </p:cNvSpPr>
          <p:nvPr>
            <p:ph type="title"/>
          </p:nvPr>
        </p:nvSpPr>
        <p:spPr>
          <a:xfrm>
            <a:off x="539400"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Our approach to helping you</a:t>
            </a:r>
            <a:endParaRPr/>
          </a:p>
        </p:txBody>
      </p:sp>
      <p:sp>
        <p:nvSpPr>
          <p:cNvPr id="1458" name="Google Shape;1458;p10"/>
          <p:cNvSpPr txBox="1"/>
          <p:nvPr/>
        </p:nvSpPr>
        <p:spPr>
          <a:xfrm>
            <a:off x="568442" y="3541181"/>
            <a:ext cx="1260000" cy="2639697"/>
          </a:xfrm>
          <a:prstGeom prst="rect">
            <a:avLst/>
          </a:prstGeom>
          <a:noFill/>
          <a:ln>
            <a:noFill/>
          </a:ln>
        </p:spPr>
        <p:txBody>
          <a:bodyPr spcFirstLastPara="1" wrap="square" lIns="0" tIns="0" rIns="0" bIns="0" anchor="t" anchorCtr="0">
            <a:spAutoFit/>
          </a:bodyPr>
          <a:lstStyle/>
          <a:p>
            <a:pPr marL="0" marR="0" lvl="1" indent="0" algn="l" rtl="0">
              <a:lnSpc>
                <a:spcPct val="80000"/>
              </a:lnSpc>
              <a:spcBef>
                <a:spcPts val="0"/>
              </a:spcBef>
              <a:spcAft>
                <a:spcPts val="0"/>
              </a:spcAft>
              <a:buClr>
                <a:schemeClr val="dk2"/>
              </a:buClr>
              <a:buSzPts val="1260"/>
              <a:buFont typeface="Noto Sans Symbols"/>
              <a:buNone/>
            </a:pPr>
            <a:r>
              <a:rPr lang="en-US" sz="1400" b="1" i="0" u="none" strike="noStrike" cap="none">
                <a:solidFill>
                  <a:schemeClr val="dk2"/>
                </a:solidFill>
                <a:latin typeface="Calibri"/>
                <a:ea typeface="Calibri"/>
                <a:cs typeface="Calibri"/>
                <a:sym typeface="Calibri"/>
              </a:rPr>
              <a:t>Understanding client needs and objective</a:t>
            </a:r>
            <a:endParaRPr sz="1400" b="0" i="0" u="none" strike="noStrike" cap="none">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080"/>
              <a:buFont typeface="Noto Sans Symbols"/>
              <a:buChar char="▪"/>
            </a:pPr>
            <a:r>
              <a:rPr lang="en-US" sz="1200" b="0" i="0" u="none" strike="noStrike" cap="none">
                <a:solidFill>
                  <a:schemeClr val="dk1"/>
                </a:solidFill>
                <a:latin typeface="Calibri"/>
                <a:ea typeface="Calibri"/>
                <a:cs typeface="Calibri"/>
                <a:sym typeface="Calibri"/>
              </a:rPr>
              <a:t>Get a deep understanding</a:t>
            </a:r>
            <a:br>
              <a:rPr lang="en-US" sz="1200" b="0" i="0" u="none" strike="noStrike" cap="none">
                <a:solidFill>
                  <a:schemeClr val="dk1"/>
                </a:solidFill>
                <a:latin typeface="Calibri"/>
                <a:ea typeface="Calibri"/>
                <a:cs typeface="Calibri"/>
                <a:sym typeface="Calibri"/>
              </a:rPr>
            </a:br>
            <a:r>
              <a:rPr lang="en-US" sz="1200" b="0" i="0" u="none" strike="noStrike" cap="none">
                <a:solidFill>
                  <a:schemeClr val="dk1"/>
                </a:solidFill>
                <a:latin typeface="Calibri"/>
                <a:ea typeface="Calibri"/>
                <a:cs typeface="Calibri"/>
                <a:sym typeface="Calibri"/>
              </a:rPr>
              <a:t>of the client objectives: Type of decision or analysis considered, planned use of the insights</a:t>
            </a:r>
            <a:endParaRPr sz="1400" b="0" i="0" u="none" strike="noStrike" cap="none">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080"/>
              <a:buFont typeface="Noto Sans Symbols"/>
              <a:buChar char="▪"/>
            </a:pPr>
            <a:r>
              <a:rPr lang="en-US" sz="1200" b="0" i="0" u="none" strike="noStrike" cap="none">
                <a:solidFill>
                  <a:schemeClr val="dk1"/>
                </a:solidFill>
                <a:latin typeface="Calibri"/>
                <a:ea typeface="Calibri"/>
                <a:cs typeface="Calibri"/>
                <a:sym typeface="Calibri"/>
              </a:rPr>
              <a:t>Define which data would “make the point”</a:t>
            </a:r>
            <a:endParaRPr sz="1400" b="0" i="0" u="none" strike="noStrike" cap="none">
              <a:solidFill>
                <a:srgbClr val="000000"/>
              </a:solidFill>
              <a:latin typeface="Arial"/>
              <a:ea typeface="Arial"/>
              <a:cs typeface="Arial"/>
              <a:sym typeface="Arial"/>
            </a:endParaRPr>
          </a:p>
        </p:txBody>
      </p:sp>
      <p:sp>
        <p:nvSpPr>
          <p:cNvPr id="1459" name="Google Shape;1459;p10"/>
          <p:cNvSpPr txBox="1"/>
          <p:nvPr/>
        </p:nvSpPr>
        <p:spPr>
          <a:xfrm>
            <a:off x="2037993" y="3541181"/>
            <a:ext cx="1260000" cy="2365263"/>
          </a:xfrm>
          <a:prstGeom prst="rect">
            <a:avLst/>
          </a:prstGeom>
          <a:noFill/>
          <a:ln>
            <a:noFill/>
          </a:ln>
        </p:spPr>
        <p:txBody>
          <a:bodyPr spcFirstLastPara="1" wrap="square" lIns="0" tIns="0" rIns="0" bIns="0" anchor="t" anchorCtr="0">
            <a:spAutoFit/>
          </a:bodyPr>
          <a:lstStyle/>
          <a:p>
            <a:pPr marL="0" marR="0" lvl="1" indent="0" algn="l" rtl="0">
              <a:lnSpc>
                <a:spcPct val="80000"/>
              </a:lnSpc>
              <a:spcBef>
                <a:spcPts val="0"/>
              </a:spcBef>
              <a:spcAft>
                <a:spcPts val="0"/>
              </a:spcAft>
              <a:buClr>
                <a:schemeClr val="dk2"/>
              </a:buClr>
              <a:buSzPts val="1260"/>
              <a:buFont typeface="Noto Sans Symbols"/>
              <a:buNone/>
            </a:pPr>
            <a:r>
              <a:rPr lang="en-US" sz="1400" b="1" i="0" u="none" strike="noStrike" cap="none">
                <a:solidFill>
                  <a:schemeClr val="dk2"/>
                </a:solidFill>
                <a:latin typeface="Calibri"/>
                <a:ea typeface="Calibri"/>
                <a:cs typeface="Calibri"/>
                <a:sym typeface="Calibri"/>
              </a:rPr>
              <a:t>Structuring approach</a:t>
            </a:r>
            <a:endParaRPr sz="1400" b="0" i="0" u="none" strike="noStrike" cap="none">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080"/>
              <a:buFont typeface="Noto Sans Symbols"/>
              <a:buChar char="▪"/>
            </a:pPr>
            <a:r>
              <a:rPr lang="en-US" sz="1200" b="0" i="0" u="none" strike="noStrike" cap="none">
                <a:solidFill>
                  <a:schemeClr val="dk1"/>
                </a:solidFill>
                <a:latin typeface="Calibri"/>
                <a:ea typeface="Calibri"/>
                <a:cs typeface="Calibri"/>
                <a:sym typeface="Calibri"/>
              </a:rPr>
              <a:t>Define the best research strategy to answer the client’s business objective</a:t>
            </a:r>
            <a:endParaRPr sz="1400" b="0" i="0" u="none" strike="noStrike" cap="none">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080"/>
              <a:buFont typeface="Noto Sans Symbols"/>
              <a:buChar char="▪"/>
            </a:pPr>
            <a:r>
              <a:rPr lang="en-US" sz="1200" b="0" i="0" u="none" strike="noStrike" cap="none">
                <a:solidFill>
                  <a:schemeClr val="dk1"/>
                </a:solidFill>
                <a:latin typeface="Calibri"/>
                <a:ea typeface="Calibri"/>
                <a:cs typeface="Calibri"/>
                <a:sym typeface="Calibri"/>
              </a:rPr>
              <a:t>Assess and validate the time needed</a:t>
            </a:r>
            <a:endParaRPr sz="1400" b="0" i="0" u="none" strike="noStrike" cap="none">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080"/>
              <a:buFont typeface="Noto Sans Symbols"/>
              <a:buChar char="▪"/>
            </a:pPr>
            <a:r>
              <a:rPr lang="en-US" sz="1200" b="0" i="0" u="none" strike="noStrike" cap="none">
                <a:solidFill>
                  <a:schemeClr val="dk1"/>
                </a:solidFill>
                <a:latin typeface="Calibri"/>
                <a:ea typeface="Calibri"/>
                <a:cs typeface="Calibri"/>
                <a:sym typeface="Calibri"/>
              </a:rPr>
              <a:t>Define the type of output needed</a:t>
            </a:r>
            <a:endParaRPr sz="1400" b="0" i="0" u="none" strike="noStrike" cap="none">
              <a:solidFill>
                <a:srgbClr val="000000"/>
              </a:solidFill>
              <a:latin typeface="Arial"/>
              <a:ea typeface="Arial"/>
              <a:cs typeface="Arial"/>
              <a:sym typeface="Arial"/>
            </a:endParaRPr>
          </a:p>
        </p:txBody>
      </p:sp>
      <p:sp>
        <p:nvSpPr>
          <p:cNvPr id="1460" name="Google Shape;1460;p10"/>
          <p:cNvSpPr txBox="1"/>
          <p:nvPr/>
        </p:nvSpPr>
        <p:spPr>
          <a:xfrm>
            <a:off x="3663378" y="3541181"/>
            <a:ext cx="1489575" cy="2531462"/>
          </a:xfrm>
          <a:prstGeom prst="rect">
            <a:avLst/>
          </a:prstGeom>
          <a:noFill/>
          <a:ln>
            <a:noFill/>
          </a:ln>
        </p:spPr>
        <p:txBody>
          <a:bodyPr spcFirstLastPara="1" wrap="square" lIns="0" tIns="0" rIns="0" bIns="0" anchor="t" anchorCtr="0">
            <a:spAutoFit/>
          </a:bodyPr>
          <a:lstStyle/>
          <a:p>
            <a:pPr marL="0" marR="0" lvl="1" indent="0" algn="l" rtl="0">
              <a:lnSpc>
                <a:spcPct val="80000"/>
              </a:lnSpc>
              <a:spcBef>
                <a:spcPts val="0"/>
              </a:spcBef>
              <a:spcAft>
                <a:spcPts val="0"/>
              </a:spcAft>
              <a:buClr>
                <a:schemeClr val="dk2"/>
              </a:buClr>
              <a:buSzPts val="1260"/>
              <a:buFont typeface="Noto Sans Symbols"/>
              <a:buNone/>
            </a:pPr>
            <a:r>
              <a:rPr lang="en-US" sz="1400" b="1" i="0" u="none" strike="noStrike" cap="none">
                <a:solidFill>
                  <a:schemeClr val="dk2"/>
                </a:solidFill>
                <a:latin typeface="Calibri"/>
                <a:ea typeface="Calibri"/>
                <a:cs typeface="Calibri"/>
                <a:sym typeface="Calibri"/>
              </a:rPr>
              <a:t>Executing the research</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500"/>
              </a:spcBef>
              <a:spcAft>
                <a:spcPts val="0"/>
              </a:spcAft>
              <a:buClr>
                <a:schemeClr val="dk1"/>
              </a:buClr>
              <a:buSzPts val="1200"/>
              <a:buFont typeface="Arial"/>
              <a:buNone/>
            </a:pPr>
            <a:r>
              <a:rPr lang="en-US" sz="1200" b="0" i="0" u="none" strike="noStrike" cap="none">
                <a:solidFill>
                  <a:schemeClr val="dk1"/>
                </a:solidFill>
                <a:latin typeface="Calibri"/>
                <a:ea typeface="Calibri"/>
                <a:cs typeface="Calibri"/>
                <a:sym typeface="Calibri"/>
              </a:rPr>
              <a:t>Leveraging a full range of research capabilities</a:t>
            </a:r>
            <a:endParaRPr sz="1400" b="0" i="0" u="none" strike="noStrike" cap="none">
              <a:solidFill>
                <a:srgbClr val="000000"/>
              </a:solidFill>
              <a:latin typeface="Arial"/>
              <a:ea typeface="Arial"/>
              <a:cs typeface="Arial"/>
              <a:sym typeface="Arial"/>
            </a:endParaRPr>
          </a:p>
          <a:p>
            <a:pPr marL="128588" marR="0" lvl="1" indent="-128588" algn="l" rtl="0">
              <a:lnSpc>
                <a:spcPct val="90000"/>
              </a:lnSpc>
              <a:spcBef>
                <a:spcPts val="500"/>
              </a:spcBef>
              <a:spcAft>
                <a:spcPts val="0"/>
              </a:spcAft>
              <a:buClr>
                <a:schemeClr val="dk2"/>
              </a:buClr>
              <a:buSzPts val="1080"/>
              <a:buFont typeface="Noto Sans Symbols"/>
              <a:buChar char="▪"/>
            </a:pPr>
            <a:r>
              <a:rPr lang="en-US" sz="1200" b="1" i="0" u="none" strike="noStrike" cap="none">
                <a:solidFill>
                  <a:srgbClr val="222222"/>
                </a:solidFill>
                <a:latin typeface="Calibri"/>
                <a:ea typeface="Calibri"/>
                <a:cs typeface="Calibri"/>
                <a:sym typeface="Calibri"/>
              </a:rPr>
              <a:t>Desk research</a:t>
            </a:r>
            <a:endParaRPr sz="1400" b="0" i="0" u="none" strike="noStrike" cap="none">
              <a:solidFill>
                <a:srgbClr val="000000"/>
              </a:solidFill>
              <a:latin typeface="Arial"/>
              <a:ea typeface="Arial"/>
              <a:cs typeface="Arial"/>
              <a:sym typeface="Arial"/>
            </a:endParaRPr>
          </a:p>
          <a:p>
            <a:pPr marL="268288" marR="0" lvl="2" indent="-134938" algn="l" rtl="0">
              <a:lnSpc>
                <a:spcPct val="90000"/>
              </a:lnSpc>
              <a:spcBef>
                <a:spcPts val="0"/>
              </a:spcBef>
              <a:spcAft>
                <a:spcPts val="0"/>
              </a:spcAft>
              <a:buClr>
                <a:schemeClr val="dk2"/>
              </a:buClr>
              <a:buSzPts val="1200"/>
              <a:buFont typeface="Calibri"/>
              <a:buChar char="−"/>
            </a:pPr>
            <a:r>
              <a:rPr lang="en-US" sz="1200" b="0" i="0" u="none" strike="noStrike" cap="none">
                <a:solidFill>
                  <a:schemeClr val="dk1"/>
                </a:solidFill>
                <a:latin typeface="Calibri"/>
                <a:ea typeface="Calibri"/>
                <a:cs typeface="Calibri"/>
                <a:sym typeface="Calibri"/>
              </a:rPr>
              <a:t>Web search</a:t>
            </a:r>
            <a:endParaRPr sz="1400" b="0" i="0" u="none" strike="noStrike" cap="none">
              <a:solidFill>
                <a:srgbClr val="000000"/>
              </a:solidFill>
              <a:latin typeface="Arial"/>
              <a:ea typeface="Arial"/>
              <a:cs typeface="Arial"/>
              <a:sym typeface="Arial"/>
            </a:endParaRPr>
          </a:p>
          <a:p>
            <a:pPr marL="268288" marR="0" lvl="2" indent="-134938" algn="l" rtl="0">
              <a:lnSpc>
                <a:spcPct val="90000"/>
              </a:lnSpc>
              <a:spcBef>
                <a:spcPts val="0"/>
              </a:spcBef>
              <a:spcAft>
                <a:spcPts val="0"/>
              </a:spcAft>
              <a:buClr>
                <a:schemeClr val="dk2"/>
              </a:buClr>
              <a:buSzPts val="1200"/>
              <a:buFont typeface="Calibri"/>
              <a:buChar char="−"/>
            </a:pPr>
            <a:r>
              <a:rPr lang="en-US" sz="1200" b="0" i="0" u="none" strike="noStrike" cap="none">
                <a:solidFill>
                  <a:schemeClr val="dk1"/>
                </a:solidFill>
                <a:latin typeface="Calibri"/>
                <a:ea typeface="Calibri"/>
                <a:cs typeface="Calibri"/>
                <a:sym typeface="Calibri"/>
              </a:rPr>
              <a:t>Research on paid databases (Orbis, Factiva, Capital IQ, Refinitiv etc.)</a:t>
            </a:r>
            <a:endParaRPr sz="1400" b="0" i="0" u="none" strike="noStrike" cap="none">
              <a:solidFill>
                <a:srgbClr val="000000"/>
              </a:solidFill>
              <a:latin typeface="Arial"/>
              <a:ea typeface="Arial"/>
              <a:cs typeface="Arial"/>
              <a:sym typeface="Arial"/>
            </a:endParaRPr>
          </a:p>
          <a:p>
            <a:pPr marL="128588" marR="0" lvl="1" indent="-128588" algn="l" rtl="0">
              <a:lnSpc>
                <a:spcPct val="90000"/>
              </a:lnSpc>
              <a:spcBef>
                <a:spcPts val="500"/>
              </a:spcBef>
              <a:spcAft>
                <a:spcPts val="0"/>
              </a:spcAft>
              <a:buClr>
                <a:schemeClr val="dk2"/>
              </a:buClr>
              <a:buSzPts val="1080"/>
              <a:buFont typeface="Noto Sans Symbols"/>
              <a:buChar char="▪"/>
            </a:pPr>
            <a:r>
              <a:rPr lang="en-US" sz="1200" b="1" i="0" u="none" strike="noStrike" cap="none">
                <a:solidFill>
                  <a:srgbClr val="222222"/>
                </a:solidFill>
                <a:latin typeface="Calibri"/>
                <a:ea typeface="Calibri"/>
                <a:cs typeface="Calibri"/>
                <a:sym typeface="Calibri"/>
              </a:rPr>
              <a:t>Primary research</a:t>
            </a:r>
            <a:endParaRPr sz="1400" b="0" i="0" u="none" strike="noStrike" cap="none">
              <a:solidFill>
                <a:srgbClr val="000000"/>
              </a:solidFill>
              <a:latin typeface="Arial"/>
              <a:ea typeface="Arial"/>
              <a:cs typeface="Arial"/>
              <a:sym typeface="Arial"/>
            </a:endParaRPr>
          </a:p>
          <a:p>
            <a:pPr marL="268288" marR="0" lvl="2" indent="-134938" algn="l" rtl="0">
              <a:lnSpc>
                <a:spcPct val="90000"/>
              </a:lnSpc>
              <a:spcBef>
                <a:spcPts val="0"/>
              </a:spcBef>
              <a:spcAft>
                <a:spcPts val="0"/>
              </a:spcAft>
              <a:buClr>
                <a:schemeClr val="dk2"/>
              </a:buClr>
              <a:buSzPts val="1200"/>
              <a:buFont typeface="Calibri"/>
              <a:buChar char="−"/>
            </a:pPr>
            <a:r>
              <a:rPr lang="en-US" sz="1200" b="0" i="0" u="none" strike="noStrike" cap="none">
                <a:solidFill>
                  <a:schemeClr val="dk1"/>
                </a:solidFill>
                <a:latin typeface="Calibri"/>
                <a:ea typeface="Calibri"/>
                <a:cs typeface="Calibri"/>
                <a:sym typeface="Calibri"/>
              </a:rPr>
              <a:t>Cold calling</a:t>
            </a:r>
            <a:endParaRPr sz="1400" b="0" i="0" u="none" strike="noStrike" cap="none">
              <a:solidFill>
                <a:srgbClr val="000000"/>
              </a:solidFill>
              <a:latin typeface="Arial"/>
              <a:ea typeface="Arial"/>
              <a:cs typeface="Arial"/>
              <a:sym typeface="Arial"/>
            </a:endParaRPr>
          </a:p>
          <a:p>
            <a:pPr marL="268288" marR="0" lvl="2" indent="-134938" algn="l" rtl="0">
              <a:lnSpc>
                <a:spcPct val="90000"/>
              </a:lnSpc>
              <a:spcBef>
                <a:spcPts val="0"/>
              </a:spcBef>
              <a:spcAft>
                <a:spcPts val="0"/>
              </a:spcAft>
              <a:buClr>
                <a:schemeClr val="dk2"/>
              </a:buClr>
              <a:buSzPts val="1200"/>
              <a:buFont typeface="Calibri"/>
              <a:buChar char="−"/>
            </a:pPr>
            <a:r>
              <a:rPr lang="en-US" sz="1200" b="0" i="0" u="none" strike="noStrike" cap="none">
                <a:solidFill>
                  <a:schemeClr val="dk1"/>
                </a:solidFill>
                <a:latin typeface="Calibri"/>
                <a:ea typeface="Calibri"/>
                <a:cs typeface="Calibri"/>
                <a:sym typeface="Calibri"/>
              </a:rPr>
              <a:t>Expert interviews</a:t>
            </a:r>
            <a:endParaRPr sz="1400" b="0" i="0" u="none" strike="noStrike" cap="none">
              <a:solidFill>
                <a:srgbClr val="000000"/>
              </a:solidFill>
              <a:latin typeface="Arial"/>
              <a:ea typeface="Arial"/>
              <a:cs typeface="Arial"/>
              <a:sym typeface="Arial"/>
            </a:endParaRPr>
          </a:p>
          <a:p>
            <a:pPr marL="268288" marR="0" lvl="2" indent="-134938" algn="l" rtl="0">
              <a:lnSpc>
                <a:spcPct val="90000"/>
              </a:lnSpc>
              <a:spcBef>
                <a:spcPts val="0"/>
              </a:spcBef>
              <a:spcAft>
                <a:spcPts val="0"/>
              </a:spcAft>
              <a:buClr>
                <a:schemeClr val="dk2"/>
              </a:buClr>
              <a:buSzPts val="1200"/>
              <a:buFont typeface="Calibri"/>
              <a:buChar char="−"/>
            </a:pPr>
            <a:r>
              <a:rPr lang="en-US" sz="1200" b="0" i="0" u="none" strike="noStrike" cap="none">
                <a:solidFill>
                  <a:schemeClr val="dk1"/>
                </a:solidFill>
                <a:latin typeface="Calibri"/>
                <a:ea typeface="Calibri"/>
                <a:cs typeface="Calibri"/>
                <a:sym typeface="Calibri"/>
              </a:rPr>
              <a:t>Online surveys</a:t>
            </a:r>
            <a:endParaRPr sz="1400" b="0" i="0" u="none" strike="noStrike" cap="none">
              <a:solidFill>
                <a:srgbClr val="000000"/>
              </a:solidFill>
              <a:latin typeface="Arial"/>
              <a:ea typeface="Arial"/>
              <a:cs typeface="Arial"/>
              <a:sym typeface="Arial"/>
            </a:endParaRPr>
          </a:p>
        </p:txBody>
      </p:sp>
      <p:sp>
        <p:nvSpPr>
          <p:cNvPr id="1461" name="Google Shape;1461;p10"/>
          <p:cNvSpPr txBox="1"/>
          <p:nvPr/>
        </p:nvSpPr>
        <p:spPr>
          <a:xfrm>
            <a:off x="7653951" y="3541181"/>
            <a:ext cx="1260000" cy="2301143"/>
          </a:xfrm>
          <a:prstGeom prst="rect">
            <a:avLst/>
          </a:prstGeom>
          <a:noFill/>
          <a:ln>
            <a:noFill/>
          </a:ln>
        </p:spPr>
        <p:txBody>
          <a:bodyPr spcFirstLastPara="1" wrap="square" lIns="0" tIns="0" rIns="0" bIns="0" anchor="t" anchorCtr="0">
            <a:spAutoFit/>
          </a:bodyPr>
          <a:lstStyle/>
          <a:p>
            <a:pPr marL="0" marR="0" lvl="1" indent="0" algn="l" rtl="0">
              <a:lnSpc>
                <a:spcPct val="80000"/>
              </a:lnSpc>
              <a:spcBef>
                <a:spcPts val="0"/>
              </a:spcBef>
              <a:spcAft>
                <a:spcPts val="0"/>
              </a:spcAft>
              <a:buClr>
                <a:schemeClr val="dk2"/>
              </a:buClr>
              <a:buSzPts val="1260"/>
              <a:buFont typeface="Noto Sans Symbols"/>
              <a:buNone/>
            </a:pPr>
            <a:r>
              <a:rPr lang="en-US" sz="1400" b="1" i="0" u="none" strike="noStrike" cap="none">
                <a:solidFill>
                  <a:schemeClr val="dk2"/>
                </a:solidFill>
                <a:latin typeface="Calibri"/>
                <a:ea typeface="Calibri"/>
                <a:cs typeface="Calibri"/>
                <a:sym typeface="Calibri"/>
              </a:rPr>
              <a:t>Deriving</a:t>
            </a:r>
            <a:br>
              <a:rPr lang="en-US" sz="1400" b="1" i="0" u="none" strike="noStrike" cap="none">
                <a:solidFill>
                  <a:schemeClr val="dk2"/>
                </a:solidFill>
                <a:latin typeface="Calibri"/>
                <a:ea typeface="Calibri"/>
                <a:cs typeface="Calibri"/>
                <a:sym typeface="Calibri"/>
              </a:rPr>
            </a:br>
            <a:r>
              <a:rPr lang="en-US" sz="1400" b="1" i="0" u="none" strike="noStrike" cap="none">
                <a:solidFill>
                  <a:schemeClr val="dk2"/>
                </a:solidFill>
                <a:latin typeface="Calibri"/>
                <a:ea typeface="Calibri"/>
                <a:cs typeface="Calibri"/>
                <a:sym typeface="Calibri"/>
              </a:rPr>
              <a:t>insights</a:t>
            </a:r>
            <a:endParaRPr sz="1400" b="0" i="0" u="none" strike="noStrike" cap="none">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080"/>
              <a:buFont typeface="Noto Sans Symbols"/>
              <a:buChar char="▪"/>
            </a:pPr>
            <a:r>
              <a:rPr lang="en-US" sz="1200" b="0" i="0" u="none" strike="noStrike" cap="none">
                <a:solidFill>
                  <a:schemeClr val="dk1"/>
                </a:solidFill>
                <a:latin typeface="Calibri"/>
                <a:ea typeface="Calibri"/>
                <a:cs typeface="Calibri"/>
                <a:sym typeface="Calibri"/>
              </a:rPr>
              <a:t>Performing</a:t>
            </a:r>
            <a:br>
              <a:rPr lang="en-US" sz="1200" b="0" i="0" u="none" strike="noStrike" cap="none">
                <a:solidFill>
                  <a:schemeClr val="dk1"/>
                </a:solidFill>
                <a:latin typeface="Calibri"/>
                <a:ea typeface="Calibri"/>
                <a:cs typeface="Calibri"/>
                <a:sym typeface="Calibri"/>
              </a:rPr>
            </a:br>
            <a:r>
              <a:rPr lang="en-US" sz="1200" b="0" i="0" u="none" strike="noStrike" cap="none">
                <a:solidFill>
                  <a:schemeClr val="dk1"/>
                </a:solidFill>
                <a:latin typeface="Calibri"/>
                <a:ea typeface="Calibri"/>
                <a:cs typeface="Calibri"/>
                <a:sym typeface="Calibri"/>
              </a:rPr>
              <a:t>in-depth quality assurance, in particular triangulating results</a:t>
            </a:r>
            <a:endParaRPr sz="1400" b="0" i="0" u="none" strike="noStrike" cap="none">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080"/>
              <a:buFont typeface="Noto Sans Symbols"/>
              <a:buChar char="▪"/>
            </a:pPr>
            <a:r>
              <a:rPr lang="en-US" sz="1200" b="0" i="0" u="none" strike="noStrike" cap="none">
                <a:solidFill>
                  <a:schemeClr val="dk1"/>
                </a:solidFill>
                <a:latin typeface="Calibri"/>
                <a:ea typeface="Calibri"/>
                <a:cs typeface="Calibri"/>
                <a:sym typeface="Calibri"/>
              </a:rPr>
              <a:t>Analyzing the data to derive insights in line with the initial client ask</a:t>
            </a:r>
            <a:endParaRPr sz="1400" b="0" i="0" u="none" strike="noStrike" cap="none">
              <a:solidFill>
                <a:srgbClr val="000000"/>
              </a:solidFill>
              <a:latin typeface="Arial"/>
              <a:ea typeface="Arial"/>
              <a:cs typeface="Arial"/>
              <a:sym typeface="Arial"/>
            </a:endParaRPr>
          </a:p>
        </p:txBody>
      </p:sp>
      <p:sp>
        <p:nvSpPr>
          <p:cNvPr id="1462" name="Google Shape;1462;p10"/>
          <p:cNvSpPr txBox="1"/>
          <p:nvPr/>
        </p:nvSpPr>
        <p:spPr>
          <a:xfrm>
            <a:off x="9045151" y="3541181"/>
            <a:ext cx="1260000" cy="1984133"/>
          </a:xfrm>
          <a:prstGeom prst="rect">
            <a:avLst/>
          </a:prstGeom>
          <a:noFill/>
          <a:ln>
            <a:noFill/>
          </a:ln>
        </p:spPr>
        <p:txBody>
          <a:bodyPr spcFirstLastPara="1" wrap="square" lIns="0" tIns="0" rIns="0" bIns="0" anchor="t" anchorCtr="0">
            <a:spAutoFit/>
          </a:bodyPr>
          <a:lstStyle/>
          <a:p>
            <a:pPr marL="0" marR="0" lvl="1" indent="0" algn="l" rtl="0">
              <a:lnSpc>
                <a:spcPct val="80000"/>
              </a:lnSpc>
              <a:spcBef>
                <a:spcPts val="0"/>
              </a:spcBef>
              <a:spcAft>
                <a:spcPts val="0"/>
              </a:spcAft>
              <a:buClr>
                <a:schemeClr val="dk2"/>
              </a:buClr>
              <a:buSzPts val="1260"/>
              <a:buFont typeface="Noto Sans Symbols"/>
              <a:buNone/>
            </a:pPr>
            <a:r>
              <a:rPr lang="en-US" sz="1400" b="1" i="0" u="none" strike="noStrike" cap="none">
                <a:solidFill>
                  <a:schemeClr val="dk2"/>
                </a:solidFill>
                <a:latin typeface="Calibri"/>
                <a:ea typeface="Calibri"/>
                <a:cs typeface="Calibri"/>
                <a:sym typeface="Calibri"/>
              </a:rPr>
              <a:t>Packaging </a:t>
            </a:r>
            <a:endParaRPr sz="1400" b="0" i="0" u="none" strike="noStrike" cap="none">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080"/>
              <a:buFont typeface="Noto Sans Symbols"/>
              <a:buChar char="▪"/>
            </a:pPr>
            <a:r>
              <a:rPr lang="en-US" sz="1200" b="0" i="0" u="none" strike="noStrike" cap="none">
                <a:solidFill>
                  <a:schemeClr val="dk1"/>
                </a:solidFill>
                <a:latin typeface="Calibri"/>
                <a:ea typeface="Calibri"/>
                <a:cs typeface="Calibri"/>
                <a:sym typeface="Calibri"/>
              </a:rPr>
              <a:t>Choosing the best way to illustrate and structure our results</a:t>
            </a:r>
            <a:endParaRPr sz="1400" b="0" i="0" u="none" strike="noStrike" cap="none">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080"/>
              <a:buFont typeface="Noto Sans Symbols"/>
              <a:buChar char="▪"/>
            </a:pPr>
            <a:r>
              <a:rPr lang="en-US" sz="1200" b="0" i="0" u="none" strike="noStrike" cap="none">
                <a:solidFill>
                  <a:schemeClr val="dk1"/>
                </a:solidFill>
                <a:latin typeface="Calibri"/>
                <a:ea typeface="Calibri"/>
                <a:cs typeface="Calibri"/>
                <a:sym typeface="Calibri"/>
              </a:rPr>
              <a:t>Ensuring consistency in the formatting and “look and feel”</a:t>
            </a:r>
            <a:endParaRPr sz="1400" b="0" i="0" u="none" strike="noStrike" cap="none">
              <a:solidFill>
                <a:srgbClr val="000000"/>
              </a:solidFill>
              <a:latin typeface="Arial"/>
              <a:ea typeface="Arial"/>
              <a:cs typeface="Arial"/>
              <a:sym typeface="Arial"/>
            </a:endParaRPr>
          </a:p>
        </p:txBody>
      </p:sp>
      <p:sp>
        <p:nvSpPr>
          <p:cNvPr id="1463" name="Google Shape;1463;p10"/>
          <p:cNvSpPr txBox="1"/>
          <p:nvPr/>
        </p:nvSpPr>
        <p:spPr>
          <a:xfrm>
            <a:off x="10379997" y="3541181"/>
            <a:ext cx="1269435" cy="2589427"/>
          </a:xfrm>
          <a:prstGeom prst="rect">
            <a:avLst/>
          </a:prstGeom>
          <a:noFill/>
          <a:ln>
            <a:noFill/>
          </a:ln>
        </p:spPr>
        <p:txBody>
          <a:bodyPr spcFirstLastPara="1" wrap="square" lIns="0" tIns="0" rIns="0" bIns="0" anchor="t" anchorCtr="0">
            <a:spAutoFit/>
          </a:bodyPr>
          <a:lstStyle/>
          <a:p>
            <a:pPr marL="0" marR="0" lvl="1" indent="0" algn="l" rtl="0">
              <a:lnSpc>
                <a:spcPct val="80000"/>
              </a:lnSpc>
              <a:spcBef>
                <a:spcPts val="0"/>
              </a:spcBef>
              <a:spcAft>
                <a:spcPts val="0"/>
              </a:spcAft>
              <a:buClr>
                <a:schemeClr val="dk2"/>
              </a:buClr>
              <a:buSzPts val="1260"/>
              <a:buFont typeface="Noto Sans Symbols"/>
              <a:buNone/>
            </a:pPr>
            <a:r>
              <a:rPr lang="en-US" sz="1400" b="1" i="0" u="none" strike="noStrike" cap="none">
                <a:solidFill>
                  <a:schemeClr val="dk2"/>
                </a:solidFill>
                <a:latin typeface="Calibri"/>
                <a:ea typeface="Calibri"/>
                <a:cs typeface="Calibri"/>
                <a:sym typeface="Calibri"/>
              </a:rPr>
              <a:t>Handover</a:t>
            </a:r>
            <a:endParaRPr sz="1400" b="0" i="0" u="none" strike="noStrike" cap="none">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080"/>
              <a:buFont typeface="Noto Sans Symbols"/>
              <a:buChar char="▪"/>
            </a:pPr>
            <a:r>
              <a:rPr lang="en-US" sz="1200" b="0" i="0" u="none" strike="noStrike" cap="none">
                <a:solidFill>
                  <a:schemeClr val="dk1"/>
                </a:solidFill>
                <a:latin typeface="Calibri"/>
                <a:ea typeface="Calibri"/>
                <a:cs typeface="Calibri"/>
                <a:sym typeface="Calibri"/>
              </a:rPr>
              <a:t>Speaking with the client to explain the approach, results and potential limitations</a:t>
            </a:r>
            <a:endParaRPr sz="1400" b="0" i="0" u="none" strike="noStrike" cap="none">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080"/>
              <a:buFont typeface="Noto Sans Symbols"/>
              <a:buChar char="▪"/>
            </a:pPr>
            <a:r>
              <a:rPr lang="en-US" sz="1200" b="0" i="0" u="none" strike="noStrike" cap="none">
                <a:solidFill>
                  <a:schemeClr val="dk1"/>
                </a:solidFill>
                <a:latin typeface="Calibri"/>
                <a:ea typeface="Calibri"/>
                <a:cs typeface="Calibri"/>
                <a:sym typeface="Calibri"/>
              </a:rPr>
              <a:t>Sharing all the backup documentation</a:t>
            </a:r>
            <a:endParaRPr sz="1400" b="0" i="0" u="none" strike="noStrike" cap="none">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080"/>
              <a:buFont typeface="Noto Sans Symbols"/>
              <a:buChar char="▪"/>
            </a:pPr>
            <a:r>
              <a:rPr lang="en-US" sz="1200" b="0" i="0" u="none" strike="noStrike" cap="none">
                <a:solidFill>
                  <a:schemeClr val="dk1"/>
                </a:solidFill>
                <a:latin typeface="Calibri"/>
                <a:ea typeface="Calibri"/>
                <a:cs typeface="Calibri"/>
                <a:sym typeface="Calibri"/>
              </a:rPr>
              <a:t>Getting client feedback</a:t>
            </a:r>
            <a:endParaRPr sz="1400" b="0" i="0" u="none" strike="noStrike" cap="none">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080"/>
              <a:buFont typeface="Noto Sans Symbols"/>
              <a:buChar char="▪"/>
            </a:pPr>
            <a:r>
              <a:rPr lang="en-US" sz="1200" b="0" i="0" u="none" strike="noStrike" cap="none">
                <a:solidFill>
                  <a:schemeClr val="dk1"/>
                </a:solidFill>
                <a:latin typeface="Calibri"/>
                <a:ea typeface="Calibri"/>
                <a:cs typeface="Calibri"/>
                <a:sym typeface="Calibri"/>
              </a:rPr>
              <a:t>Suggesting next steps as relevant</a:t>
            </a:r>
            <a:endParaRPr sz="1400" b="0" i="0" u="none" strike="noStrike" cap="none">
              <a:solidFill>
                <a:srgbClr val="000000"/>
              </a:solidFill>
              <a:latin typeface="Arial"/>
              <a:ea typeface="Arial"/>
              <a:cs typeface="Arial"/>
              <a:sym typeface="Arial"/>
            </a:endParaRPr>
          </a:p>
        </p:txBody>
      </p:sp>
      <p:sp>
        <p:nvSpPr>
          <p:cNvPr id="1464" name="Google Shape;1464;p10"/>
          <p:cNvSpPr/>
          <p:nvPr/>
        </p:nvSpPr>
        <p:spPr>
          <a:xfrm>
            <a:off x="1344085" y="2320460"/>
            <a:ext cx="1349647" cy="338554"/>
          </a:xfrm>
          <a:prstGeom prst="rect">
            <a:avLst/>
          </a:prstGeom>
          <a:solidFill>
            <a:schemeClr val="lt1"/>
          </a:solidFill>
          <a:ln>
            <a:noFill/>
          </a:ln>
        </p:spPr>
        <p:txBody>
          <a:bodyPr spcFirstLastPara="1" wrap="square" lIns="72000" tIns="0" rIns="72000" bIns="0" anchor="ctr" anchorCtr="0">
            <a:spAutoFit/>
          </a:bodyPr>
          <a:lstStyle/>
          <a:p>
            <a:pPr marL="0" marR="0" lvl="0" indent="0" algn="ctr" rtl="0">
              <a:lnSpc>
                <a:spcPct val="100000"/>
              </a:lnSpc>
              <a:spcBef>
                <a:spcPts val="0"/>
              </a:spcBef>
              <a:spcAft>
                <a:spcPts val="0"/>
              </a:spcAft>
              <a:buClr>
                <a:srgbClr val="000000"/>
              </a:buClr>
              <a:buSzPts val="2200"/>
              <a:buFont typeface="Arial"/>
              <a:buNone/>
            </a:pPr>
            <a:r>
              <a:rPr lang="en-US" sz="2200" b="1" i="0" u="none" strike="noStrike" cap="none">
                <a:solidFill>
                  <a:schemeClr val="dk2"/>
                </a:solidFill>
                <a:latin typeface="Calibri"/>
                <a:ea typeface="Calibri"/>
                <a:cs typeface="Calibri"/>
                <a:sym typeface="Calibri"/>
              </a:rPr>
              <a:t>Intake</a:t>
            </a:r>
            <a:endParaRPr sz="2200" b="1" i="0" u="none" strike="noStrike" cap="none">
              <a:solidFill>
                <a:schemeClr val="dk2"/>
              </a:solidFill>
              <a:latin typeface="Calibri"/>
              <a:ea typeface="Calibri"/>
              <a:cs typeface="Calibri"/>
              <a:sym typeface="Calibri"/>
            </a:endParaRPr>
          </a:p>
        </p:txBody>
      </p:sp>
      <p:sp>
        <p:nvSpPr>
          <p:cNvPr id="1465" name="Google Shape;1465;p10"/>
          <p:cNvSpPr/>
          <p:nvPr/>
        </p:nvSpPr>
        <p:spPr>
          <a:xfrm>
            <a:off x="4888462" y="2320460"/>
            <a:ext cx="1288027" cy="338554"/>
          </a:xfrm>
          <a:prstGeom prst="rect">
            <a:avLst/>
          </a:prstGeom>
          <a:solidFill>
            <a:schemeClr val="lt1"/>
          </a:solidFill>
          <a:ln>
            <a:noFill/>
          </a:ln>
        </p:spPr>
        <p:txBody>
          <a:bodyPr spcFirstLastPara="1" wrap="square" lIns="72000" tIns="0" rIns="72000" bIns="0" anchor="ctr" anchorCtr="0">
            <a:spAutoFit/>
          </a:bodyPr>
          <a:lstStyle/>
          <a:p>
            <a:pPr marL="0" marR="0" lvl="0" indent="0" algn="ctr" rtl="0">
              <a:lnSpc>
                <a:spcPct val="100000"/>
              </a:lnSpc>
              <a:spcBef>
                <a:spcPts val="0"/>
              </a:spcBef>
              <a:spcAft>
                <a:spcPts val="0"/>
              </a:spcAft>
              <a:buClr>
                <a:srgbClr val="000000"/>
              </a:buClr>
              <a:buSzPts val="2200"/>
              <a:buFont typeface="Arial"/>
              <a:buNone/>
            </a:pPr>
            <a:r>
              <a:rPr lang="en-US" sz="2200" b="1" i="0" u="none" strike="noStrike" cap="none">
                <a:solidFill>
                  <a:schemeClr val="dk2"/>
                </a:solidFill>
                <a:latin typeface="Calibri"/>
                <a:ea typeface="Calibri"/>
                <a:cs typeface="Calibri"/>
                <a:sym typeface="Calibri"/>
              </a:rPr>
              <a:t>Execution</a:t>
            </a:r>
            <a:endParaRPr sz="2200" b="1" i="0" u="none" strike="noStrike" cap="none">
              <a:solidFill>
                <a:schemeClr val="dk2"/>
              </a:solidFill>
              <a:latin typeface="Calibri"/>
              <a:ea typeface="Calibri"/>
              <a:cs typeface="Calibri"/>
              <a:sym typeface="Calibri"/>
            </a:endParaRPr>
          </a:p>
        </p:txBody>
      </p:sp>
      <p:sp>
        <p:nvSpPr>
          <p:cNvPr id="1466" name="Google Shape;1466;p10"/>
          <p:cNvSpPr/>
          <p:nvPr/>
        </p:nvSpPr>
        <p:spPr>
          <a:xfrm>
            <a:off x="9012439" y="2320460"/>
            <a:ext cx="1112209" cy="338554"/>
          </a:xfrm>
          <a:prstGeom prst="rect">
            <a:avLst/>
          </a:prstGeom>
          <a:solidFill>
            <a:schemeClr val="lt1"/>
          </a:solidFill>
          <a:ln>
            <a:noFill/>
          </a:ln>
        </p:spPr>
        <p:txBody>
          <a:bodyPr spcFirstLastPara="1" wrap="square" lIns="72000" tIns="0" rIns="72000" bIns="0" anchor="ctr" anchorCtr="0">
            <a:spAutoFit/>
          </a:bodyPr>
          <a:lstStyle/>
          <a:p>
            <a:pPr marL="0" marR="0" lvl="0" indent="0" algn="ctr" rtl="0">
              <a:lnSpc>
                <a:spcPct val="100000"/>
              </a:lnSpc>
              <a:spcBef>
                <a:spcPts val="0"/>
              </a:spcBef>
              <a:spcAft>
                <a:spcPts val="0"/>
              </a:spcAft>
              <a:buClr>
                <a:srgbClr val="000000"/>
              </a:buClr>
              <a:buSzPts val="2200"/>
              <a:buFont typeface="Arial"/>
              <a:buNone/>
            </a:pPr>
            <a:r>
              <a:rPr lang="en-US" sz="2200" b="1" i="0" u="none" strike="noStrike" cap="none">
                <a:solidFill>
                  <a:schemeClr val="dk2"/>
                </a:solidFill>
                <a:latin typeface="Calibri"/>
                <a:ea typeface="Calibri"/>
                <a:cs typeface="Calibri"/>
                <a:sym typeface="Calibri"/>
              </a:rPr>
              <a:t>Delivery</a:t>
            </a:r>
            <a:endParaRPr sz="1400" b="0" i="0" u="none" strike="noStrike" cap="none">
              <a:solidFill>
                <a:srgbClr val="000000"/>
              </a:solidFill>
              <a:latin typeface="Arial"/>
              <a:ea typeface="Arial"/>
              <a:cs typeface="Arial"/>
              <a:sym typeface="Arial"/>
            </a:endParaRPr>
          </a:p>
        </p:txBody>
      </p:sp>
      <p:grpSp>
        <p:nvGrpSpPr>
          <p:cNvPr id="1467" name="Google Shape;1467;p10"/>
          <p:cNvGrpSpPr/>
          <p:nvPr/>
        </p:nvGrpSpPr>
        <p:grpSpPr>
          <a:xfrm>
            <a:off x="1672775" y="1630423"/>
            <a:ext cx="590770" cy="590768"/>
            <a:chOff x="2021329" y="1470497"/>
            <a:chExt cx="594555" cy="594555"/>
          </a:xfrm>
        </p:grpSpPr>
        <p:sp>
          <p:nvSpPr>
            <p:cNvPr id="1468" name="Google Shape;1468;p10"/>
            <p:cNvSpPr/>
            <p:nvPr/>
          </p:nvSpPr>
          <p:spPr>
            <a:xfrm>
              <a:off x="2568219" y="1786590"/>
              <a:ext cx="17560" cy="61046"/>
            </a:xfrm>
            <a:custGeom>
              <a:avLst/>
              <a:gdLst/>
              <a:ahLst/>
              <a:cxnLst/>
              <a:rect l="l" t="t" r="r" b="b"/>
              <a:pathLst>
                <a:path w="17560" h="61046" extrusionOk="0">
                  <a:moveTo>
                    <a:pt x="8780" y="0"/>
                  </a:moveTo>
                  <a:cubicBezTo>
                    <a:pt x="3934" y="-3"/>
                    <a:pt x="3" y="3924"/>
                    <a:pt x="0" y="8770"/>
                  </a:cubicBezTo>
                  <a:cubicBezTo>
                    <a:pt x="0" y="8774"/>
                    <a:pt x="0" y="8777"/>
                    <a:pt x="0" y="8780"/>
                  </a:cubicBezTo>
                  <a:lnTo>
                    <a:pt x="0" y="52266"/>
                  </a:lnTo>
                  <a:cubicBezTo>
                    <a:pt x="0" y="57115"/>
                    <a:pt x="3931" y="61046"/>
                    <a:pt x="8780" y="61046"/>
                  </a:cubicBezTo>
                  <a:cubicBezTo>
                    <a:pt x="13630" y="61046"/>
                    <a:pt x="17561" y="57115"/>
                    <a:pt x="17561" y="52266"/>
                  </a:cubicBezTo>
                  <a:lnTo>
                    <a:pt x="17561" y="8780"/>
                  </a:lnTo>
                  <a:cubicBezTo>
                    <a:pt x="17563" y="3934"/>
                    <a:pt x="13637" y="3"/>
                    <a:pt x="8790" y="0"/>
                  </a:cubicBezTo>
                  <a:cubicBezTo>
                    <a:pt x="8787" y="0"/>
                    <a:pt x="8784" y="0"/>
                    <a:pt x="8780" y="0"/>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69" name="Google Shape;1469;p10"/>
            <p:cNvSpPr/>
            <p:nvPr/>
          </p:nvSpPr>
          <p:spPr>
            <a:xfrm>
              <a:off x="2021329" y="1470497"/>
              <a:ext cx="594555" cy="594555"/>
            </a:xfrm>
            <a:custGeom>
              <a:avLst/>
              <a:gdLst/>
              <a:ahLst/>
              <a:cxnLst/>
              <a:rect l="l" t="t" r="r" b="b"/>
              <a:pathLst>
                <a:path w="594555" h="594555" extrusionOk="0">
                  <a:moveTo>
                    <a:pt x="555671" y="0"/>
                  </a:moveTo>
                  <a:lnTo>
                    <a:pt x="38884" y="0"/>
                  </a:lnTo>
                  <a:cubicBezTo>
                    <a:pt x="17419" y="25"/>
                    <a:pt x="25" y="17419"/>
                    <a:pt x="0" y="38884"/>
                  </a:cubicBezTo>
                  <a:lnTo>
                    <a:pt x="0" y="466914"/>
                  </a:lnTo>
                  <a:cubicBezTo>
                    <a:pt x="25" y="488379"/>
                    <a:pt x="17419" y="505774"/>
                    <a:pt x="38884" y="505798"/>
                  </a:cubicBezTo>
                  <a:lnTo>
                    <a:pt x="88757" y="505798"/>
                  </a:lnTo>
                  <a:lnTo>
                    <a:pt x="88757" y="555671"/>
                  </a:lnTo>
                  <a:cubicBezTo>
                    <a:pt x="88782" y="577136"/>
                    <a:pt x="106176" y="594530"/>
                    <a:pt x="127641" y="594555"/>
                  </a:cubicBezTo>
                  <a:lnTo>
                    <a:pt x="466914" y="594555"/>
                  </a:lnTo>
                  <a:cubicBezTo>
                    <a:pt x="488379" y="594530"/>
                    <a:pt x="505774" y="577136"/>
                    <a:pt x="505798" y="555671"/>
                  </a:cubicBezTo>
                  <a:lnTo>
                    <a:pt x="505798" y="505798"/>
                  </a:lnTo>
                  <a:lnTo>
                    <a:pt x="555671" y="505798"/>
                  </a:lnTo>
                  <a:cubicBezTo>
                    <a:pt x="577136" y="505774"/>
                    <a:pt x="594530" y="488379"/>
                    <a:pt x="594555" y="466914"/>
                  </a:cubicBezTo>
                  <a:lnTo>
                    <a:pt x="594555" y="38884"/>
                  </a:lnTo>
                  <a:cubicBezTo>
                    <a:pt x="594530" y="17419"/>
                    <a:pt x="577136" y="25"/>
                    <a:pt x="555671" y="0"/>
                  </a:cubicBezTo>
                  <a:close/>
                  <a:moveTo>
                    <a:pt x="17561" y="38884"/>
                  </a:moveTo>
                  <a:cubicBezTo>
                    <a:pt x="17575" y="27113"/>
                    <a:pt x="27113" y="17575"/>
                    <a:pt x="38884" y="17561"/>
                  </a:cubicBezTo>
                  <a:lnTo>
                    <a:pt x="555671" y="17561"/>
                  </a:lnTo>
                  <a:cubicBezTo>
                    <a:pt x="567443" y="17572"/>
                    <a:pt x="576983" y="27112"/>
                    <a:pt x="576995" y="38884"/>
                  </a:cubicBezTo>
                  <a:lnTo>
                    <a:pt x="576995" y="60208"/>
                  </a:lnTo>
                  <a:lnTo>
                    <a:pt x="17561" y="60208"/>
                  </a:lnTo>
                  <a:close/>
                  <a:moveTo>
                    <a:pt x="288497" y="363903"/>
                  </a:moveTo>
                  <a:lnTo>
                    <a:pt x="247305" y="330603"/>
                  </a:lnTo>
                  <a:cubicBezTo>
                    <a:pt x="243557" y="327526"/>
                    <a:pt x="238024" y="328070"/>
                    <a:pt x="234947" y="331818"/>
                  </a:cubicBezTo>
                  <a:cubicBezTo>
                    <a:pt x="231870" y="335566"/>
                    <a:pt x="232414" y="341099"/>
                    <a:pt x="236162" y="344176"/>
                  </a:cubicBezTo>
                  <a:cubicBezTo>
                    <a:pt x="236197" y="344204"/>
                    <a:pt x="236232" y="344232"/>
                    <a:pt x="236267" y="344260"/>
                  </a:cubicBezTo>
                  <a:lnTo>
                    <a:pt x="291759" y="389120"/>
                  </a:lnTo>
                  <a:cubicBezTo>
                    <a:pt x="294981" y="391713"/>
                    <a:pt x="299574" y="391713"/>
                    <a:pt x="302797" y="389120"/>
                  </a:cubicBezTo>
                  <a:lnTo>
                    <a:pt x="358289" y="344260"/>
                  </a:lnTo>
                  <a:cubicBezTo>
                    <a:pt x="362083" y="341241"/>
                    <a:pt x="362712" y="335717"/>
                    <a:pt x="359692" y="331922"/>
                  </a:cubicBezTo>
                  <a:cubicBezTo>
                    <a:pt x="356673" y="328128"/>
                    <a:pt x="351149" y="327499"/>
                    <a:pt x="347355" y="330518"/>
                  </a:cubicBezTo>
                  <a:cubicBezTo>
                    <a:pt x="347320" y="330546"/>
                    <a:pt x="347285" y="330574"/>
                    <a:pt x="347250" y="330603"/>
                  </a:cubicBezTo>
                  <a:lnTo>
                    <a:pt x="306058" y="363903"/>
                  </a:lnTo>
                  <a:lnTo>
                    <a:pt x="306058" y="306058"/>
                  </a:lnTo>
                  <a:lnTo>
                    <a:pt x="466914" y="306058"/>
                  </a:lnTo>
                  <a:cubicBezTo>
                    <a:pt x="468451" y="306073"/>
                    <a:pt x="469982" y="306256"/>
                    <a:pt x="471480" y="306605"/>
                  </a:cubicBezTo>
                  <a:lnTo>
                    <a:pt x="297278" y="447397"/>
                  </a:lnTo>
                  <a:lnTo>
                    <a:pt x="123075" y="306605"/>
                  </a:lnTo>
                  <a:cubicBezTo>
                    <a:pt x="124573" y="306256"/>
                    <a:pt x="126104" y="306073"/>
                    <a:pt x="127641" y="306058"/>
                  </a:cubicBezTo>
                  <a:lnTo>
                    <a:pt x="288497" y="306058"/>
                  </a:lnTo>
                  <a:close/>
                  <a:moveTo>
                    <a:pt x="488238" y="555671"/>
                  </a:moveTo>
                  <a:cubicBezTo>
                    <a:pt x="488224" y="567442"/>
                    <a:pt x="478685" y="576981"/>
                    <a:pt x="466914" y="576995"/>
                  </a:cubicBezTo>
                  <a:lnTo>
                    <a:pt x="127641" y="576995"/>
                  </a:lnTo>
                  <a:cubicBezTo>
                    <a:pt x="115870" y="576981"/>
                    <a:pt x="106331" y="567442"/>
                    <a:pt x="106318" y="555671"/>
                  </a:cubicBezTo>
                  <a:lnTo>
                    <a:pt x="106318" y="327382"/>
                  </a:lnTo>
                  <a:cubicBezTo>
                    <a:pt x="106354" y="323985"/>
                    <a:pt x="107215" y="320648"/>
                    <a:pt x="108826" y="317658"/>
                  </a:cubicBezTo>
                  <a:lnTo>
                    <a:pt x="291759" y="465514"/>
                  </a:lnTo>
                  <a:cubicBezTo>
                    <a:pt x="294978" y="468116"/>
                    <a:pt x="299577" y="468116"/>
                    <a:pt x="302797" y="465514"/>
                  </a:cubicBezTo>
                  <a:lnTo>
                    <a:pt x="485749" y="317653"/>
                  </a:lnTo>
                  <a:cubicBezTo>
                    <a:pt x="487357" y="320646"/>
                    <a:pt x="488218" y="323984"/>
                    <a:pt x="488258" y="327382"/>
                  </a:cubicBezTo>
                  <a:close/>
                  <a:moveTo>
                    <a:pt x="555671" y="488238"/>
                  </a:moveTo>
                  <a:lnTo>
                    <a:pt x="505798" y="488238"/>
                  </a:lnTo>
                  <a:lnTo>
                    <a:pt x="505798" y="327382"/>
                  </a:lnTo>
                  <a:cubicBezTo>
                    <a:pt x="505783" y="316496"/>
                    <a:pt x="501193" y="306118"/>
                    <a:pt x="493150" y="298783"/>
                  </a:cubicBezTo>
                  <a:lnTo>
                    <a:pt x="492844" y="298522"/>
                  </a:lnTo>
                  <a:lnTo>
                    <a:pt x="492678" y="298386"/>
                  </a:lnTo>
                  <a:cubicBezTo>
                    <a:pt x="485609" y="292017"/>
                    <a:pt x="476430" y="288494"/>
                    <a:pt x="466914" y="288497"/>
                  </a:cubicBezTo>
                  <a:lnTo>
                    <a:pt x="306058" y="288497"/>
                  </a:lnTo>
                  <a:lnTo>
                    <a:pt x="306058" y="204457"/>
                  </a:lnTo>
                  <a:cubicBezTo>
                    <a:pt x="306058" y="199608"/>
                    <a:pt x="302127" y="195676"/>
                    <a:pt x="297278" y="195676"/>
                  </a:cubicBezTo>
                  <a:cubicBezTo>
                    <a:pt x="292428" y="195676"/>
                    <a:pt x="288497" y="199608"/>
                    <a:pt x="288497" y="204457"/>
                  </a:cubicBezTo>
                  <a:lnTo>
                    <a:pt x="288497" y="288497"/>
                  </a:lnTo>
                  <a:lnTo>
                    <a:pt x="127641" y="288497"/>
                  </a:lnTo>
                  <a:cubicBezTo>
                    <a:pt x="118121" y="288483"/>
                    <a:pt x="108935" y="292003"/>
                    <a:pt x="101862" y="298376"/>
                  </a:cubicBezTo>
                  <a:lnTo>
                    <a:pt x="101727" y="298492"/>
                  </a:lnTo>
                  <a:lnTo>
                    <a:pt x="101466" y="298708"/>
                  </a:lnTo>
                  <a:cubicBezTo>
                    <a:pt x="93384" y="306052"/>
                    <a:pt x="88771" y="316461"/>
                    <a:pt x="88757" y="327382"/>
                  </a:cubicBezTo>
                  <a:lnTo>
                    <a:pt x="88757" y="488238"/>
                  </a:lnTo>
                  <a:lnTo>
                    <a:pt x="38884" y="488238"/>
                  </a:lnTo>
                  <a:cubicBezTo>
                    <a:pt x="27113" y="488224"/>
                    <a:pt x="17575" y="478685"/>
                    <a:pt x="17561" y="466914"/>
                  </a:cubicBezTo>
                  <a:lnTo>
                    <a:pt x="17561" y="77769"/>
                  </a:lnTo>
                  <a:lnTo>
                    <a:pt x="576995" y="77769"/>
                  </a:lnTo>
                  <a:lnTo>
                    <a:pt x="576995" y="466914"/>
                  </a:lnTo>
                  <a:cubicBezTo>
                    <a:pt x="576981" y="478685"/>
                    <a:pt x="567442" y="488224"/>
                    <a:pt x="555671" y="488238"/>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70" name="Google Shape;1470;p10"/>
            <p:cNvSpPr/>
            <p:nvPr/>
          </p:nvSpPr>
          <p:spPr>
            <a:xfrm>
              <a:off x="2478620" y="1501855"/>
              <a:ext cx="15052" cy="15052"/>
            </a:xfrm>
            <a:custGeom>
              <a:avLst/>
              <a:gdLst/>
              <a:ahLst/>
              <a:cxnLst/>
              <a:rect l="l" t="t" r="r" b="b"/>
              <a:pathLst>
                <a:path w="15052" h="15052" extrusionOk="0">
                  <a:moveTo>
                    <a:pt x="15052" y="7526"/>
                  </a:moveTo>
                  <a:cubicBezTo>
                    <a:pt x="15052" y="11683"/>
                    <a:pt x="11683" y="15052"/>
                    <a:pt x="7526" y="15052"/>
                  </a:cubicBezTo>
                  <a:cubicBezTo>
                    <a:pt x="3369" y="15052"/>
                    <a:pt x="0" y="11683"/>
                    <a:pt x="0" y="7526"/>
                  </a:cubicBezTo>
                  <a:cubicBezTo>
                    <a:pt x="0" y="3370"/>
                    <a:pt x="3369" y="0"/>
                    <a:pt x="7526" y="0"/>
                  </a:cubicBezTo>
                  <a:cubicBezTo>
                    <a:pt x="11683" y="0"/>
                    <a:pt x="15052" y="3370"/>
                    <a:pt x="15052" y="7526"/>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71" name="Google Shape;1471;p10"/>
            <p:cNvSpPr/>
            <p:nvPr/>
          </p:nvSpPr>
          <p:spPr>
            <a:xfrm>
              <a:off x="2511232" y="1501855"/>
              <a:ext cx="15052" cy="15052"/>
            </a:xfrm>
            <a:custGeom>
              <a:avLst/>
              <a:gdLst/>
              <a:ahLst/>
              <a:cxnLst/>
              <a:rect l="l" t="t" r="r" b="b"/>
              <a:pathLst>
                <a:path w="15052" h="15052" extrusionOk="0">
                  <a:moveTo>
                    <a:pt x="15052" y="7526"/>
                  </a:moveTo>
                  <a:cubicBezTo>
                    <a:pt x="15052" y="11683"/>
                    <a:pt x="11683" y="15052"/>
                    <a:pt x="7526" y="15052"/>
                  </a:cubicBezTo>
                  <a:cubicBezTo>
                    <a:pt x="3369" y="15052"/>
                    <a:pt x="0" y="11683"/>
                    <a:pt x="0" y="7526"/>
                  </a:cubicBezTo>
                  <a:cubicBezTo>
                    <a:pt x="0" y="3370"/>
                    <a:pt x="3369" y="0"/>
                    <a:pt x="7526" y="0"/>
                  </a:cubicBezTo>
                  <a:cubicBezTo>
                    <a:pt x="11683" y="0"/>
                    <a:pt x="15052" y="3370"/>
                    <a:pt x="15052" y="7526"/>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72" name="Google Shape;1472;p10"/>
            <p:cNvSpPr/>
            <p:nvPr/>
          </p:nvSpPr>
          <p:spPr>
            <a:xfrm>
              <a:off x="2543845" y="1501855"/>
              <a:ext cx="15052" cy="15052"/>
            </a:xfrm>
            <a:custGeom>
              <a:avLst/>
              <a:gdLst/>
              <a:ahLst/>
              <a:cxnLst/>
              <a:rect l="l" t="t" r="r" b="b"/>
              <a:pathLst>
                <a:path w="15052" h="15052" extrusionOk="0">
                  <a:moveTo>
                    <a:pt x="15052" y="7526"/>
                  </a:moveTo>
                  <a:cubicBezTo>
                    <a:pt x="15052" y="11683"/>
                    <a:pt x="11683" y="15052"/>
                    <a:pt x="7526" y="15052"/>
                  </a:cubicBezTo>
                  <a:cubicBezTo>
                    <a:pt x="3369" y="15052"/>
                    <a:pt x="0" y="11683"/>
                    <a:pt x="0" y="7526"/>
                  </a:cubicBezTo>
                  <a:cubicBezTo>
                    <a:pt x="0" y="3370"/>
                    <a:pt x="3369" y="0"/>
                    <a:pt x="7526" y="0"/>
                  </a:cubicBezTo>
                  <a:cubicBezTo>
                    <a:pt x="11683" y="0"/>
                    <a:pt x="15052" y="3370"/>
                    <a:pt x="15052" y="7526"/>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473" name="Google Shape;1473;p10"/>
          <p:cNvPicPr preferRelativeResize="0"/>
          <p:nvPr/>
        </p:nvPicPr>
        <p:blipFill rotWithShape="1">
          <a:blip r:embed="rId3">
            <a:alphaModFix/>
          </a:blip>
          <a:srcRect/>
          <a:stretch/>
        </p:blipFill>
        <p:spPr>
          <a:xfrm>
            <a:off x="9245454" y="1589717"/>
            <a:ext cx="646179" cy="646177"/>
          </a:xfrm>
          <a:prstGeom prst="rect">
            <a:avLst/>
          </a:prstGeom>
          <a:noFill/>
          <a:ln>
            <a:noFill/>
          </a:ln>
        </p:spPr>
      </p:pic>
      <p:pic>
        <p:nvPicPr>
          <p:cNvPr id="1474" name="Google Shape;1474;p10"/>
          <p:cNvPicPr preferRelativeResize="0"/>
          <p:nvPr/>
        </p:nvPicPr>
        <p:blipFill rotWithShape="1">
          <a:blip r:embed="rId4">
            <a:alphaModFix/>
          </a:blip>
          <a:srcRect/>
          <a:stretch/>
        </p:blipFill>
        <p:spPr>
          <a:xfrm>
            <a:off x="5216742" y="1589719"/>
            <a:ext cx="631466" cy="631466"/>
          </a:xfrm>
          <a:prstGeom prst="rect">
            <a:avLst/>
          </a:prstGeom>
          <a:noFill/>
          <a:ln>
            <a:noFill/>
          </a:ln>
        </p:spPr>
      </p:pic>
      <p:sp>
        <p:nvSpPr>
          <p:cNvPr id="1475" name="Google Shape;1475;p10"/>
          <p:cNvSpPr/>
          <p:nvPr/>
        </p:nvSpPr>
        <p:spPr>
          <a:xfrm rot="10800000" flipH="1">
            <a:off x="6551600" y="3024931"/>
            <a:ext cx="968587" cy="308854"/>
          </a:xfrm>
          <a:custGeom>
            <a:avLst/>
            <a:gdLst/>
            <a:ahLst/>
            <a:cxnLst/>
            <a:rect l="l" t="t" r="r" b="b"/>
            <a:pathLst>
              <a:path w="417" h="133" extrusionOk="0">
                <a:moveTo>
                  <a:pt x="385" y="26"/>
                </a:moveTo>
                <a:cubicBezTo>
                  <a:pt x="364" y="0"/>
                  <a:pt x="364" y="0"/>
                  <a:pt x="364" y="0"/>
                </a:cubicBezTo>
                <a:cubicBezTo>
                  <a:pt x="364" y="26"/>
                  <a:pt x="364" y="26"/>
                  <a:pt x="364" y="26"/>
                </a:cubicBezTo>
                <a:cubicBezTo>
                  <a:pt x="194" y="26"/>
                  <a:pt x="194" y="26"/>
                  <a:pt x="194" y="26"/>
                </a:cubicBezTo>
                <a:cubicBezTo>
                  <a:pt x="166" y="26"/>
                  <a:pt x="166" y="26"/>
                  <a:pt x="166" y="26"/>
                </a:cubicBezTo>
                <a:cubicBezTo>
                  <a:pt x="136" y="52"/>
                  <a:pt x="102" y="73"/>
                  <a:pt x="65" y="88"/>
                </a:cubicBezTo>
                <a:cubicBezTo>
                  <a:pt x="48" y="95"/>
                  <a:pt x="24" y="101"/>
                  <a:pt x="0" y="106"/>
                </a:cubicBezTo>
                <a:cubicBezTo>
                  <a:pt x="69" y="106"/>
                  <a:pt x="69" y="106"/>
                  <a:pt x="69" y="106"/>
                </a:cubicBezTo>
                <a:cubicBezTo>
                  <a:pt x="364" y="106"/>
                  <a:pt x="364" y="106"/>
                  <a:pt x="364" y="106"/>
                </a:cubicBezTo>
                <a:cubicBezTo>
                  <a:pt x="364" y="133"/>
                  <a:pt x="364" y="133"/>
                  <a:pt x="364" y="133"/>
                </a:cubicBezTo>
                <a:cubicBezTo>
                  <a:pt x="385" y="106"/>
                  <a:pt x="385" y="106"/>
                  <a:pt x="385" y="106"/>
                </a:cubicBezTo>
                <a:cubicBezTo>
                  <a:pt x="417" y="66"/>
                  <a:pt x="417" y="66"/>
                  <a:pt x="417" y="66"/>
                </a:cubicBezTo>
                <a:lnTo>
                  <a:pt x="385" y="26"/>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76" name="Google Shape;1476;p10"/>
          <p:cNvSpPr/>
          <p:nvPr/>
        </p:nvSpPr>
        <p:spPr>
          <a:xfrm rot="10800000" flipH="1">
            <a:off x="5281980" y="3087484"/>
            <a:ext cx="1988975" cy="1866801"/>
          </a:xfrm>
          <a:custGeom>
            <a:avLst/>
            <a:gdLst/>
            <a:ahLst/>
            <a:cxnLst/>
            <a:rect l="l" t="t" r="r" b="b"/>
            <a:pathLst>
              <a:path w="857" h="803" extrusionOk="0">
                <a:moveTo>
                  <a:pt x="825" y="245"/>
                </a:moveTo>
                <a:cubicBezTo>
                  <a:pt x="805" y="197"/>
                  <a:pt x="776" y="155"/>
                  <a:pt x="739" y="118"/>
                </a:cubicBezTo>
                <a:cubicBezTo>
                  <a:pt x="702" y="81"/>
                  <a:pt x="659" y="52"/>
                  <a:pt x="611" y="31"/>
                </a:cubicBezTo>
                <a:cubicBezTo>
                  <a:pt x="562" y="11"/>
                  <a:pt x="509" y="0"/>
                  <a:pt x="455" y="0"/>
                </a:cubicBezTo>
                <a:cubicBezTo>
                  <a:pt x="401" y="0"/>
                  <a:pt x="348" y="11"/>
                  <a:pt x="299" y="31"/>
                </a:cubicBezTo>
                <a:cubicBezTo>
                  <a:pt x="251" y="52"/>
                  <a:pt x="208" y="81"/>
                  <a:pt x="171" y="118"/>
                </a:cubicBezTo>
                <a:cubicBezTo>
                  <a:pt x="134" y="155"/>
                  <a:pt x="105" y="197"/>
                  <a:pt x="85" y="245"/>
                </a:cubicBezTo>
                <a:cubicBezTo>
                  <a:pt x="65" y="291"/>
                  <a:pt x="55" y="340"/>
                  <a:pt x="53" y="389"/>
                </a:cubicBezTo>
                <a:cubicBezTo>
                  <a:pt x="53" y="389"/>
                  <a:pt x="53" y="389"/>
                  <a:pt x="53" y="389"/>
                </a:cubicBezTo>
                <a:cubicBezTo>
                  <a:pt x="53" y="393"/>
                  <a:pt x="53" y="397"/>
                  <a:pt x="53" y="401"/>
                </a:cubicBezTo>
                <a:cubicBezTo>
                  <a:pt x="53" y="456"/>
                  <a:pt x="64" y="508"/>
                  <a:pt x="85" y="558"/>
                </a:cubicBezTo>
                <a:cubicBezTo>
                  <a:pt x="105" y="606"/>
                  <a:pt x="134" y="649"/>
                  <a:pt x="171" y="686"/>
                </a:cubicBezTo>
                <a:cubicBezTo>
                  <a:pt x="180" y="694"/>
                  <a:pt x="189" y="703"/>
                  <a:pt x="199" y="711"/>
                </a:cubicBezTo>
                <a:cubicBezTo>
                  <a:pt x="369" y="711"/>
                  <a:pt x="369" y="711"/>
                  <a:pt x="369" y="711"/>
                </a:cubicBezTo>
                <a:cubicBezTo>
                  <a:pt x="233" y="673"/>
                  <a:pt x="134" y="549"/>
                  <a:pt x="134" y="401"/>
                </a:cubicBezTo>
                <a:cubicBezTo>
                  <a:pt x="134" y="397"/>
                  <a:pt x="134" y="393"/>
                  <a:pt x="134" y="389"/>
                </a:cubicBezTo>
                <a:cubicBezTo>
                  <a:pt x="134" y="389"/>
                  <a:pt x="134" y="389"/>
                  <a:pt x="134" y="389"/>
                </a:cubicBezTo>
                <a:cubicBezTo>
                  <a:pt x="141" y="218"/>
                  <a:pt x="282" y="81"/>
                  <a:pt x="455" y="81"/>
                </a:cubicBezTo>
                <a:cubicBezTo>
                  <a:pt x="632" y="81"/>
                  <a:pt x="776" y="225"/>
                  <a:pt x="776" y="402"/>
                </a:cubicBezTo>
                <a:cubicBezTo>
                  <a:pt x="776" y="579"/>
                  <a:pt x="632" y="723"/>
                  <a:pt x="455" y="723"/>
                </a:cubicBezTo>
                <a:cubicBezTo>
                  <a:pt x="455" y="723"/>
                  <a:pt x="455" y="723"/>
                  <a:pt x="455" y="723"/>
                </a:cubicBezTo>
                <a:cubicBezTo>
                  <a:pt x="0" y="723"/>
                  <a:pt x="0" y="723"/>
                  <a:pt x="0" y="723"/>
                </a:cubicBezTo>
                <a:cubicBezTo>
                  <a:pt x="32" y="763"/>
                  <a:pt x="32" y="763"/>
                  <a:pt x="32" y="763"/>
                </a:cubicBezTo>
                <a:cubicBezTo>
                  <a:pt x="0" y="803"/>
                  <a:pt x="0" y="803"/>
                  <a:pt x="0" y="803"/>
                </a:cubicBezTo>
                <a:cubicBezTo>
                  <a:pt x="455" y="803"/>
                  <a:pt x="455" y="803"/>
                  <a:pt x="455" y="803"/>
                </a:cubicBezTo>
                <a:cubicBezTo>
                  <a:pt x="455" y="803"/>
                  <a:pt x="562" y="793"/>
                  <a:pt x="612" y="772"/>
                </a:cubicBezTo>
                <a:cubicBezTo>
                  <a:pt x="659" y="752"/>
                  <a:pt x="702" y="723"/>
                  <a:pt x="739" y="686"/>
                </a:cubicBezTo>
                <a:cubicBezTo>
                  <a:pt x="776" y="649"/>
                  <a:pt x="805" y="606"/>
                  <a:pt x="825" y="558"/>
                </a:cubicBezTo>
                <a:cubicBezTo>
                  <a:pt x="846" y="509"/>
                  <a:pt x="857" y="456"/>
                  <a:pt x="857" y="402"/>
                </a:cubicBezTo>
                <a:cubicBezTo>
                  <a:pt x="857" y="348"/>
                  <a:pt x="846" y="295"/>
                  <a:pt x="825" y="245"/>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77" name="Google Shape;1477;p10"/>
          <p:cNvSpPr/>
          <p:nvPr/>
        </p:nvSpPr>
        <p:spPr>
          <a:xfrm rot="10800000" flipH="1">
            <a:off x="1135080" y="3024931"/>
            <a:ext cx="775065" cy="308854"/>
          </a:xfrm>
          <a:custGeom>
            <a:avLst/>
            <a:gdLst/>
            <a:ahLst/>
            <a:cxnLst/>
            <a:rect l="l" t="t" r="r" b="b"/>
            <a:pathLst>
              <a:path w="10000" h="10000" extrusionOk="0">
                <a:moveTo>
                  <a:pt x="9042" y="1962"/>
                </a:moveTo>
                <a:lnTo>
                  <a:pt x="8424" y="0"/>
                </a:lnTo>
                <a:lnTo>
                  <a:pt x="8424" y="1962"/>
                </a:lnTo>
                <a:lnTo>
                  <a:pt x="0" y="1962"/>
                </a:lnTo>
                <a:lnTo>
                  <a:pt x="0" y="7975"/>
                </a:lnTo>
                <a:lnTo>
                  <a:pt x="8424" y="7975"/>
                </a:lnTo>
                <a:lnTo>
                  <a:pt x="8424" y="10000"/>
                </a:lnTo>
                <a:lnTo>
                  <a:pt x="9042" y="7975"/>
                </a:lnTo>
                <a:lnTo>
                  <a:pt x="10000" y="4968"/>
                </a:lnTo>
                <a:lnTo>
                  <a:pt x="9042" y="1962"/>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78" name="Google Shape;1478;p10"/>
          <p:cNvSpPr/>
          <p:nvPr/>
        </p:nvSpPr>
        <p:spPr>
          <a:xfrm rot="10800000" flipH="1">
            <a:off x="8170636" y="3024931"/>
            <a:ext cx="775065" cy="308854"/>
          </a:xfrm>
          <a:custGeom>
            <a:avLst/>
            <a:gdLst/>
            <a:ahLst/>
            <a:cxnLst/>
            <a:rect l="l" t="t" r="r" b="b"/>
            <a:pathLst>
              <a:path w="10000" h="10000" extrusionOk="0">
                <a:moveTo>
                  <a:pt x="9042" y="1962"/>
                </a:moveTo>
                <a:lnTo>
                  <a:pt x="8424" y="0"/>
                </a:lnTo>
                <a:lnTo>
                  <a:pt x="8424" y="1962"/>
                </a:lnTo>
                <a:lnTo>
                  <a:pt x="0" y="1962"/>
                </a:lnTo>
                <a:lnTo>
                  <a:pt x="0" y="7975"/>
                </a:lnTo>
                <a:lnTo>
                  <a:pt x="8424" y="7975"/>
                </a:lnTo>
                <a:lnTo>
                  <a:pt x="8424" y="10000"/>
                </a:lnTo>
                <a:lnTo>
                  <a:pt x="9042" y="7975"/>
                </a:lnTo>
                <a:lnTo>
                  <a:pt x="10000" y="4968"/>
                </a:lnTo>
                <a:lnTo>
                  <a:pt x="9042" y="1962"/>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79" name="Google Shape;1479;p10"/>
          <p:cNvSpPr/>
          <p:nvPr/>
        </p:nvSpPr>
        <p:spPr>
          <a:xfrm rot="10800000" flipH="1">
            <a:off x="9600900" y="3024931"/>
            <a:ext cx="704251" cy="308854"/>
          </a:xfrm>
          <a:custGeom>
            <a:avLst/>
            <a:gdLst/>
            <a:ahLst/>
            <a:cxnLst/>
            <a:rect l="l" t="t" r="r" b="b"/>
            <a:pathLst>
              <a:path w="704251" h="308854" extrusionOk="0">
                <a:moveTo>
                  <a:pt x="582101" y="308854"/>
                </a:moveTo>
                <a:lnTo>
                  <a:pt x="630000" y="246311"/>
                </a:lnTo>
                <a:lnTo>
                  <a:pt x="704251" y="153439"/>
                </a:lnTo>
                <a:lnTo>
                  <a:pt x="630000" y="60597"/>
                </a:lnTo>
                <a:lnTo>
                  <a:pt x="582101" y="0"/>
                </a:lnTo>
                <a:lnTo>
                  <a:pt x="582101" y="60597"/>
                </a:lnTo>
                <a:lnTo>
                  <a:pt x="0" y="60597"/>
                </a:lnTo>
                <a:lnTo>
                  <a:pt x="0" y="246311"/>
                </a:lnTo>
                <a:lnTo>
                  <a:pt x="582101" y="246311"/>
                </a:lnTo>
                <a:lnTo>
                  <a:pt x="582101" y="308854"/>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nvGrpSpPr>
          <p:cNvPr id="1480" name="Google Shape;1480;p10"/>
          <p:cNvGrpSpPr/>
          <p:nvPr/>
        </p:nvGrpSpPr>
        <p:grpSpPr>
          <a:xfrm>
            <a:off x="5514785" y="3295665"/>
            <a:ext cx="1540680" cy="1539882"/>
            <a:chOff x="7285038" y="6072188"/>
            <a:chExt cx="3062287" cy="3060700"/>
          </a:xfrm>
        </p:grpSpPr>
        <p:sp>
          <p:nvSpPr>
            <p:cNvPr id="1481" name="Google Shape;1481;p10"/>
            <p:cNvSpPr/>
            <p:nvPr/>
          </p:nvSpPr>
          <p:spPr>
            <a:xfrm>
              <a:off x="8918575" y="6072188"/>
              <a:ext cx="1428750" cy="2143125"/>
            </a:xfrm>
            <a:custGeom>
              <a:avLst/>
              <a:gdLst/>
              <a:ahLst/>
              <a:cxnLst/>
              <a:rect l="l" t="t" r="r" b="b"/>
              <a:pathLst>
                <a:path w="15000" h="22500" extrusionOk="0">
                  <a:moveTo>
                    <a:pt x="0" y="0"/>
                  </a:moveTo>
                  <a:cubicBezTo>
                    <a:pt x="8284" y="0"/>
                    <a:pt x="15000" y="6716"/>
                    <a:pt x="15000" y="15000"/>
                  </a:cubicBezTo>
                  <a:cubicBezTo>
                    <a:pt x="15000" y="17633"/>
                    <a:pt x="14307" y="20220"/>
                    <a:pt x="12990" y="22500"/>
                  </a:cubicBezTo>
                  <a:lnTo>
                    <a:pt x="0" y="15000"/>
                  </a:lnTo>
                  <a:lnTo>
                    <a:pt x="0" y="0"/>
                  </a:lnTo>
                  <a:close/>
                </a:path>
              </a:pathLst>
            </a:custGeom>
            <a:solidFill>
              <a:srgbClr val="99E3FE"/>
            </a:solidFill>
            <a:ln w="2857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82" name="Google Shape;1482;p10"/>
            <p:cNvSpPr/>
            <p:nvPr/>
          </p:nvSpPr>
          <p:spPr>
            <a:xfrm>
              <a:off x="7680325" y="7500938"/>
              <a:ext cx="2476500" cy="1631950"/>
            </a:xfrm>
            <a:custGeom>
              <a:avLst/>
              <a:gdLst/>
              <a:ahLst/>
              <a:cxnLst/>
              <a:rect l="l" t="t" r="r" b="b"/>
              <a:pathLst>
                <a:path w="12990" h="8566" extrusionOk="0">
                  <a:moveTo>
                    <a:pt x="12990" y="3750"/>
                  </a:moveTo>
                  <a:cubicBezTo>
                    <a:pt x="10919" y="7337"/>
                    <a:pt x="6332" y="8566"/>
                    <a:pt x="2745" y="6495"/>
                  </a:cubicBezTo>
                  <a:cubicBezTo>
                    <a:pt x="1605" y="5837"/>
                    <a:pt x="658" y="4890"/>
                    <a:pt x="0" y="3750"/>
                  </a:cubicBezTo>
                  <a:lnTo>
                    <a:pt x="6495" y="0"/>
                  </a:lnTo>
                  <a:lnTo>
                    <a:pt x="12990" y="3750"/>
                  </a:lnTo>
                  <a:close/>
                </a:path>
              </a:pathLst>
            </a:custGeom>
            <a:solidFill>
              <a:srgbClr val="99E3FE"/>
            </a:solidFill>
            <a:ln w="2857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83" name="Google Shape;1483;p10"/>
            <p:cNvSpPr/>
            <p:nvPr/>
          </p:nvSpPr>
          <p:spPr>
            <a:xfrm>
              <a:off x="7285038" y="6072188"/>
              <a:ext cx="1633537" cy="2143125"/>
            </a:xfrm>
            <a:custGeom>
              <a:avLst/>
              <a:gdLst/>
              <a:ahLst/>
              <a:cxnLst/>
              <a:rect l="l" t="t" r="r" b="b"/>
              <a:pathLst>
                <a:path w="17133" h="22500" extrusionOk="0">
                  <a:moveTo>
                    <a:pt x="4142" y="22500"/>
                  </a:moveTo>
                  <a:cubicBezTo>
                    <a:pt x="0" y="15325"/>
                    <a:pt x="2458" y="6152"/>
                    <a:pt x="9633" y="2009"/>
                  </a:cubicBezTo>
                  <a:cubicBezTo>
                    <a:pt x="11913" y="693"/>
                    <a:pt x="14500" y="0"/>
                    <a:pt x="17133" y="0"/>
                  </a:cubicBezTo>
                  <a:lnTo>
                    <a:pt x="17133" y="15000"/>
                  </a:lnTo>
                  <a:lnTo>
                    <a:pt x="4142" y="22500"/>
                  </a:lnTo>
                  <a:close/>
                </a:path>
              </a:pathLst>
            </a:custGeom>
            <a:solidFill>
              <a:srgbClr val="99E3FE"/>
            </a:solidFill>
            <a:ln w="2857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484" name="Google Shape;1484;p10"/>
          <p:cNvSpPr txBox="1"/>
          <p:nvPr/>
        </p:nvSpPr>
        <p:spPr>
          <a:xfrm>
            <a:off x="5703452" y="3688519"/>
            <a:ext cx="542713" cy="299184"/>
          </a:xfrm>
          <a:prstGeom prst="rect">
            <a:avLst/>
          </a:prstGeom>
          <a:noFill/>
          <a:ln>
            <a:noFill/>
          </a:ln>
        </p:spPr>
        <p:txBody>
          <a:bodyPr spcFirstLastPara="1" wrap="square" lIns="0" tIns="0" rIns="0" bIns="0" anchor="t" anchorCtr="0">
            <a:spAutoFit/>
          </a:bodyPr>
          <a:lstStyle/>
          <a:p>
            <a:pPr marL="0" marR="0" lvl="1" indent="0" algn="ctr" rtl="0">
              <a:lnSpc>
                <a:spcPct val="80000"/>
              </a:lnSpc>
              <a:spcBef>
                <a:spcPts val="0"/>
              </a:spcBef>
              <a:spcAft>
                <a:spcPts val="0"/>
              </a:spcAft>
              <a:buClr>
                <a:schemeClr val="dk2"/>
              </a:buClr>
              <a:buSzPts val="1080"/>
              <a:buFont typeface="Noto Sans Symbols"/>
              <a:buNone/>
            </a:pPr>
            <a:r>
              <a:rPr lang="en-US" sz="1200" b="1" i="0" u="none" strike="noStrike" cap="none">
                <a:solidFill>
                  <a:srgbClr val="000000"/>
                </a:solidFill>
                <a:latin typeface="Calibri"/>
                <a:ea typeface="Calibri"/>
                <a:cs typeface="Calibri"/>
                <a:sym typeface="Calibri"/>
              </a:rPr>
              <a:t>Desk</a:t>
            </a:r>
            <a:br>
              <a:rPr lang="en-US" sz="1200" b="1" i="0" u="none" strike="noStrike" cap="none">
                <a:solidFill>
                  <a:srgbClr val="000000"/>
                </a:solidFill>
                <a:latin typeface="Calibri"/>
                <a:ea typeface="Calibri"/>
                <a:cs typeface="Calibri"/>
                <a:sym typeface="Calibri"/>
              </a:rPr>
            </a:br>
            <a:r>
              <a:rPr lang="en-US" sz="1200" b="1" i="0" u="none" strike="noStrike" cap="none">
                <a:solidFill>
                  <a:srgbClr val="000000"/>
                </a:solidFill>
                <a:latin typeface="Calibri"/>
                <a:ea typeface="Calibri"/>
                <a:cs typeface="Calibri"/>
                <a:sym typeface="Calibri"/>
              </a:rPr>
              <a:t>research</a:t>
            </a:r>
            <a:endParaRPr sz="1400" b="0" i="0" u="none" strike="noStrike" cap="none">
              <a:solidFill>
                <a:srgbClr val="000000"/>
              </a:solidFill>
              <a:latin typeface="Arial"/>
              <a:ea typeface="Arial"/>
              <a:cs typeface="Arial"/>
              <a:sym typeface="Arial"/>
            </a:endParaRPr>
          </a:p>
        </p:txBody>
      </p:sp>
      <p:sp>
        <p:nvSpPr>
          <p:cNvPr id="1485" name="Google Shape;1485;p10"/>
          <p:cNvSpPr txBox="1"/>
          <p:nvPr/>
        </p:nvSpPr>
        <p:spPr>
          <a:xfrm>
            <a:off x="6407250" y="3688519"/>
            <a:ext cx="542713" cy="299184"/>
          </a:xfrm>
          <a:prstGeom prst="rect">
            <a:avLst/>
          </a:prstGeom>
          <a:noFill/>
          <a:ln>
            <a:noFill/>
          </a:ln>
        </p:spPr>
        <p:txBody>
          <a:bodyPr spcFirstLastPara="1" wrap="square" lIns="0" tIns="0" rIns="0" bIns="0" anchor="t" anchorCtr="0">
            <a:spAutoFit/>
          </a:bodyPr>
          <a:lstStyle/>
          <a:p>
            <a:pPr marL="0" marR="0" lvl="1" indent="0" algn="ctr" rtl="0">
              <a:lnSpc>
                <a:spcPct val="80000"/>
              </a:lnSpc>
              <a:spcBef>
                <a:spcPts val="0"/>
              </a:spcBef>
              <a:spcAft>
                <a:spcPts val="0"/>
              </a:spcAft>
              <a:buClr>
                <a:schemeClr val="dk2"/>
              </a:buClr>
              <a:buSzPts val="1080"/>
              <a:buFont typeface="Noto Sans Symbols"/>
              <a:buNone/>
            </a:pPr>
            <a:r>
              <a:rPr lang="en-US" sz="1200" b="1" i="0" u="none" strike="noStrike" cap="none">
                <a:solidFill>
                  <a:srgbClr val="000000"/>
                </a:solidFill>
                <a:latin typeface="Calibri"/>
                <a:ea typeface="Calibri"/>
                <a:cs typeface="Calibri"/>
                <a:sym typeface="Calibri"/>
              </a:rPr>
              <a:t>Primary</a:t>
            </a:r>
            <a:br>
              <a:rPr lang="en-US" sz="1200" b="1" i="0" u="none" strike="noStrike" cap="none">
                <a:solidFill>
                  <a:srgbClr val="000000"/>
                </a:solidFill>
                <a:latin typeface="Calibri"/>
                <a:ea typeface="Calibri"/>
                <a:cs typeface="Calibri"/>
                <a:sym typeface="Calibri"/>
              </a:rPr>
            </a:br>
            <a:r>
              <a:rPr lang="en-US" sz="1200" b="1" i="0" u="none" strike="noStrike" cap="none">
                <a:solidFill>
                  <a:srgbClr val="000000"/>
                </a:solidFill>
                <a:latin typeface="Calibri"/>
                <a:ea typeface="Calibri"/>
                <a:cs typeface="Calibri"/>
                <a:sym typeface="Calibri"/>
              </a:rPr>
              <a:t>research</a:t>
            </a:r>
            <a:endParaRPr sz="1400" b="0" i="0" u="none" strike="noStrike" cap="none">
              <a:solidFill>
                <a:srgbClr val="000000"/>
              </a:solidFill>
              <a:latin typeface="Arial"/>
              <a:ea typeface="Arial"/>
              <a:cs typeface="Arial"/>
              <a:sym typeface="Arial"/>
            </a:endParaRPr>
          </a:p>
        </p:txBody>
      </p:sp>
      <p:sp>
        <p:nvSpPr>
          <p:cNvPr id="1486" name="Google Shape;1486;p10"/>
          <p:cNvSpPr txBox="1"/>
          <p:nvPr/>
        </p:nvSpPr>
        <p:spPr>
          <a:xfrm>
            <a:off x="5912251" y="4312272"/>
            <a:ext cx="841128" cy="299184"/>
          </a:xfrm>
          <a:prstGeom prst="rect">
            <a:avLst/>
          </a:prstGeom>
          <a:noFill/>
          <a:ln>
            <a:noFill/>
          </a:ln>
        </p:spPr>
        <p:txBody>
          <a:bodyPr spcFirstLastPara="1" wrap="square" lIns="0" tIns="0" rIns="0" bIns="0" anchor="t" anchorCtr="0">
            <a:spAutoFit/>
          </a:bodyPr>
          <a:lstStyle/>
          <a:p>
            <a:pPr marL="0" marR="0" lvl="1" indent="0" algn="ctr" rtl="0">
              <a:lnSpc>
                <a:spcPct val="80000"/>
              </a:lnSpc>
              <a:spcBef>
                <a:spcPts val="0"/>
              </a:spcBef>
              <a:spcAft>
                <a:spcPts val="0"/>
              </a:spcAft>
              <a:buClr>
                <a:schemeClr val="dk2"/>
              </a:buClr>
              <a:buSzPts val="1080"/>
              <a:buFont typeface="Noto Sans Symbols"/>
              <a:buNone/>
            </a:pPr>
            <a:r>
              <a:rPr lang="en-US" sz="1200" b="1" i="0" u="none" strike="noStrike" cap="none">
                <a:solidFill>
                  <a:srgbClr val="000000"/>
                </a:solidFill>
                <a:latin typeface="Calibri"/>
                <a:ea typeface="Calibri"/>
                <a:cs typeface="Calibri"/>
                <a:sym typeface="Calibri"/>
              </a:rPr>
              <a:t>Tech enabled</a:t>
            </a:r>
            <a:br>
              <a:rPr lang="en-US" sz="1200" b="1" i="0" u="none" strike="noStrike" cap="none">
                <a:solidFill>
                  <a:srgbClr val="000000"/>
                </a:solidFill>
                <a:latin typeface="Calibri"/>
                <a:ea typeface="Calibri"/>
                <a:cs typeface="Calibri"/>
                <a:sym typeface="Calibri"/>
              </a:rPr>
            </a:br>
            <a:r>
              <a:rPr lang="en-US" sz="1200" b="1" i="0" u="none" strike="noStrike" cap="none">
                <a:solidFill>
                  <a:srgbClr val="000000"/>
                </a:solidFill>
                <a:latin typeface="Calibri"/>
                <a:ea typeface="Calibri"/>
                <a:cs typeface="Calibri"/>
                <a:sym typeface="Calibri"/>
              </a:rPr>
              <a:t>research</a:t>
            </a:r>
            <a:endParaRPr sz="1400" b="0" i="0" u="none" strike="noStrike" cap="none">
              <a:solidFill>
                <a:srgbClr val="000000"/>
              </a:solidFill>
              <a:latin typeface="Arial"/>
              <a:ea typeface="Arial"/>
              <a:cs typeface="Arial"/>
              <a:sym typeface="Arial"/>
            </a:endParaRPr>
          </a:p>
        </p:txBody>
      </p:sp>
      <p:sp>
        <p:nvSpPr>
          <p:cNvPr id="1487" name="Google Shape;1487;p10"/>
          <p:cNvSpPr txBox="1"/>
          <p:nvPr/>
        </p:nvSpPr>
        <p:spPr>
          <a:xfrm>
            <a:off x="5607148" y="5228683"/>
            <a:ext cx="1796154" cy="895117"/>
          </a:xfrm>
          <a:prstGeom prst="rect">
            <a:avLst/>
          </a:prstGeom>
          <a:noFill/>
          <a:ln>
            <a:noFill/>
          </a:ln>
        </p:spPr>
        <p:txBody>
          <a:bodyPr spcFirstLastPara="1" wrap="square" lIns="0" tIns="0" rIns="0" bIns="0" anchor="t" anchorCtr="0">
            <a:spAutoFit/>
          </a:bodyPr>
          <a:lstStyle/>
          <a:p>
            <a:pPr marL="128588" marR="0" lvl="1" indent="-128588" algn="l" rtl="0">
              <a:lnSpc>
                <a:spcPct val="90000"/>
              </a:lnSpc>
              <a:spcBef>
                <a:spcPts val="0"/>
              </a:spcBef>
              <a:spcAft>
                <a:spcPts val="0"/>
              </a:spcAft>
              <a:buClr>
                <a:schemeClr val="dk2"/>
              </a:buClr>
              <a:buSzPts val="1080"/>
              <a:buFont typeface="Noto Sans Symbols"/>
              <a:buChar char="▪"/>
            </a:pPr>
            <a:r>
              <a:rPr lang="en-US" sz="1200" b="1" i="0" u="none" strike="noStrike" cap="none">
                <a:solidFill>
                  <a:srgbClr val="222222"/>
                </a:solidFill>
                <a:latin typeface="Calibri"/>
                <a:ea typeface="Calibri"/>
                <a:cs typeface="Calibri"/>
                <a:sym typeface="Calibri"/>
              </a:rPr>
              <a:t>Tech enabled research</a:t>
            </a:r>
            <a:endParaRPr sz="1400" b="0" i="0" u="none" strike="noStrike" cap="none">
              <a:solidFill>
                <a:srgbClr val="000000"/>
              </a:solidFill>
              <a:latin typeface="Arial"/>
              <a:ea typeface="Arial"/>
              <a:cs typeface="Arial"/>
              <a:sym typeface="Arial"/>
            </a:endParaRPr>
          </a:p>
          <a:p>
            <a:pPr marL="268288" marR="0" lvl="2" indent="-134938" algn="l" rtl="0">
              <a:lnSpc>
                <a:spcPct val="90000"/>
              </a:lnSpc>
              <a:spcBef>
                <a:spcPts val="0"/>
              </a:spcBef>
              <a:spcAft>
                <a:spcPts val="0"/>
              </a:spcAft>
              <a:buClr>
                <a:schemeClr val="dk2"/>
              </a:buClr>
              <a:buSzPts val="1200"/>
              <a:buFont typeface="Calibri"/>
              <a:buChar char="−"/>
            </a:pPr>
            <a:r>
              <a:rPr lang="en-US" sz="1200" b="0" i="0" u="none" strike="noStrike" cap="none">
                <a:solidFill>
                  <a:schemeClr val="dk1"/>
                </a:solidFill>
                <a:latin typeface="Calibri"/>
                <a:ea typeface="Calibri"/>
                <a:cs typeface="Calibri"/>
                <a:sym typeface="Calibri"/>
              </a:rPr>
              <a:t>Social listening</a:t>
            </a:r>
            <a:endParaRPr sz="1400" b="0" i="0" u="none" strike="noStrike" cap="none">
              <a:solidFill>
                <a:srgbClr val="000000"/>
              </a:solidFill>
              <a:latin typeface="Arial"/>
              <a:ea typeface="Arial"/>
              <a:cs typeface="Arial"/>
              <a:sym typeface="Arial"/>
            </a:endParaRPr>
          </a:p>
          <a:p>
            <a:pPr marL="268288" marR="0" lvl="2" indent="-134938" algn="l" rtl="0">
              <a:lnSpc>
                <a:spcPct val="90000"/>
              </a:lnSpc>
              <a:spcBef>
                <a:spcPts val="0"/>
              </a:spcBef>
              <a:spcAft>
                <a:spcPts val="0"/>
              </a:spcAft>
              <a:buClr>
                <a:schemeClr val="dk2"/>
              </a:buClr>
              <a:buSzPts val="1200"/>
              <a:buFont typeface="Calibri"/>
              <a:buChar char="−"/>
            </a:pPr>
            <a:r>
              <a:rPr lang="en-US" sz="1200" b="0" i="0" u="none" strike="noStrike" cap="none">
                <a:solidFill>
                  <a:schemeClr val="dk1"/>
                </a:solidFill>
                <a:latin typeface="Calibri"/>
                <a:ea typeface="Calibri"/>
                <a:cs typeface="Calibri"/>
                <a:sym typeface="Calibri"/>
              </a:rPr>
              <a:t>Web scraping</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500"/>
              </a:spcBef>
              <a:spcAft>
                <a:spcPts val="0"/>
              </a:spcAft>
              <a:buClr>
                <a:schemeClr val="dk1"/>
              </a:buClr>
              <a:buSzPts val="1200"/>
              <a:buFont typeface="Arial"/>
              <a:buNone/>
            </a:pPr>
            <a:r>
              <a:rPr lang="en-US" sz="1200" b="0" i="0" u="none" strike="noStrike" cap="none">
                <a:solidFill>
                  <a:schemeClr val="dk1"/>
                </a:solidFill>
                <a:latin typeface="Calibri"/>
                <a:ea typeface="Calibri"/>
                <a:cs typeface="Calibri"/>
                <a:sym typeface="Calibri"/>
              </a:rPr>
              <a:t>Complementing with the other Infomineo services</a:t>
            </a:r>
            <a:endParaRPr sz="1400" b="0" i="0" u="none" strike="noStrike" cap="none">
              <a:solidFill>
                <a:srgbClr val="000000"/>
              </a:solidFill>
              <a:latin typeface="Arial"/>
              <a:ea typeface="Arial"/>
              <a:cs typeface="Arial"/>
              <a:sym typeface="Arial"/>
            </a:endParaRPr>
          </a:p>
        </p:txBody>
      </p:sp>
      <p:sp>
        <p:nvSpPr>
          <p:cNvPr id="1488" name="Google Shape;1488;p10"/>
          <p:cNvSpPr/>
          <p:nvPr/>
        </p:nvSpPr>
        <p:spPr>
          <a:xfrm rot="10800000" flipH="1">
            <a:off x="4140285" y="3087474"/>
            <a:ext cx="1303918" cy="185718"/>
          </a:xfrm>
          <a:custGeom>
            <a:avLst/>
            <a:gdLst/>
            <a:ahLst/>
            <a:cxnLst/>
            <a:rect l="l" t="t" r="r" b="b"/>
            <a:pathLst>
              <a:path w="10006" h="10000" extrusionOk="0">
                <a:moveTo>
                  <a:pt x="9992" y="10000"/>
                </a:moveTo>
                <a:cubicBezTo>
                  <a:pt x="10026" y="7376"/>
                  <a:pt x="9987" y="4129"/>
                  <a:pt x="9992" y="0"/>
                </a:cubicBezTo>
                <a:lnTo>
                  <a:pt x="0" y="0"/>
                </a:lnTo>
                <a:lnTo>
                  <a:pt x="0" y="10000"/>
                </a:lnTo>
                <a:lnTo>
                  <a:pt x="9992" y="10000"/>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489" name="Google Shape;1489;p10"/>
          <p:cNvPicPr preferRelativeResize="0"/>
          <p:nvPr/>
        </p:nvPicPr>
        <p:blipFill rotWithShape="1">
          <a:blip r:embed="rId5">
            <a:alphaModFix/>
          </a:blip>
          <a:srcRect/>
          <a:stretch/>
        </p:blipFill>
        <p:spPr>
          <a:xfrm>
            <a:off x="568442" y="2937957"/>
            <a:ext cx="498358" cy="498358"/>
          </a:xfrm>
          <a:prstGeom prst="rect">
            <a:avLst/>
          </a:prstGeom>
          <a:noFill/>
          <a:ln>
            <a:noFill/>
          </a:ln>
        </p:spPr>
      </p:pic>
      <p:pic>
        <p:nvPicPr>
          <p:cNvPr id="1490" name="Google Shape;1490;p10"/>
          <p:cNvPicPr preferRelativeResize="0"/>
          <p:nvPr/>
        </p:nvPicPr>
        <p:blipFill rotWithShape="1">
          <a:blip r:embed="rId6">
            <a:alphaModFix/>
          </a:blip>
          <a:srcRect/>
          <a:stretch/>
        </p:blipFill>
        <p:spPr>
          <a:xfrm>
            <a:off x="1984850" y="2899591"/>
            <a:ext cx="548990" cy="548990"/>
          </a:xfrm>
          <a:prstGeom prst="rect">
            <a:avLst/>
          </a:prstGeom>
          <a:noFill/>
          <a:ln>
            <a:noFill/>
          </a:ln>
        </p:spPr>
      </p:pic>
      <p:grpSp>
        <p:nvGrpSpPr>
          <p:cNvPr id="1491" name="Google Shape;1491;p10"/>
          <p:cNvGrpSpPr/>
          <p:nvPr/>
        </p:nvGrpSpPr>
        <p:grpSpPr>
          <a:xfrm>
            <a:off x="2539766" y="3024931"/>
            <a:ext cx="898166" cy="308854"/>
            <a:chOff x="2539766" y="3024931"/>
            <a:chExt cx="898166" cy="308854"/>
          </a:xfrm>
        </p:grpSpPr>
        <p:sp>
          <p:nvSpPr>
            <p:cNvPr id="1492" name="Google Shape;1492;p10"/>
            <p:cNvSpPr/>
            <p:nvPr/>
          </p:nvSpPr>
          <p:spPr>
            <a:xfrm rot="10800000" flipH="1">
              <a:off x="2662867" y="3024931"/>
              <a:ext cx="775065" cy="308854"/>
            </a:xfrm>
            <a:custGeom>
              <a:avLst/>
              <a:gdLst/>
              <a:ahLst/>
              <a:cxnLst/>
              <a:rect l="l" t="t" r="r" b="b"/>
              <a:pathLst>
                <a:path w="793" h="316" extrusionOk="0">
                  <a:moveTo>
                    <a:pt x="717" y="62"/>
                  </a:moveTo>
                  <a:lnTo>
                    <a:pt x="668" y="0"/>
                  </a:lnTo>
                  <a:lnTo>
                    <a:pt x="668" y="62"/>
                  </a:lnTo>
                  <a:lnTo>
                    <a:pt x="0" y="62"/>
                  </a:lnTo>
                  <a:lnTo>
                    <a:pt x="76" y="157"/>
                  </a:lnTo>
                  <a:lnTo>
                    <a:pt x="0" y="252"/>
                  </a:lnTo>
                  <a:lnTo>
                    <a:pt x="668" y="252"/>
                  </a:lnTo>
                  <a:lnTo>
                    <a:pt x="668" y="316"/>
                  </a:lnTo>
                  <a:lnTo>
                    <a:pt x="717" y="252"/>
                  </a:lnTo>
                  <a:lnTo>
                    <a:pt x="793" y="157"/>
                  </a:lnTo>
                  <a:lnTo>
                    <a:pt x="717" y="62"/>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93" name="Google Shape;1493;p10"/>
            <p:cNvSpPr/>
            <p:nvPr/>
          </p:nvSpPr>
          <p:spPr>
            <a:xfrm rot="10800000" flipH="1">
              <a:off x="2539766" y="3087474"/>
              <a:ext cx="653839" cy="185718"/>
            </a:xfrm>
            <a:custGeom>
              <a:avLst/>
              <a:gdLst/>
              <a:ahLst/>
              <a:cxnLst/>
              <a:rect l="l" t="t" r="r" b="b"/>
              <a:pathLst>
                <a:path w="10006" h="10000" extrusionOk="0">
                  <a:moveTo>
                    <a:pt x="9992" y="10000"/>
                  </a:moveTo>
                  <a:cubicBezTo>
                    <a:pt x="10026" y="7376"/>
                    <a:pt x="9987" y="4129"/>
                    <a:pt x="9992" y="0"/>
                  </a:cubicBezTo>
                  <a:lnTo>
                    <a:pt x="0" y="0"/>
                  </a:lnTo>
                  <a:lnTo>
                    <a:pt x="0" y="10000"/>
                  </a:lnTo>
                  <a:lnTo>
                    <a:pt x="9992" y="10000"/>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494" name="Google Shape;1494;p10"/>
          <p:cNvSpPr/>
          <p:nvPr/>
        </p:nvSpPr>
        <p:spPr>
          <a:xfrm rot="5400000">
            <a:off x="1871534" y="1360607"/>
            <a:ext cx="261792" cy="2871004"/>
          </a:xfrm>
          <a:prstGeom prst="leftBrace">
            <a:avLst>
              <a:gd name="adj1" fmla="val 0"/>
              <a:gd name="adj2" fmla="val 50000"/>
            </a:avLst>
          </a:prstGeom>
          <a:noFill/>
          <a:ln w="9525" cap="flat"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95" name="Google Shape;1495;p10"/>
          <p:cNvSpPr/>
          <p:nvPr/>
        </p:nvSpPr>
        <p:spPr>
          <a:xfrm rot="5400000">
            <a:off x="5404236" y="805742"/>
            <a:ext cx="256479" cy="3975421"/>
          </a:xfrm>
          <a:prstGeom prst="leftBrace">
            <a:avLst>
              <a:gd name="adj1" fmla="val 0"/>
              <a:gd name="adj2" fmla="val 50000"/>
            </a:avLst>
          </a:prstGeom>
          <a:noFill/>
          <a:ln w="9525" cap="flat"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96" name="Google Shape;1496;p10"/>
          <p:cNvSpPr/>
          <p:nvPr/>
        </p:nvSpPr>
        <p:spPr>
          <a:xfrm rot="5400000">
            <a:off x="9513422" y="805742"/>
            <a:ext cx="256479" cy="3975421"/>
          </a:xfrm>
          <a:prstGeom prst="leftBrace">
            <a:avLst>
              <a:gd name="adj1" fmla="val 0"/>
              <a:gd name="adj2" fmla="val 50000"/>
            </a:avLst>
          </a:prstGeom>
          <a:noFill/>
          <a:ln w="9525" cap="flat"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497" name="Google Shape;1497;p10"/>
          <p:cNvPicPr preferRelativeResize="0"/>
          <p:nvPr/>
        </p:nvPicPr>
        <p:blipFill rotWithShape="1">
          <a:blip r:embed="rId7">
            <a:alphaModFix/>
          </a:blip>
          <a:srcRect/>
          <a:stretch/>
        </p:blipFill>
        <p:spPr>
          <a:xfrm>
            <a:off x="7617585" y="2937957"/>
            <a:ext cx="518983" cy="518983"/>
          </a:xfrm>
          <a:prstGeom prst="rect">
            <a:avLst/>
          </a:prstGeom>
          <a:noFill/>
          <a:ln>
            <a:noFill/>
          </a:ln>
        </p:spPr>
      </p:pic>
      <p:pic>
        <p:nvPicPr>
          <p:cNvPr id="1498" name="Google Shape;1498;p10"/>
          <p:cNvPicPr preferRelativeResize="0"/>
          <p:nvPr/>
        </p:nvPicPr>
        <p:blipFill rotWithShape="1">
          <a:blip r:embed="rId8">
            <a:alphaModFix/>
          </a:blip>
          <a:srcRect/>
          <a:stretch/>
        </p:blipFill>
        <p:spPr>
          <a:xfrm>
            <a:off x="3644503" y="2952159"/>
            <a:ext cx="492082" cy="492082"/>
          </a:xfrm>
          <a:prstGeom prst="rect">
            <a:avLst/>
          </a:prstGeom>
          <a:noFill/>
          <a:ln>
            <a:noFill/>
          </a:ln>
        </p:spPr>
      </p:pic>
      <p:pic>
        <p:nvPicPr>
          <p:cNvPr id="1499" name="Google Shape;1499;p10"/>
          <p:cNvPicPr preferRelativeResize="0"/>
          <p:nvPr/>
        </p:nvPicPr>
        <p:blipFill rotWithShape="1">
          <a:blip r:embed="rId9">
            <a:alphaModFix/>
          </a:blip>
          <a:srcRect/>
          <a:stretch/>
        </p:blipFill>
        <p:spPr>
          <a:xfrm>
            <a:off x="10371202" y="2970162"/>
            <a:ext cx="522548" cy="522548"/>
          </a:xfrm>
          <a:prstGeom prst="rect">
            <a:avLst/>
          </a:prstGeom>
          <a:noFill/>
          <a:ln>
            <a:noFill/>
          </a:ln>
        </p:spPr>
      </p:pic>
      <p:pic>
        <p:nvPicPr>
          <p:cNvPr id="1500" name="Google Shape;1500;p10"/>
          <p:cNvPicPr preferRelativeResize="0"/>
          <p:nvPr/>
        </p:nvPicPr>
        <p:blipFill rotWithShape="1">
          <a:blip r:embed="rId10">
            <a:alphaModFix/>
          </a:blip>
          <a:srcRect/>
          <a:stretch/>
        </p:blipFill>
        <p:spPr>
          <a:xfrm>
            <a:off x="9043403" y="2948744"/>
            <a:ext cx="508196" cy="508196"/>
          </a:xfrm>
          <a:prstGeom prst="rect">
            <a:avLst/>
          </a:prstGeom>
          <a:noFill/>
          <a:ln>
            <a:noFill/>
          </a:ln>
        </p:spPr>
      </p:pic>
      <p:grpSp>
        <p:nvGrpSpPr>
          <p:cNvPr id="1501" name="Google Shape;1501;p10"/>
          <p:cNvGrpSpPr/>
          <p:nvPr/>
        </p:nvGrpSpPr>
        <p:grpSpPr>
          <a:xfrm>
            <a:off x="10976464" y="135255"/>
            <a:ext cx="1046733" cy="468742"/>
            <a:chOff x="10976464" y="135255"/>
            <a:chExt cx="1046733" cy="468742"/>
          </a:xfrm>
        </p:grpSpPr>
        <p:sp>
          <p:nvSpPr>
            <p:cNvPr id="1502" name="Google Shape;1502;p10"/>
            <p:cNvSpPr txBox="1"/>
            <p:nvPr/>
          </p:nvSpPr>
          <p:spPr>
            <a:xfrm>
              <a:off x="10976464" y="292682"/>
              <a:ext cx="533800" cy="153888"/>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Research</a:t>
              </a:r>
              <a:endParaRPr sz="1400" b="0" i="0" u="none" strike="noStrike" cap="none">
                <a:solidFill>
                  <a:srgbClr val="000000"/>
                </a:solidFill>
                <a:latin typeface="Arial"/>
                <a:ea typeface="Arial"/>
                <a:cs typeface="Arial"/>
                <a:sym typeface="Arial"/>
              </a:endParaRPr>
            </a:p>
          </p:txBody>
        </p:sp>
        <p:sp>
          <p:nvSpPr>
            <p:cNvPr id="1503" name="Google Shape;1503;p10"/>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pic>
          <p:nvPicPr>
            <p:cNvPr id="1504" name="Google Shape;1504;p10"/>
            <p:cNvPicPr preferRelativeResize="0"/>
            <p:nvPr/>
          </p:nvPicPr>
          <p:blipFill rotWithShape="1">
            <a:blip r:embed="rId11">
              <a:alphaModFix/>
            </a:blip>
            <a:srcRect/>
            <a:stretch/>
          </p:blipFill>
          <p:spPr>
            <a:xfrm>
              <a:off x="11641138" y="237175"/>
              <a:ext cx="269974" cy="269974"/>
            </a:xfrm>
            <a:prstGeom prst="rect">
              <a:avLst/>
            </a:prstGeom>
            <a:noFill/>
            <a:ln>
              <a:noFill/>
            </a:ln>
          </p:spPr>
        </p:pic>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508"/>
        <p:cNvGrpSpPr/>
        <p:nvPr/>
      </p:nvGrpSpPr>
      <p:grpSpPr>
        <a:xfrm>
          <a:off x="0" y="0"/>
          <a:ext cx="0" cy="0"/>
          <a:chOff x="0" y="0"/>
          <a:chExt cx="0" cy="0"/>
        </a:xfrm>
      </p:grpSpPr>
      <p:pic>
        <p:nvPicPr>
          <p:cNvPr id="1509" name="Google Shape;1509;p2"/>
          <p:cNvPicPr preferRelativeResize="0"/>
          <p:nvPr/>
        </p:nvPicPr>
        <p:blipFill rotWithShape="1">
          <a:blip r:embed="rId3">
            <a:alphaModFix/>
          </a:blip>
          <a:srcRect t="4770" b="9326"/>
          <a:stretch/>
        </p:blipFill>
        <p:spPr>
          <a:xfrm>
            <a:off x="531813" y="4560671"/>
            <a:ext cx="1359853" cy="292034"/>
          </a:xfrm>
          <a:prstGeom prst="rect">
            <a:avLst/>
          </a:prstGeom>
          <a:noFill/>
          <a:ln>
            <a:noFill/>
          </a:ln>
        </p:spPr>
      </p:pic>
      <p:pic>
        <p:nvPicPr>
          <p:cNvPr id="1510" name="Google Shape;1510;p2"/>
          <p:cNvPicPr preferRelativeResize="0"/>
          <p:nvPr/>
        </p:nvPicPr>
        <p:blipFill rotWithShape="1">
          <a:blip r:embed="rId4">
            <a:alphaModFix/>
          </a:blip>
          <a:srcRect/>
          <a:stretch/>
        </p:blipFill>
        <p:spPr>
          <a:xfrm>
            <a:off x="531813" y="3034337"/>
            <a:ext cx="1176802" cy="366116"/>
          </a:xfrm>
          <a:prstGeom prst="rect">
            <a:avLst/>
          </a:prstGeom>
          <a:noFill/>
          <a:ln>
            <a:noFill/>
          </a:ln>
        </p:spPr>
      </p:pic>
      <p:pic>
        <p:nvPicPr>
          <p:cNvPr id="1511" name="Google Shape;1511;p2"/>
          <p:cNvPicPr preferRelativeResize="0"/>
          <p:nvPr/>
        </p:nvPicPr>
        <p:blipFill rotWithShape="1">
          <a:blip r:embed="rId5">
            <a:alphaModFix/>
          </a:blip>
          <a:srcRect/>
          <a:stretch/>
        </p:blipFill>
        <p:spPr>
          <a:xfrm>
            <a:off x="531813" y="5057924"/>
            <a:ext cx="1743554" cy="495967"/>
          </a:xfrm>
          <a:prstGeom prst="rect">
            <a:avLst/>
          </a:prstGeom>
          <a:noFill/>
          <a:ln>
            <a:noFill/>
          </a:ln>
        </p:spPr>
      </p:pic>
      <p:pic>
        <p:nvPicPr>
          <p:cNvPr id="1512" name="Google Shape;1512;p2" descr="Factiva - Global News Monitoring &amp; Search Engine | Dow Jones"/>
          <p:cNvPicPr preferRelativeResize="0"/>
          <p:nvPr/>
        </p:nvPicPr>
        <p:blipFill rotWithShape="1">
          <a:blip r:embed="rId6">
            <a:alphaModFix/>
          </a:blip>
          <a:srcRect/>
          <a:stretch/>
        </p:blipFill>
        <p:spPr>
          <a:xfrm>
            <a:off x="566317" y="3915843"/>
            <a:ext cx="1970429" cy="383246"/>
          </a:xfrm>
          <a:prstGeom prst="rect">
            <a:avLst/>
          </a:prstGeom>
          <a:noFill/>
          <a:ln>
            <a:noFill/>
          </a:ln>
        </p:spPr>
      </p:pic>
      <p:pic>
        <p:nvPicPr>
          <p:cNvPr id="1513" name="Google Shape;1513;p2" descr="In a rush to learn S&amp;P Capital IQ? Watch some videos! | SFU Library"/>
          <p:cNvPicPr preferRelativeResize="0"/>
          <p:nvPr/>
        </p:nvPicPr>
        <p:blipFill rotWithShape="1">
          <a:blip r:embed="rId7">
            <a:alphaModFix/>
          </a:blip>
          <a:srcRect/>
          <a:stretch/>
        </p:blipFill>
        <p:spPr>
          <a:xfrm>
            <a:off x="531813" y="1742226"/>
            <a:ext cx="1892606" cy="588497"/>
          </a:xfrm>
          <a:prstGeom prst="rect">
            <a:avLst/>
          </a:prstGeom>
          <a:noFill/>
          <a:ln>
            <a:noFill/>
          </a:ln>
        </p:spPr>
      </p:pic>
      <p:sp>
        <p:nvSpPr>
          <p:cNvPr id="1514" name="Google Shape;1514;p2"/>
          <p:cNvSpPr txBox="1">
            <a:spLocks noGrp="1"/>
          </p:cNvSpPr>
          <p:nvPr>
            <p:ph type="title"/>
          </p:nvPr>
        </p:nvSpPr>
        <p:spPr>
          <a:xfrm>
            <a:off x="53181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SzPts val="3200"/>
              <a:buNone/>
            </a:pPr>
            <a:r>
              <a:rPr lang="en-US"/>
              <a:t>Some databases and tools we subscribe to</a:t>
            </a:r>
            <a:endParaRPr/>
          </a:p>
        </p:txBody>
      </p:sp>
      <p:sp>
        <p:nvSpPr>
          <p:cNvPr id="1515" name="Google Shape;1515;p2"/>
          <p:cNvSpPr txBox="1"/>
          <p:nvPr/>
        </p:nvSpPr>
        <p:spPr>
          <a:xfrm>
            <a:off x="2932662" y="993008"/>
            <a:ext cx="1513235" cy="276999"/>
          </a:xfrm>
          <a:prstGeom prst="rect">
            <a:avLst/>
          </a:prstGeom>
          <a:solidFill>
            <a:schemeClr val="lt1"/>
          </a:solid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B9FF"/>
                </a:solidFill>
                <a:latin typeface="Franklin Gothic"/>
                <a:ea typeface="Franklin Gothic"/>
                <a:cs typeface="Franklin Gothic"/>
                <a:sym typeface="Franklin Gothic"/>
              </a:rPr>
              <a:t>Functionalities</a:t>
            </a:r>
            <a:endParaRPr sz="1100" b="0" i="0" u="none" strike="noStrike" cap="none">
              <a:solidFill>
                <a:srgbClr val="000000"/>
              </a:solidFill>
              <a:latin typeface="Franklin Gothic"/>
              <a:ea typeface="Franklin Gothic"/>
              <a:cs typeface="Franklin Gothic"/>
              <a:sym typeface="Franklin Gothic"/>
            </a:endParaRPr>
          </a:p>
        </p:txBody>
      </p:sp>
      <p:sp>
        <p:nvSpPr>
          <p:cNvPr id="1516" name="Google Shape;1516;p2"/>
          <p:cNvSpPr txBox="1"/>
          <p:nvPr/>
        </p:nvSpPr>
        <p:spPr>
          <a:xfrm>
            <a:off x="8090499" y="993008"/>
            <a:ext cx="2055050" cy="2769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F47F2"/>
                </a:solidFill>
                <a:latin typeface="Franklin Gothic"/>
                <a:ea typeface="Franklin Gothic"/>
                <a:cs typeface="Franklin Gothic"/>
                <a:sym typeface="Franklin Gothic"/>
              </a:rPr>
              <a:t>Use cases examples</a:t>
            </a:r>
            <a:endParaRPr sz="1100" b="0" i="0" u="none" strike="noStrike" cap="none">
              <a:solidFill>
                <a:srgbClr val="000000"/>
              </a:solidFill>
              <a:latin typeface="Franklin Gothic"/>
              <a:ea typeface="Franklin Gothic"/>
              <a:cs typeface="Franklin Gothic"/>
              <a:sym typeface="Franklin Gothic"/>
            </a:endParaRPr>
          </a:p>
        </p:txBody>
      </p:sp>
      <p:sp>
        <p:nvSpPr>
          <p:cNvPr id="1517" name="Google Shape;1517;p2"/>
          <p:cNvSpPr txBox="1"/>
          <p:nvPr/>
        </p:nvSpPr>
        <p:spPr>
          <a:xfrm>
            <a:off x="531813" y="993008"/>
            <a:ext cx="963405" cy="276999"/>
          </a:xfrm>
          <a:prstGeom prst="rect">
            <a:avLst/>
          </a:prstGeom>
          <a:solidFill>
            <a:schemeClr val="lt1"/>
          </a:solid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B9FF"/>
                </a:solidFill>
                <a:latin typeface="Franklin Gothic"/>
                <a:ea typeface="Franklin Gothic"/>
                <a:cs typeface="Franklin Gothic"/>
                <a:sym typeface="Franklin Gothic"/>
              </a:rPr>
              <a:t>Database</a:t>
            </a:r>
            <a:endParaRPr sz="1100" b="0" i="0" u="none" strike="noStrike" cap="none">
              <a:solidFill>
                <a:srgbClr val="000000"/>
              </a:solidFill>
              <a:latin typeface="Franklin Gothic"/>
              <a:ea typeface="Franklin Gothic"/>
              <a:cs typeface="Franklin Gothic"/>
              <a:sym typeface="Franklin Gothic"/>
            </a:endParaRPr>
          </a:p>
        </p:txBody>
      </p:sp>
      <p:sp>
        <p:nvSpPr>
          <p:cNvPr id="1518" name="Google Shape;1518;p2"/>
          <p:cNvSpPr txBox="1"/>
          <p:nvPr/>
        </p:nvSpPr>
        <p:spPr>
          <a:xfrm>
            <a:off x="2932662" y="2829596"/>
            <a:ext cx="4727416" cy="775597"/>
          </a:xfrm>
          <a:prstGeom prst="rect">
            <a:avLst/>
          </a:prstGeom>
          <a:noFill/>
          <a:ln>
            <a:noFill/>
          </a:ln>
        </p:spPr>
        <p:txBody>
          <a:bodyPr spcFirstLastPara="1" wrap="square" lIns="0" tIns="0" rIns="0" bIns="0" anchor="t" anchorCtr="0">
            <a:spAutoFit/>
          </a:bodyPr>
          <a:lstStyle/>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Qualitative and quantitative information on public and private companies</a:t>
            </a:r>
            <a:endParaRPr sz="1400" b="0" i="0" u="none" strike="noStrike" cap="none">
              <a:solidFill>
                <a:srgbClr val="000000"/>
              </a:solidFill>
              <a:latin typeface="Arial"/>
              <a:ea typeface="Arial"/>
              <a:cs typeface="Arial"/>
              <a:sym typeface="Arial"/>
            </a:endParaRPr>
          </a:p>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Generating a list of companies based on criteria (eg: location, industry, size)</a:t>
            </a:r>
            <a:endParaRPr sz="1400" b="0" i="0" u="none" strike="noStrike" cap="none">
              <a:solidFill>
                <a:srgbClr val="000000"/>
              </a:solidFill>
              <a:latin typeface="Arial"/>
              <a:ea typeface="Arial"/>
              <a:cs typeface="Arial"/>
              <a:sym typeface="Arial"/>
            </a:endParaRPr>
          </a:p>
        </p:txBody>
      </p:sp>
      <p:sp>
        <p:nvSpPr>
          <p:cNvPr id="1519" name="Google Shape;1519;p2"/>
          <p:cNvSpPr txBox="1"/>
          <p:nvPr/>
        </p:nvSpPr>
        <p:spPr>
          <a:xfrm>
            <a:off x="2932662" y="3719667"/>
            <a:ext cx="4727416" cy="775597"/>
          </a:xfrm>
          <a:prstGeom prst="rect">
            <a:avLst/>
          </a:prstGeom>
          <a:noFill/>
          <a:ln>
            <a:noFill/>
          </a:ln>
        </p:spPr>
        <p:txBody>
          <a:bodyPr spcFirstLastPara="1" wrap="square" lIns="0" tIns="0" rIns="0" bIns="0" anchor="t" anchorCtr="0">
            <a:spAutoFit/>
          </a:bodyPr>
          <a:lstStyle/>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Press search based on advanced and proprietary Boolean operators</a:t>
            </a:r>
            <a:endParaRPr sz="1400" b="0" i="0" u="none" strike="noStrike" cap="none">
              <a:solidFill>
                <a:srgbClr val="000000"/>
              </a:solidFill>
              <a:latin typeface="Arial"/>
              <a:ea typeface="Arial"/>
              <a:cs typeface="Arial"/>
              <a:sym typeface="Arial"/>
            </a:endParaRPr>
          </a:p>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News alerts on companies/ industries</a:t>
            </a:r>
            <a:endParaRPr sz="1400" b="0" i="0" u="none" strike="noStrike" cap="none">
              <a:solidFill>
                <a:srgbClr val="000000"/>
              </a:solidFill>
              <a:latin typeface="Arial"/>
              <a:ea typeface="Arial"/>
              <a:cs typeface="Arial"/>
              <a:sym typeface="Arial"/>
            </a:endParaRPr>
          </a:p>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Access to premium and sectorial press sources (eg: FT)</a:t>
            </a:r>
            <a:endParaRPr sz="1400" b="0" i="0" u="none" strike="noStrike" cap="none">
              <a:solidFill>
                <a:srgbClr val="000000"/>
              </a:solidFill>
              <a:latin typeface="Arial"/>
              <a:ea typeface="Arial"/>
              <a:cs typeface="Arial"/>
              <a:sym typeface="Arial"/>
            </a:endParaRPr>
          </a:p>
        </p:txBody>
      </p:sp>
      <p:sp>
        <p:nvSpPr>
          <p:cNvPr id="1520" name="Google Shape;1520;p2"/>
          <p:cNvSpPr txBox="1"/>
          <p:nvPr/>
        </p:nvSpPr>
        <p:spPr>
          <a:xfrm>
            <a:off x="2932662" y="4609738"/>
            <a:ext cx="4727416" cy="193899"/>
          </a:xfrm>
          <a:prstGeom prst="rect">
            <a:avLst/>
          </a:prstGeom>
          <a:noFill/>
          <a:ln>
            <a:noFill/>
          </a:ln>
        </p:spPr>
        <p:txBody>
          <a:bodyPr spcFirstLastPara="1" wrap="square" lIns="0" tIns="0" rIns="0" bIns="0" anchor="t" anchorCtr="0">
            <a:spAutoFit/>
          </a:bodyPr>
          <a:lstStyle/>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333333"/>
                </a:solidFill>
                <a:latin typeface="Calibri"/>
                <a:ea typeface="Calibri"/>
                <a:cs typeface="Calibri"/>
                <a:sym typeface="Calibri"/>
              </a:rPr>
              <a:t>Social listening</a:t>
            </a:r>
            <a:endParaRPr sz="1400" b="0" i="0" u="none" strike="noStrike" cap="none">
              <a:solidFill>
                <a:srgbClr val="333333"/>
              </a:solidFill>
              <a:latin typeface="Calibri"/>
              <a:ea typeface="Calibri"/>
              <a:cs typeface="Calibri"/>
              <a:sym typeface="Calibri"/>
            </a:endParaRPr>
          </a:p>
        </p:txBody>
      </p:sp>
      <p:sp>
        <p:nvSpPr>
          <p:cNvPr id="1521" name="Google Shape;1521;p2"/>
          <p:cNvSpPr txBox="1"/>
          <p:nvPr/>
        </p:nvSpPr>
        <p:spPr>
          <a:xfrm>
            <a:off x="2932662" y="1357827"/>
            <a:ext cx="4727416" cy="1357295"/>
          </a:xfrm>
          <a:prstGeom prst="rect">
            <a:avLst/>
          </a:prstGeom>
          <a:noFill/>
          <a:ln>
            <a:noFill/>
          </a:ln>
        </p:spPr>
        <p:txBody>
          <a:bodyPr spcFirstLastPara="1" wrap="square" lIns="0" tIns="0" rIns="0" bIns="0" anchor="t" anchorCtr="0">
            <a:spAutoFit/>
          </a:bodyPr>
          <a:lstStyle/>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Qualitative and quantitative information on public and private companies</a:t>
            </a:r>
            <a:endParaRPr sz="1400" b="0" i="0" u="none" strike="noStrike" cap="none">
              <a:solidFill>
                <a:srgbClr val="000000"/>
              </a:solidFill>
              <a:latin typeface="Arial"/>
              <a:ea typeface="Arial"/>
              <a:cs typeface="Arial"/>
              <a:sym typeface="Arial"/>
            </a:endParaRPr>
          </a:p>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Generating a list of companies based on criteria (eg: location, industry, size)</a:t>
            </a:r>
            <a:endParaRPr sz="1400" b="0" i="0" u="none" strike="noStrike" cap="none">
              <a:solidFill>
                <a:srgbClr val="000000"/>
              </a:solidFill>
              <a:latin typeface="Arial"/>
              <a:ea typeface="Arial"/>
              <a:cs typeface="Arial"/>
              <a:sym typeface="Arial"/>
            </a:endParaRPr>
          </a:p>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Generating a list of transactions (M&amp;A or other forms) based on the same criteria</a:t>
            </a:r>
            <a:endParaRPr sz="1400" b="0" i="0" u="none" strike="noStrike" cap="none">
              <a:solidFill>
                <a:srgbClr val="000000"/>
              </a:solidFill>
              <a:latin typeface="Arial"/>
              <a:ea typeface="Arial"/>
              <a:cs typeface="Arial"/>
              <a:sym typeface="Arial"/>
            </a:endParaRPr>
          </a:p>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Creating advanced excel models using proprietary formulas</a:t>
            </a:r>
            <a:endParaRPr sz="1400" b="0" i="0" u="none" strike="noStrike" cap="none">
              <a:solidFill>
                <a:srgbClr val="000000"/>
              </a:solidFill>
              <a:latin typeface="Arial"/>
              <a:ea typeface="Arial"/>
              <a:cs typeface="Arial"/>
              <a:sym typeface="Arial"/>
            </a:endParaRPr>
          </a:p>
        </p:txBody>
      </p:sp>
      <p:cxnSp>
        <p:nvCxnSpPr>
          <p:cNvPr id="1522" name="Google Shape;1522;p2"/>
          <p:cNvCxnSpPr/>
          <p:nvPr/>
        </p:nvCxnSpPr>
        <p:spPr>
          <a:xfrm>
            <a:off x="550863" y="1300590"/>
            <a:ext cx="11107737" cy="0"/>
          </a:xfrm>
          <a:prstGeom prst="straightConnector1">
            <a:avLst/>
          </a:prstGeom>
          <a:noFill/>
          <a:ln w="9525" cap="flat" cmpd="sng">
            <a:solidFill>
              <a:schemeClr val="accent1"/>
            </a:solidFill>
            <a:prstDash val="solid"/>
            <a:miter lim="800000"/>
            <a:headEnd type="none" w="sm" len="sm"/>
            <a:tailEnd type="none" w="sm" len="sm"/>
          </a:ln>
        </p:spPr>
      </p:cxnSp>
      <p:cxnSp>
        <p:nvCxnSpPr>
          <p:cNvPr id="1523" name="Google Shape;1523;p2"/>
          <p:cNvCxnSpPr/>
          <p:nvPr/>
        </p:nvCxnSpPr>
        <p:spPr>
          <a:xfrm>
            <a:off x="550842" y="6308718"/>
            <a:ext cx="11107800" cy="0"/>
          </a:xfrm>
          <a:prstGeom prst="straightConnector1">
            <a:avLst/>
          </a:prstGeom>
          <a:noFill/>
          <a:ln w="9525" cap="flat" cmpd="sng">
            <a:solidFill>
              <a:schemeClr val="accent1"/>
            </a:solidFill>
            <a:prstDash val="solid"/>
            <a:miter lim="800000"/>
            <a:headEnd type="none" w="sm" len="sm"/>
            <a:tailEnd type="none" w="sm" len="sm"/>
          </a:ln>
        </p:spPr>
      </p:cxnSp>
      <p:cxnSp>
        <p:nvCxnSpPr>
          <p:cNvPr id="1524" name="Google Shape;1524;p2"/>
          <p:cNvCxnSpPr/>
          <p:nvPr/>
        </p:nvCxnSpPr>
        <p:spPr>
          <a:xfrm>
            <a:off x="539401" y="2772359"/>
            <a:ext cx="11119200" cy="0"/>
          </a:xfrm>
          <a:prstGeom prst="straightConnector1">
            <a:avLst/>
          </a:prstGeom>
          <a:noFill/>
          <a:ln w="9525" cap="flat" cmpd="sng">
            <a:solidFill>
              <a:srgbClr val="BFBFBF"/>
            </a:solidFill>
            <a:prstDash val="dash"/>
            <a:miter lim="800000"/>
            <a:headEnd type="none" w="sm" len="sm"/>
            <a:tailEnd type="none" w="sm" len="sm"/>
          </a:ln>
        </p:spPr>
      </p:cxnSp>
      <p:cxnSp>
        <p:nvCxnSpPr>
          <p:cNvPr id="1525" name="Google Shape;1525;p2"/>
          <p:cNvCxnSpPr/>
          <p:nvPr/>
        </p:nvCxnSpPr>
        <p:spPr>
          <a:xfrm>
            <a:off x="539401" y="3662430"/>
            <a:ext cx="11119200" cy="0"/>
          </a:xfrm>
          <a:prstGeom prst="straightConnector1">
            <a:avLst/>
          </a:prstGeom>
          <a:noFill/>
          <a:ln w="9525" cap="flat" cmpd="sng">
            <a:solidFill>
              <a:srgbClr val="BFBFBF"/>
            </a:solidFill>
            <a:prstDash val="dash"/>
            <a:miter lim="800000"/>
            <a:headEnd type="none" w="sm" len="sm"/>
            <a:tailEnd type="none" w="sm" len="sm"/>
          </a:ln>
        </p:spPr>
      </p:cxnSp>
      <p:cxnSp>
        <p:nvCxnSpPr>
          <p:cNvPr id="1526" name="Google Shape;1526;p2"/>
          <p:cNvCxnSpPr/>
          <p:nvPr/>
        </p:nvCxnSpPr>
        <p:spPr>
          <a:xfrm>
            <a:off x="539401" y="4552501"/>
            <a:ext cx="11119200" cy="0"/>
          </a:xfrm>
          <a:prstGeom prst="straightConnector1">
            <a:avLst/>
          </a:prstGeom>
          <a:noFill/>
          <a:ln w="9525" cap="flat" cmpd="sng">
            <a:solidFill>
              <a:srgbClr val="BFBFBF"/>
            </a:solidFill>
            <a:prstDash val="dash"/>
            <a:miter lim="800000"/>
            <a:headEnd type="none" w="sm" len="sm"/>
            <a:tailEnd type="none" w="sm" len="sm"/>
          </a:ln>
        </p:spPr>
      </p:cxnSp>
      <p:sp>
        <p:nvSpPr>
          <p:cNvPr id="1527" name="Google Shape;1527;p2"/>
          <p:cNvSpPr txBox="1"/>
          <p:nvPr/>
        </p:nvSpPr>
        <p:spPr>
          <a:xfrm>
            <a:off x="8090499" y="2829596"/>
            <a:ext cx="3550638" cy="581698"/>
          </a:xfrm>
          <a:prstGeom prst="rect">
            <a:avLst/>
          </a:prstGeom>
          <a:noFill/>
          <a:ln>
            <a:noFill/>
          </a:ln>
        </p:spPr>
        <p:txBody>
          <a:bodyPr spcFirstLastPara="1" wrap="square" lIns="0" tIns="0" rIns="0" bIns="0" anchor="t" anchorCtr="0">
            <a:spAutoFit/>
          </a:bodyPr>
          <a:lstStyle/>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Top XX companies in YY industry</a:t>
            </a:r>
            <a:endParaRPr sz="1400" b="0" i="0" u="none" strike="noStrike" cap="none">
              <a:solidFill>
                <a:srgbClr val="000000"/>
              </a:solidFill>
              <a:latin typeface="Arial"/>
              <a:ea typeface="Arial"/>
              <a:cs typeface="Arial"/>
              <a:sym typeface="Arial"/>
            </a:endParaRPr>
          </a:p>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Financial ratios for a list of companies</a:t>
            </a:r>
            <a:endParaRPr sz="1400" b="0" i="0" u="none" strike="noStrike" cap="none">
              <a:solidFill>
                <a:srgbClr val="000000"/>
              </a:solidFill>
              <a:latin typeface="Arial"/>
              <a:ea typeface="Arial"/>
              <a:cs typeface="Arial"/>
              <a:sym typeface="Arial"/>
            </a:endParaRPr>
          </a:p>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Batch search for 100+ companies</a:t>
            </a:r>
            <a:endParaRPr sz="1400" b="0" i="0" u="none" strike="noStrike" cap="none">
              <a:solidFill>
                <a:srgbClr val="000000"/>
              </a:solidFill>
              <a:latin typeface="Arial"/>
              <a:ea typeface="Arial"/>
              <a:cs typeface="Arial"/>
              <a:sym typeface="Arial"/>
            </a:endParaRPr>
          </a:p>
        </p:txBody>
      </p:sp>
      <p:sp>
        <p:nvSpPr>
          <p:cNvPr id="1528" name="Google Shape;1528;p2"/>
          <p:cNvSpPr txBox="1"/>
          <p:nvPr/>
        </p:nvSpPr>
        <p:spPr>
          <a:xfrm>
            <a:off x="8090499" y="3719667"/>
            <a:ext cx="3550638" cy="775597"/>
          </a:xfrm>
          <a:prstGeom prst="rect">
            <a:avLst/>
          </a:prstGeom>
          <a:noFill/>
          <a:ln>
            <a:noFill/>
          </a:ln>
        </p:spPr>
        <p:txBody>
          <a:bodyPr spcFirstLastPara="1" wrap="square" lIns="0" tIns="0" rIns="0" bIns="0" anchor="t" anchorCtr="0">
            <a:spAutoFit/>
          </a:bodyPr>
          <a:lstStyle/>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Weekly newsletter on XX industry</a:t>
            </a:r>
            <a:endParaRPr sz="1400" b="0" i="0" u="none" strike="noStrike" cap="none">
              <a:solidFill>
                <a:srgbClr val="000000"/>
              </a:solidFill>
              <a:latin typeface="Arial"/>
              <a:ea typeface="Arial"/>
              <a:cs typeface="Arial"/>
              <a:sym typeface="Arial"/>
            </a:endParaRPr>
          </a:p>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Key developments of a company in the past xx years</a:t>
            </a:r>
            <a:endParaRPr sz="1400" b="0" i="0" u="none" strike="noStrike" cap="none">
              <a:solidFill>
                <a:srgbClr val="000000"/>
              </a:solidFill>
              <a:latin typeface="Arial"/>
              <a:ea typeface="Arial"/>
              <a:cs typeface="Arial"/>
              <a:sym typeface="Arial"/>
            </a:endParaRPr>
          </a:p>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Market trends and analysis</a:t>
            </a:r>
            <a:endParaRPr sz="1400" b="0" i="0" u="none" strike="noStrike" cap="none">
              <a:solidFill>
                <a:srgbClr val="000000"/>
              </a:solidFill>
              <a:latin typeface="Arial"/>
              <a:ea typeface="Arial"/>
              <a:cs typeface="Arial"/>
              <a:sym typeface="Arial"/>
            </a:endParaRPr>
          </a:p>
        </p:txBody>
      </p:sp>
      <p:sp>
        <p:nvSpPr>
          <p:cNvPr id="1529" name="Google Shape;1529;p2"/>
          <p:cNvSpPr txBox="1"/>
          <p:nvPr/>
        </p:nvSpPr>
        <p:spPr>
          <a:xfrm>
            <a:off x="8090499" y="4609738"/>
            <a:ext cx="3550638" cy="193899"/>
          </a:xfrm>
          <a:prstGeom prst="rect">
            <a:avLst/>
          </a:prstGeom>
          <a:noFill/>
          <a:ln>
            <a:noFill/>
          </a:ln>
        </p:spPr>
        <p:txBody>
          <a:bodyPr spcFirstLastPara="1" wrap="square" lIns="0" tIns="0" rIns="0" bIns="0" anchor="t" anchorCtr="0">
            <a:spAutoFit/>
          </a:bodyPr>
          <a:lstStyle/>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Evaluating brands</a:t>
            </a:r>
            <a:endParaRPr sz="1400" b="0" i="0" u="none" strike="noStrike" cap="none">
              <a:solidFill>
                <a:srgbClr val="000000"/>
              </a:solidFill>
              <a:latin typeface="Arial"/>
              <a:ea typeface="Arial"/>
              <a:cs typeface="Arial"/>
              <a:sym typeface="Arial"/>
            </a:endParaRPr>
          </a:p>
        </p:txBody>
      </p:sp>
      <p:sp>
        <p:nvSpPr>
          <p:cNvPr id="1530" name="Google Shape;1530;p2"/>
          <p:cNvSpPr txBox="1"/>
          <p:nvPr/>
        </p:nvSpPr>
        <p:spPr>
          <a:xfrm>
            <a:off x="8090499" y="1357827"/>
            <a:ext cx="3550638" cy="1357295"/>
          </a:xfrm>
          <a:prstGeom prst="rect">
            <a:avLst/>
          </a:prstGeom>
          <a:noFill/>
          <a:ln>
            <a:noFill/>
          </a:ln>
        </p:spPr>
        <p:txBody>
          <a:bodyPr spcFirstLastPara="1" wrap="square" lIns="0" tIns="0" rIns="0" bIns="0" anchor="t" anchorCtr="0">
            <a:spAutoFit/>
          </a:bodyPr>
          <a:lstStyle/>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Top XX companies in YY industry</a:t>
            </a:r>
            <a:endParaRPr sz="1400" b="0" i="0" u="none" strike="noStrike" cap="none">
              <a:solidFill>
                <a:srgbClr val="000000"/>
              </a:solidFill>
              <a:latin typeface="Arial"/>
              <a:ea typeface="Arial"/>
              <a:cs typeface="Arial"/>
              <a:sym typeface="Arial"/>
            </a:endParaRPr>
          </a:p>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List of IPOs in a specific timeframe and industry</a:t>
            </a:r>
            <a:endParaRPr sz="1400" b="0" i="0" u="none" strike="noStrike" cap="none">
              <a:solidFill>
                <a:srgbClr val="000000"/>
              </a:solidFill>
              <a:latin typeface="Arial"/>
              <a:ea typeface="Arial"/>
              <a:cs typeface="Arial"/>
              <a:sym typeface="Arial"/>
            </a:endParaRPr>
          </a:p>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High level company profile of 10 players</a:t>
            </a:r>
            <a:endParaRPr sz="1400" b="0" i="0" u="none" strike="noStrike" cap="none">
              <a:solidFill>
                <a:srgbClr val="000000"/>
              </a:solidFill>
              <a:latin typeface="Arial"/>
              <a:ea typeface="Arial"/>
              <a:cs typeface="Arial"/>
              <a:sym typeface="Arial"/>
            </a:endParaRPr>
          </a:p>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CEOs change in S&amp;P 500 companies in the last xx years</a:t>
            </a:r>
            <a:endParaRPr sz="1400" b="0" i="0" u="none" strike="noStrike" cap="none">
              <a:solidFill>
                <a:srgbClr val="000000"/>
              </a:solidFill>
              <a:latin typeface="Arial"/>
              <a:ea typeface="Arial"/>
              <a:cs typeface="Arial"/>
              <a:sym typeface="Arial"/>
            </a:endParaRPr>
          </a:p>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TSR and stock data for a list of companies</a:t>
            </a:r>
            <a:endParaRPr sz="1400" b="0" i="0" u="none" strike="noStrike" cap="none">
              <a:solidFill>
                <a:srgbClr val="000000"/>
              </a:solidFill>
              <a:latin typeface="Arial"/>
              <a:ea typeface="Arial"/>
              <a:cs typeface="Arial"/>
              <a:sym typeface="Arial"/>
            </a:endParaRPr>
          </a:p>
        </p:txBody>
      </p:sp>
      <p:cxnSp>
        <p:nvCxnSpPr>
          <p:cNvPr id="1531" name="Google Shape;1531;p2"/>
          <p:cNvCxnSpPr/>
          <p:nvPr/>
        </p:nvCxnSpPr>
        <p:spPr>
          <a:xfrm>
            <a:off x="539401" y="4860874"/>
            <a:ext cx="11119200" cy="0"/>
          </a:xfrm>
          <a:prstGeom prst="straightConnector1">
            <a:avLst/>
          </a:prstGeom>
          <a:noFill/>
          <a:ln w="9525" cap="flat" cmpd="sng">
            <a:solidFill>
              <a:srgbClr val="BFBFBF"/>
            </a:solidFill>
            <a:prstDash val="dash"/>
            <a:miter lim="800000"/>
            <a:headEnd type="none" w="sm" len="sm"/>
            <a:tailEnd type="none" w="sm" len="sm"/>
          </a:ln>
        </p:spPr>
      </p:cxnSp>
      <p:sp>
        <p:nvSpPr>
          <p:cNvPr id="1532" name="Google Shape;1532;p2"/>
          <p:cNvSpPr txBox="1"/>
          <p:nvPr/>
        </p:nvSpPr>
        <p:spPr>
          <a:xfrm>
            <a:off x="2932662" y="4918111"/>
            <a:ext cx="4727416" cy="775597"/>
          </a:xfrm>
          <a:prstGeom prst="rect">
            <a:avLst/>
          </a:prstGeom>
          <a:noFill/>
          <a:ln>
            <a:noFill/>
          </a:ln>
        </p:spPr>
        <p:txBody>
          <a:bodyPr spcFirstLastPara="1" wrap="square" lIns="0" tIns="0" rIns="0" bIns="0" anchor="t" anchorCtr="0">
            <a:spAutoFit/>
          </a:bodyPr>
          <a:lstStyle/>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Market data and prices</a:t>
            </a:r>
            <a:endParaRPr sz="1400" b="0" i="0" u="none" strike="noStrike" cap="none">
              <a:solidFill>
                <a:srgbClr val="000000"/>
              </a:solidFill>
              <a:latin typeface="Arial"/>
              <a:ea typeface="Arial"/>
              <a:cs typeface="Arial"/>
              <a:sym typeface="Arial"/>
            </a:endParaRPr>
          </a:p>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Company data (including investment research)</a:t>
            </a:r>
            <a:endParaRPr sz="1400" b="0" i="0" u="none" strike="noStrike" cap="none">
              <a:solidFill>
                <a:srgbClr val="000000"/>
              </a:solidFill>
              <a:latin typeface="Arial"/>
              <a:ea typeface="Arial"/>
              <a:cs typeface="Arial"/>
              <a:sym typeface="Arial"/>
            </a:endParaRPr>
          </a:p>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M&amp;A transactions</a:t>
            </a:r>
            <a:endParaRPr sz="1400" b="0" i="0" u="none" strike="noStrike" cap="none">
              <a:solidFill>
                <a:srgbClr val="000000"/>
              </a:solidFill>
              <a:latin typeface="Arial"/>
              <a:ea typeface="Arial"/>
              <a:cs typeface="Arial"/>
              <a:sym typeface="Arial"/>
            </a:endParaRPr>
          </a:p>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Projects data in MEA region</a:t>
            </a:r>
            <a:endParaRPr sz="1400" b="0" i="0" u="none" strike="noStrike" cap="none">
              <a:solidFill>
                <a:srgbClr val="000000"/>
              </a:solidFill>
              <a:latin typeface="Arial"/>
              <a:ea typeface="Arial"/>
              <a:cs typeface="Arial"/>
              <a:sym typeface="Arial"/>
            </a:endParaRPr>
          </a:p>
        </p:txBody>
      </p:sp>
      <p:sp>
        <p:nvSpPr>
          <p:cNvPr id="1533" name="Google Shape;1533;p2"/>
          <p:cNvSpPr txBox="1"/>
          <p:nvPr/>
        </p:nvSpPr>
        <p:spPr>
          <a:xfrm>
            <a:off x="8090499" y="4918111"/>
            <a:ext cx="3550638" cy="581698"/>
          </a:xfrm>
          <a:prstGeom prst="rect">
            <a:avLst/>
          </a:prstGeom>
          <a:noFill/>
          <a:ln>
            <a:noFill/>
          </a:ln>
        </p:spPr>
        <p:txBody>
          <a:bodyPr spcFirstLastPara="1" wrap="square" lIns="0" tIns="0" rIns="0" bIns="0" anchor="t" anchorCtr="0">
            <a:spAutoFit/>
          </a:bodyPr>
          <a:lstStyle/>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List of projects in specific industries with their projects value</a:t>
            </a:r>
            <a:endParaRPr sz="1400" b="0" i="0" u="none" strike="noStrike" cap="none">
              <a:solidFill>
                <a:srgbClr val="000000"/>
              </a:solidFill>
              <a:latin typeface="Arial"/>
              <a:ea typeface="Arial"/>
              <a:cs typeface="Arial"/>
              <a:sym typeface="Arial"/>
            </a:endParaRPr>
          </a:p>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Analyst reports on public companies</a:t>
            </a:r>
            <a:endParaRPr sz="1400" b="0" i="0" u="none" strike="noStrike" cap="none">
              <a:solidFill>
                <a:srgbClr val="000000"/>
              </a:solidFill>
              <a:latin typeface="Arial"/>
              <a:ea typeface="Arial"/>
              <a:cs typeface="Arial"/>
              <a:sym typeface="Arial"/>
            </a:endParaRPr>
          </a:p>
        </p:txBody>
      </p:sp>
      <p:cxnSp>
        <p:nvCxnSpPr>
          <p:cNvPr id="1534" name="Google Shape;1534;p2"/>
          <p:cNvCxnSpPr/>
          <p:nvPr/>
        </p:nvCxnSpPr>
        <p:spPr>
          <a:xfrm>
            <a:off x="582527" y="5735694"/>
            <a:ext cx="11119200" cy="0"/>
          </a:xfrm>
          <a:prstGeom prst="straightConnector1">
            <a:avLst/>
          </a:prstGeom>
          <a:noFill/>
          <a:ln w="9525" cap="flat" cmpd="sng">
            <a:solidFill>
              <a:srgbClr val="BFBFBF"/>
            </a:solidFill>
            <a:prstDash val="dash"/>
            <a:miter lim="800000"/>
            <a:headEnd type="none" w="sm" len="sm"/>
            <a:tailEnd type="none" w="sm" len="sm"/>
          </a:ln>
        </p:spPr>
      </p:cxnSp>
      <p:pic>
        <p:nvPicPr>
          <p:cNvPr id="1535" name="Google Shape;1535;p2"/>
          <p:cNvPicPr preferRelativeResize="0"/>
          <p:nvPr/>
        </p:nvPicPr>
        <p:blipFill rotWithShape="1">
          <a:blip r:embed="rId8">
            <a:alphaModFix/>
          </a:blip>
          <a:srcRect/>
          <a:stretch/>
        </p:blipFill>
        <p:spPr>
          <a:xfrm>
            <a:off x="481295" y="5845340"/>
            <a:ext cx="1844590" cy="381114"/>
          </a:xfrm>
          <a:prstGeom prst="rect">
            <a:avLst/>
          </a:prstGeom>
          <a:noFill/>
          <a:ln>
            <a:noFill/>
          </a:ln>
        </p:spPr>
      </p:pic>
      <p:sp>
        <p:nvSpPr>
          <p:cNvPr id="1536" name="Google Shape;1536;p2"/>
          <p:cNvSpPr txBox="1"/>
          <p:nvPr/>
        </p:nvSpPr>
        <p:spPr>
          <a:xfrm>
            <a:off x="2913310" y="5777681"/>
            <a:ext cx="4727416" cy="193899"/>
          </a:xfrm>
          <a:prstGeom prst="rect">
            <a:avLst/>
          </a:prstGeom>
          <a:noFill/>
          <a:ln>
            <a:noFill/>
          </a:ln>
        </p:spPr>
        <p:txBody>
          <a:bodyPr spcFirstLastPara="1" wrap="square" lIns="0" tIns="0" rIns="0" bIns="0" anchor="t" anchorCtr="0">
            <a:spAutoFit/>
          </a:bodyPr>
          <a:lstStyle/>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Market and consumer data on 80 000 topics</a:t>
            </a:r>
            <a:endParaRPr sz="1400" b="0" i="0" u="none" strike="noStrike" cap="none">
              <a:solidFill>
                <a:srgbClr val="444444"/>
              </a:solidFill>
              <a:latin typeface="Calibri"/>
              <a:ea typeface="Calibri"/>
              <a:cs typeface="Calibri"/>
              <a:sym typeface="Calibri"/>
            </a:endParaRPr>
          </a:p>
        </p:txBody>
      </p:sp>
      <p:sp>
        <p:nvSpPr>
          <p:cNvPr id="1537" name="Google Shape;1537;p2"/>
          <p:cNvSpPr txBox="1"/>
          <p:nvPr/>
        </p:nvSpPr>
        <p:spPr>
          <a:xfrm>
            <a:off x="8071147" y="5777681"/>
            <a:ext cx="3550638" cy="387798"/>
          </a:xfrm>
          <a:prstGeom prst="rect">
            <a:avLst/>
          </a:prstGeom>
          <a:noFill/>
          <a:ln>
            <a:noFill/>
          </a:ln>
        </p:spPr>
        <p:txBody>
          <a:bodyPr spcFirstLastPara="1" wrap="square" lIns="0" tIns="0" rIns="0" bIns="0" anchor="t" anchorCtr="0">
            <a:spAutoFit/>
          </a:bodyPr>
          <a:lstStyle/>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Consumer trends</a:t>
            </a:r>
            <a:endParaRPr sz="1400" b="0" i="0" u="none" strike="noStrike" cap="none">
              <a:solidFill>
                <a:srgbClr val="000000"/>
              </a:solidFill>
              <a:latin typeface="Arial"/>
              <a:ea typeface="Arial"/>
              <a:cs typeface="Arial"/>
              <a:sym typeface="Arial"/>
            </a:endParaRPr>
          </a:p>
          <a:p>
            <a:pPr marL="182880" marR="0" lvl="1" indent="-182880" algn="l" rtl="0">
              <a:lnSpc>
                <a:spcPct val="90000"/>
              </a:lnSpc>
              <a:spcBef>
                <a:spcPts val="0"/>
              </a:spcBef>
              <a:spcAft>
                <a:spcPts val="0"/>
              </a:spcAft>
              <a:buClr>
                <a:srgbClr val="0F47F2"/>
              </a:buClr>
              <a:buSzPts val="1260"/>
              <a:buFont typeface="Noto Sans Symbols"/>
              <a:buChar char="▪"/>
            </a:pPr>
            <a:r>
              <a:rPr lang="en-US" sz="1400" b="0" i="0" u="none" strike="noStrike" cap="none">
                <a:solidFill>
                  <a:srgbClr val="444444"/>
                </a:solidFill>
                <a:latin typeface="Calibri"/>
                <a:ea typeface="Calibri"/>
                <a:cs typeface="Calibri"/>
                <a:sym typeface="Calibri"/>
              </a:rPr>
              <a:t>Market drivers</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541"/>
        <p:cNvGrpSpPr/>
        <p:nvPr/>
      </p:nvGrpSpPr>
      <p:grpSpPr>
        <a:xfrm>
          <a:off x="0" y="0"/>
          <a:ext cx="0" cy="0"/>
          <a:chOff x="0" y="0"/>
          <a:chExt cx="0" cy="0"/>
        </a:xfrm>
      </p:grpSpPr>
      <p:sp>
        <p:nvSpPr>
          <p:cNvPr id="1542" name="Google Shape;1542;p11"/>
          <p:cNvSpPr/>
          <p:nvPr/>
        </p:nvSpPr>
        <p:spPr>
          <a:xfrm>
            <a:off x="8534400" y="1317170"/>
            <a:ext cx="3309257" cy="5540829"/>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43" name="Google Shape;1543;p11"/>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Examples of Requests - Research</a:t>
            </a:r>
            <a:endParaRPr/>
          </a:p>
        </p:txBody>
      </p:sp>
      <p:sp>
        <p:nvSpPr>
          <p:cNvPr id="1544" name="Google Shape;1544;p11"/>
          <p:cNvSpPr/>
          <p:nvPr/>
        </p:nvSpPr>
        <p:spPr>
          <a:xfrm>
            <a:off x="1406376" y="2291462"/>
            <a:ext cx="761940" cy="276999"/>
          </a:xfrm>
          <a:prstGeom prst="rect">
            <a:avLst/>
          </a:prstGeom>
          <a:solidFill>
            <a:schemeClr val="lt1"/>
          </a:solid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chemeClr val="accent1"/>
                </a:solidFill>
                <a:latin typeface="Calibri"/>
                <a:ea typeface="Calibri"/>
                <a:cs typeface="Calibri"/>
                <a:sym typeface="Calibri"/>
              </a:rPr>
              <a:t>Country</a:t>
            </a:r>
            <a:endParaRPr sz="1400" b="0" i="0" u="none" strike="noStrike" cap="none">
              <a:solidFill>
                <a:srgbClr val="000000"/>
              </a:solidFill>
              <a:latin typeface="Arial"/>
              <a:ea typeface="Arial"/>
              <a:cs typeface="Arial"/>
              <a:sym typeface="Arial"/>
            </a:endParaRPr>
          </a:p>
        </p:txBody>
      </p:sp>
      <p:sp>
        <p:nvSpPr>
          <p:cNvPr id="1545" name="Google Shape;1545;p11"/>
          <p:cNvSpPr/>
          <p:nvPr/>
        </p:nvSpPr>
        <p:spPr>
          <a:xfrm>
            <a:off x="1406375" y="3466422"/>
            <a:ext cx="898323" cy="276999"/>
          </a:xfrm>
          <a:prstGeom prst="rect">
            <a:avLst/>
          </a:prstGeom>
          <a:solidFill>
            <a:schemeClr val="lt1"/>
          </a:solid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chemeClr val="accent1"/>
                </a:solidFill>
                <a:latin typeface="Calibri"/>
                <a:ea typeface="Calibri"/>
                <a:cs typeface="Calibri"/>
                <a:sym typeface="Calibri"/>
              </a:rPr>
              <a:t>Market</a:t>
            </a:r>
            <a:endParaRPr sz="1400" b="0" i="0" u="none" strike="noStrike" cap="none">
              <a:solidFill>
                <a:srgbClr val="000000"/>
              </a:solidFill>
              <a:latin typeface="Arial"/>
              <a:ea typeface="Arial"/>
              <a:cs typeface="Arial"/>
              <a:sym typeface="Arial"/>
            </a:endParaRPr>
          </a:p>
        </p:txBody>
      </p:sp>
      <p:sp>
        <p:nvSpPr>
          <p:cNvPr id="1546" name="Google Shape;1546;p11"/>
          <p:cNvSpPr/>
          <p:nvPr/>
        </p:nvSpPr>
        <p:spPr>
          <a:xfrm>
            <a:off x="1406376" y="4475024"/>
            <a:ext cx="898323" cy="276999"/>
          </a:xfrm>
          <a:prstGeom prst="rect">
            <a:avLst/>
          </a:prstGeom>
          <a:solidFill>
            <a:schemeClr val="lt1"/>
          </a:solid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chemeClr val="accent1"/>
                </a:solidFill>
                <a:latin typeface="Calibri"/>
                <a:ea typeface="Calibri"/>
                <a:cs typeface="Calibri"/>
                <a:sym typeface="Calibri"/>
              </a:rPr>
              <a:t>Company</a:t>
            </a:r>
            <a:endParaRPr sz="1400" b="0" i="0" u="none" strike="noStrike" cap="none">
              <a:solidFill>
                <a:srgbClr val="000000"/>
              </a:solidFill>
              <a:latin typeface="Arial"/>
              <a:ea typeface="Arial"/>
              <a:cs typeface="Arial"/>
              <a:sym typeface="Arial"/>
            </a:endParaRPr>
          </a:p>
        </p:txBody>
      </p:sp>
      <p:sp>
        <p:nvSpPr>
          <p:cNvPr id="1547" name="Google Shape;1547;p11"/>
          <p:cNvSpPr txBox="1"/>
          <p:nvPr/>
        </p:nvSpPr>
        <p:spPr>
          <a:xfrm>
            <a:off x="3128557" y="1504936"/>
            <a:ext cx="3864841" cy="338554"/>
          </a:xfrm>
          <a:prstGeom prst="rect">
            <a:avLst/>
          </a:prstGeom>
          <a:solidFill>
            <a:schemeClr val="lt1"/>
          </a:solid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2200"/>
              <a:buFont typeface="Arial"/>
              <a:buNone/>
            </a:pPr>
            <a:r>
              <a:rPr lang="en-US" sz="2200" b="1" i="0" u="none" strike="noStrike" cap="none">
                <a:solidFill>
                  <a:schemeClr val="accent1"/>
                </a:solidFill>
                <a:latin typeface="Calibri"/>
                <a:ea typeface="Calibri"/>
                <a:cs typeface="Calibri"/>
                <a:sym typeface="Calibri"/>
              </a:rPr>
              <a:t>Examples of requests we address</a:t>
            </a:r>
            <a:endParaRPr sz="1400" b="0" i="0" u="none" strike="noStrike" cap="none">
              <a:solidFill>
                <a:srgbClr val="000000"/>
              </a:solidFill>
              <a:latin typeface="Arial"/>
              <a:ea typeface="Arial"/>
              <a:cs typeface="Arial"/>
              <a:sym typeface="Arial"/>
            </a:endParaRPr>
          </a:p>
        </p:txBody>
      </p:sp>
      <p:sp>
        <p:nvSpPr>
          <p:cNvPr id="1548" name="Google Shape;1548;p11"/>
          <p:cNvSpPr txBox="1"/>
          <p:nvPr/>
        </p:nvSpPr>
        <p:spPr>
          <a:xfrm>
            <a:off x="8739607" y="1483242"/>
            <a:ext cx="2889765" cy="338554"/>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2200"/>
              <a:buFont typeface="Arial"/>
              <a:buNone/>
            </a:pPr>
            <a:r>
              <a:rPr lang="en-US" sz="2200" b="1" i="0" u="none" strike="noStrike" cap="none">
                <a:solidFill>
                  <a:schemeClr val="dk2"/>
                </a:solidFill>
                <a:latin typeface="Calibri"/>
                <a:ea typeface="Calibri"/>
                <a:cs typeface="Calibri"/>
                <a:sym typeface="Calibri"/>
              </a:rPr>
              <a:t>Examples of deliverables</a:t>
            </a:r>
            <a:endParaRPr sz="1400" b="0" i="0" u="none" strike="noStrike" cap="none">
              <a:solidFill>
                <a:srgbClr val="000000"/>
              </a:solidFill>
              <a:latin typeface="Arial"/>
              <a:ea typeface="Arial"/>
              <a:cs typeface="Arial"/>
              <a:sym typeface="Arial"/>
            </a:endParaRPr>
          </a:p>
        </p:txBody>
      </p:sp>
      <p:sp>
        <p:nvSpPr>
          <p:cNvPr id="1549" name="Google Shape;1549;p11"/>
          <p:cNvSpPr txBox="1"/>
          <p:nvPr/>
        </p:nvSpPr>
        <p:spPr>
          <a:xfrm>
            <a:off x="8985731" y="3231279"/>
            <a:ext cx="1838708" cy="70993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400"/>
              <a:buFont typeface="Arial"/>
              <a:buNone/>
            </a:pPr>
            <a:r>
              <a:rPr lang="en-US" sz="1400" b="1" i="0" u="none" strike="noStrike" cap="none">
                <a:solidFill>
                  <a:schemeClr val="dk1"/>
                </a:solidFill>
                <a:latin typeface="Calibri"/>
                <a:ea typeface="Calibri"/>
                <a:cs typeface="Calibri"/>
                <a:sym typeface="Calibri"/>
              </a:rPr>
              <a:t>Market sizing</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500"/>
              </a:spcBef>
              <a:spcAft>
                <a:spcPts val="0"/>
              </a:spcAft>
              <a:buClr>
                <a:srgbClr val="000000"/>
              </a:buClr>
              <a:buSzPts val="1400"/>
              <a:buFont typeface="Arial"/>
              <a:buNone/>
            </a:pPr>
            <a:r>
              <a:rPr lang="en-US" sz="1400" b="1" i="0" u="none" strike="noStrike" cap="none">
                <a:solidFill>
                  <a:schemeClr val="dk1"/>
                </a:solidFill>
                <a:latin typeface="Calibri"/>
                <a:ea typeface="Calibri"/>
                <a:cs typeface="Calibri"/>
                <a:sym typeface="Calibri"/>
              </a:rPr>
              <a:t>Competitive landscaping</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500"/>
              </a:spcBef>
              <a:spcAft>
                <a:spcPts val="0"/>
              </a:spcAft>
              <a:buClr>
                <a:srgbClr val="000000"/>
              </a:buClr>
              <a:buSzPts val="1400"/>
              <a:buFont typeface="Arial"/>
              <a:buNone/>
            </a:pPr>
            <a:r>
              <a:rPr lang="en-US" sz="1400" b="1" i="0" u="none" strike="noStrike" cap="none">
                <a:solidFill>
                  <a:schemeClr val="dk1"/>
                </a:solidFill>
                <a:latin typeface="Calibri"/>
                <a:ea typeface="Calibri"/>
                <a:cs typeface="Calibri"/>
                <a:sym typeface="Calibri"/>
              </a:rPr>
              <a:t>Route to market analysis</a:t>
            </a:r>
            <a:endParaRPr sz="1400" b="0" i="0" u="none" strike="noStrike" cap="none">
              <a:solidFill>
                <a:srgbClr val="000000"/>
              </a:solidFill>
              <a:latin typeface="Arial"/>
              <a:ea typeface="Arial"/>
              <a:cs typeface="Arial"/>
              <a:sym typeface="Arial"/>
            </a:endParaRPr>
          </a:p>
        </p:txBody>
      </p:sp>
      <p:sp>
        <p:nvSpPr>
          <p:cNvPr id="1550" name="Google Shape;1550;p11"/>
          <p:cNvSpPr txBox="1"/>
          <p:nvPr/>
        </p:nvSpPr>
        <p:spPr>
          <a:xfrm>
            <a:off x="8985731" y="4258555"/>
            <a:ext cx="2370329" cy="70993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400"/>
              <a:buFont typeface="Arial"/>
              <a:buNone/>
            </a:pPr>
            <a:r>
              <a:rPr lang="en-US" sz="1400" b="1" i="0" u="none" strike="noStrike" cap="none">
                <a:solidFill>
                  <a:schemeClr val="dk1"/>
                </a:solidFill>
                <a:latin typeface="Calibri"/>
                <a:ea typeface="Calibri"/>
                <a:cs typeface="Calibri"/>
                <a:sym typeface="Calibri"/>
              </a:rPr>
              <a:t>Competitive benchmarking</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500"/>
              </a:spcBef>
              <a:spcAft>
                <a:spcPts val="0"/>
              </a:spcAft>
              <a:buClr>
                <a:srgbClr val="000000"/>
              </a:buClr>
              <a:buSzPts val="1400"/>
              <a:buFont typeface="Arial"/>
              <a:buNone/>
            </a:pPr>
            <a:r>
              <a:rPr lang="en-US" sz="1400" b="1" i="0" u="none" strike="noStrike" cap="none">
                <a:solidFill>
                  <a:schemeClr val="dk1"/>
                </a:solidFill>
                <a:latin typeface="Calibri"/>
                <a:ea typeface="Calibri"/>
                <a:cs typeface="Calibri"/>
                <a:sym typeface="Calibri"/>
              </a:rPr>
              <a:t>Distributor or supplier selection</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500"/>
              </a:spcBef>
              <a:spcAft>
                <a:spcPts val="0"/>
              </a:spcAft>
              <a:buClr>
                <a:srgbClr val="000000"/>
              </a:buClr>
              <a:buSzPts val="1400"/>
              <a:buFont typeface="Arial"/>
              <a:buNone/>
            </a:pPr>
            <a:r>
              <a:rPr lang="en-US" sz="1400" b="1" i="0" u="none" strike="noStrike" cap="none">
                <a:solidFill>
                  <a:schemeClr val="dk1"/>
                </a:solidFill>
                <a:latin typeface="Calibri"/>
                <a:ea typeface="Calibri"/>
                <a:cs typeface="Calibri"/>
                <a:sym typeface="Calibri"/>
              </a:rPr>
              <a:t>M&amp;A target screening</a:t>
            </a:r>
            <a:endParaRPr sz="1400" b="0" i="0" u="none" strike="noStrike" cap="none">
              <a:solidFill>
                <a:srgbClr val="000000"/>
              </a:solidFill>
              <a:latin typeface="Arial"/>
              <a:ea typeface="Arial"/>
              <a:cs typeface="Arial"/>
              <a:sym typeface="Arial"/>
            </a:endParaRPr>
          </a:p>
        </p:txBody>
      </p:sp>
      <p:sp>
        <p:nvSpPr>
          <p:cNvPr id="1551" name="Google Shape;1551;p11"/>
          <p:cNvSpPr txBox="1"/>
          <p:nvPr/>
        </p:nvSpPr>
        <p:spPr>
          <a:xfrm>
            <a:off x="8985731" y="1945984"/>
            <a:ext cx="2296783" cy="967957"/>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400"/>
              <a:buFont typeface="Arial"/>
              <a:buNone/>
            </a:pPr>
            <a:r>
              <a:rPr lang="en-US" sz="1400" b="1" i="0" u="none" strike="noStrike" cap="none">
                <a:solidFill>
                  <a:schemeClr val="dk1"/>
                </a:solidFill>
                <a:latin typeface="Calibri"/>
                <a:ea typeface="Calibri"/>
                <a:cs typeface="Calibri"/>
                <a:sym typeface="Calibri"/>
              </a:rPr>
              <a:t>Demographic analysis</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500"/>
              </a:spcBef>
              <a:spcAft>
                <a:spcPts val="0"/>
              </a:spcAft>
              <a:buClr>
                <a:srgbClr val="000000"/>
              </a:buClr>
              <a:buSzPts val="1400"/>
              <a:buFont typeface="Arial"/>
              <a:buNone/>
            </a:pPr>
            <a:r>
              <a:rPr lang="en-US" sz="1400" b="1" i="0" u="none" strike="noStrike" cap="none">
                <a:solidFill>
                  <a:schemeClr val="dk1"/>
                </a:solidFill>
                <a:latin typeface="Calibri"/>
                <a:ea typeface="Calibri"/>
                <a:cs typeface="Calibri"/>
                <a:sym typeface="Calibri"/>
              </a:rPr>
              <a:t>Trade analysis</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500"/>
              </a:spcBef>
              <a:spcAft>
                <a:spcPts val="0"/>
              </a:spcAft>
              <a:buClr>
                <a:srgbClr val="000000"/>
              </a:buClr>
              <a:buSzPts val="1400"/>
              <a:buFont typeface="Arial"/>
              <a:buNone/>
            </a:pPr>
            <a:r>
              <a:rPr lang="en-US" sz="1400" b="1" i="0" u="none" strike="noStrike" cap="none">
                <a:solidFill>
                  <a:schemeClr val="dk1"/>
                </a:solidFill>
                <a:latin typeface="Calibri"/>
                <a:ea typeface="Calibri"/>
                <a:cs typeface="Calibri"/>
                <a:sym typeface="Calibri"/>
              </a:rPr>
              <a:t>Country selection</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500"/>
              </a:spcBef>
              <a:spcAft>
                <a:spcPts val="0"/>
              </a:spcAft>
              <a:buClr>
                <a:srgbClr val="000000"/>
              </a:buClr>
              <a:buSzPts val="1400"/>
              <a:buFont typeface="Arial"/>
              <a:buNone/>
            </a:pPr>
            <a:r>
              <a:rPr lang="en-US" sz="1400" b="1" i="0" u="none" strike="noStrike" cap="none">
                <a:solidFill>
                  <a:schemeClr val="dk1"/>
                </a:solidFill>
                <a:latin typeface="Calibri"/>
                <a:ea typeface="Calibri"/>
                <a:cs typeface="Calibri"/>
                <a:sym typeface="Calibri"/>
              </a:rPr>
              <a:t>Ease of doing business analysis</a:t>
            </a:r>
            <a:endParaRPr sz="1400" b="0" i="0" u="none" strike="noStrike" cap="none">
              <a:solidFill>
                <a:srgbClr val="000000"/>
              </a:solidFill>
              <a:latin typeface="Arial"/>
              <a:ea typeface="Arial"/>
              <a:cs typeface="Arial"/>
              <a:sym typeface="Arial"/>
            </a:endParaRPr>
          </a:p>
        </p:txBody>
      </p:sp>
      <p:sp>
        <p:nvSpPr>
          <p:cNvPr id="1552" name="Google Shape;1552;p11"/>
          <p:cNvSpPr txBox="1"/>
          <p:nvPr/>
        </p:nvSpPr>
        <p:spPr>
          <a:xfrm>
            <a:off x="539400" y="1483242"/>
            <a:ext cx="2293255" cy="338554"/>
          </a:xfrm>
          <a:prstGeom prst="rect">
            <a:avLst/>
          </a:prstGeom>
          <a:solidFill>
            <a:schemeClr val="lt1"/>
          </a:solid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2200"/>
              <a:buFont typeface="Arial"/>
              <a:buNone/>
            </a:pPr>
            <a:r>
              <a:rPr lang="en-US" sz="2200" b="1" i="0" u="none" strike="noStrike" cap="none">
                <a:solidFill>
                  <a:schemeClr val="accent1"/>
                </a:solidFill>
                <a:latin typeface="Calibri"/>
                <a:ea typeface="Calibri"/>
                <a:cs typeface="Calibri"/>
                <a:sym typeface="Calibri"/>
              </a:rPr>
              <a:t>Research perimeter</a:t>
            </a:r>
            <a:endParaRPr sz="1400" b="0" i="0" u="none" strike="noStrike" cap="none">
              <a:solidFill>
                <a:srgbClr val="000000"/>
              </a:solidFill>
              <a:latin typeface="Arial"/>
              <a:ea typeface="Arial"/>
              <a:cs typeface="Arial"/>
              <a:sym typeface="Arial"/>
            </a:endParaRPr>
          </a:p>
        </p:txBody>
      </p:sp>
      <p:sp>
        <p:nvSpPr>
          <p:cNvPr id="1553" name="Google Shape;1553;p11"/>
          <p:cNvSpPr txBox="1"/>
          <p:nvPr/>
        </p:nvSpPr>
        <p:spPr>
          <a:xfrm>
            <a:off x="3128558" y="3231279"/>
            <a:ext cx="5315146" cy="709938"/>
          </a:xfrm>
          <a:prstGeom prst="rect">
            <a:avLst/>
          </a:prstGeom>
          <a:noFill/>
          <a:ln>
            <a:noFill/>
          </a:ln>
        </p:spPr>
        <p:txBody>
          <a:bodyPr spcFirstLastPara="1" wrap="square" lIns="0" tIns="0" rIns="0" bIns="0" anchor="t" anchorCtr="0">
            <a:spAutoFit/>
          </a:bodyPr>
          <a:lstStyle/>
          <a:p>
            <a:pPr marL="176213" marR="0" lvl="1" indent="-176213" algn="l" rtl="0">
              <a:lnSpc>
                <a:spcPct val="90000"/>
              </a:lnSpc>
              <a:spcBef>
                <a:spcPts val="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What is the size of my market in a given country? </a:t>
            </a:r>
            <a:endParaRPr sz="1400" b="0" i="0" u="none" strike="noStrike" cap="none">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How is the value chain of my industry organized? </a:t>
            </a:r>
            <a:endParaRPr sz="1400" b="0" i="0" u="none" strike="noStrike" cap="none">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What are the retail prices of my products vs my competitors? </a:t>
            </a:r>
            <a:endParaRPr sz="1400" b="0" i="0" u="none" strike="noStrike" cap="none">
              <a:solidFill>
                <a:srgbClr val="000000"/>
              </a:solidFill>
              <a:latin typeface="Arial"/>
              <a:ea typeface="Arial"/>
              <a:cs typeface="Arial"/>
              <a:sym typeface="Arial"/>
            </a:endParaRPr>
          </a:p>
        </p:txBody>
      </p:sp>
      <p:sp>
        <p:nvSpPr>
          <p:cNvPr id="1554" name="Google Shape;1554;p11"/>
          <p:cNvSpPr txBox="1"/>
          <p:nvPr/>
        </p:nvSpPr>
        <p:spPr>
          <a:xfrm>
            <a:off x="3128558" y="4258555"/>
            <a:ext cx="5315146" cy="709938"/>
          </a:xfrm>
          <a:prstGeom prst="rect">
            <a:avLst/>
          </a:prstGeom>
          <a:noFill/>
          <a:ln>
            <a:noFill/>
          </a:ln>
        </p:spPr>
        <p:txBody>
          <a:bodyPr spcFirstLastPara="1" wrap="square" lIns="0" tIns="0" rIns="0" bIns="0" anchor="t" anchorCtr="0">
            <a:spAutoFit/>
          </a:bodyPr>
          <a:lstStyle/>
          <a:p>
            <a:pPr marL="176213" marR="0" lvl="1" indent="-176213" algn="l" rtl="0">
              <a:lnSpc>
                <a:spcPct val="90000"/>
              </a:lnSpc>
              <a:spcBef>
                <a:spcPts val="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How is the salesforce of my competitors organized? </a:t>
            </a:r>
            <a:endParaRPr sz="1400" b="0" i="0" u="none" strike="noStrike" cap="none">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Can I get a database on the distributors of my products in 5 countries? </a:t>
            </a:r>
            <a:endParaRPr sz="1400" b="0" i="0" u="none" strike="noStrike" cap="none">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Can you identify and approach potential acquisition targets? </a:t>
            </a:r>
            <a:endParaRPr sz="1400" b="0" i="0" u="none" strike="noStrike" cap="none">
              <a:solidFill>
                <a:srgbClr val="000000"/>
              </a:solidFill>
              <a:latin typeface="Arial"/>
              <a:ea typeface="Arial"/>
              <a:cs typeface="Arial"/>
              <a:sym typeface="Arial"/>
            </a:endParaRPr>
          </a:p>
        </p:txBody>
      </p:sp>
      <p:sp>
        <p:nvSpPr>
          <p:cNvPr id="1555" name="Google Shape;1555;p11"/>
          <p:cNvSpPr/>
          <p:nvPr/>
        </p:nvSpPr>
        <p:spPr>
          <a:xfrm>
            <a:off x="1406376" y="5631311"/>
            <a:ext cx="1037143" cy="276999"/>
          </a:xfrm>
          <a:prstGeom prst="rect">
            <a:avLst/>
          </a:prstGeom>
          <a:solidFill>
            <a:schemeClr val="lt1"/>
          </a:solid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chemeClr val="accent1"/>
                </a:solidFill>
                <a:latin typeface="Calibri"/>
                <a:ea typeface="Calibri"/>
                <a:cs typeface="Calibri"/>
                <a:sym typeface="Calibri"/>
              </a:rPr>
              <a:t>Individuals</a:t>
            </a:r>
            <a:endParaRPr sz="1400" b="0" i="0" u="none" strike="noStrike" cap="none">
              <a:solidFill>
                <a:srgbClr val="000000"/>
              </a:solidFill>
              <a:latin typeface="Arial"/>
              <a:ea typeface="Arial"/>
              <a:cs typeface="Arial"/>
              <a:sym typeface="Arial"/>
            </a:endParaRPr>
          </a:p>
        </p:txBody>
      </p:sp>
      <p:sp>
        <p:nvSpPr>
          <p:cNvPr id="1556" name="Google Shape;1556;p11"/>
          <p:cNvSpPr txBox="1"/>
          <p:nvPr/>
        </p:nvSpPr>
        <p:spPr>
          <a:xfrm>
            <a:off x="9013975" y="5285833"/>
            <a:ext cx="1737142" cy="70993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400"/>
              <a:buFont typeface="Arial"/>
              <a:buNone/>
            </a:pPr>
            <a:r>
              <a:rPr lang="en-US" sz="1400" b="1" i="0" u="none" strike="noStrike" cap="none">
                <a:solidFill>
                  <a:schemeClr val="dk1"/>
                </a:solidFill>
                <a:latin typeface="Calibri"/>
                <a:ea typeface="Calibri"/>
                <a:cs typeface="Calibri"/>
                <a:sym typeface="Calibri"/>
              </a:rPr>
              <a:t>Expert interviews</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500"/>
              </a:spcBef>
              <a:spcAft>
                <a:spcPts val="0"/>
              </a:spcAft>
              <a:buClr>
                <a:srgbClr val="000000"/>
              </a:buClr>
              <a:buSzPts val="1400"/>
              <a:buFont typeface="Arial"/>
              <a:buNone/>
            </a:pPr>
            <a:r>
              <a:rPr lang="en-US" sz="1400" b="1" i="0" u="none" strike="noStrike" cap="none">
                <a:solidFill>
                  <a:schemeClr val="dk1"/>
                </a:solidFill>
                <a:latin typeface="Calibri"/>
                <a:ea typeface="Calibri"/>
                <a:cs typeface="Calibri"/>
                <a:sym typeface="Calibri"/>
              </a:rPr>
              <a:t>Social listening analysis</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500"/>
              </a:spcBef>
              <a:spcAft>
                <a:spcPts val="0"/>
              </a:spcAft>
              <a:buClr>
                <a:srgbClr val="000000"/>
              </a:buClr>
              <a:buSzPts val="1400"/>
              <a:buFont typeface="Arial"/>
              <a:buNone/>
            </a:pPr>
            <a:r>
              <a:rPr lang="en-US" sz="1400" b="1" i="0" u="none" strike="noStrike" cap="none">
                <a:solidFill>
                  <a:schemeClr val="dk1"/>
                </a:solidFill>
                <a:latin typeface="Calibri"/>
                <a:ea typeface="Calibri"/>
                <a:cs typeface="Calibri"/>
                <a:sym typeface="Calibri"/>
              </a:rPr>
              <a:t>Online survey results</a:t>
            </a:r>
            <a:endParaRPr sz="1400" b="0" i="0" u="none" strike="noStrike" cap="none">
              <a:solidFill>
                <a:srgbClr val="000000"/>
              </a:solidFill>
              <a:latin typeface="Arial"/>
              <a:ea typeface="Arial"/>
              <a:cs typeface="Arial"/>
              <a:sym typeface="Arial"/>
            </a:endParaRPr>
          </a:p>
        </p:txBody>
      </p:sp>
      <p:sp>
        <p:nvSpPr>
          <p:cNvPr id="1557" name="Google Shape;1557;p11"/>
          <p:cNvSpPr txBox="1"/>
          <p:nvPr/>
        </p:nvSpPr>
        <p:spPr>
          <a:xfrm>
            <a:off x="3128558" y="5285833"/>
            <a:ext cx="5315146" cy="967957"/>
          </a:xfrm>
          <a:prstGeom prst="rect">
            <a:avLst/>
          </a:prstGeom>
          <a:noFill/>
          <a:ln>
            <a:noFill/>
          </a:ln>
        </p:spPr>
        <p:txBody>
          <a:bodyPr spcFirstLastPara="1" wrap="square" lIns="0" tIns="0" rIns="0" bIns="0" anchor="t" anchorCtr="0">
            <a:spAutoFit/>
          </a:bodyPr>
          <a:lstStyle/>
          <a:p>
            <a:pPr marL="176213" marR="0" lvl="1" indent="-176213" algn="l" rtl="0">
              <a:lnSpc>
                <a:spcPct val="90000"/>
              </a:lnSpc>
              <a:spcBef>
                <a:spcPts val="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What do consumers think about my product offering? </a:t>
            </a:r>
            <a:endParaRPr sz="1400" b="0" i="0" u="none" strike="noStrike" cap="none">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What is the opinion of experts on future industry trends</a:t>
            </a:r>
            <a:endParaRPr sz="1400" b="0" i="0" u="none" strike="noStrike" cap="none">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Can I get a clear understanding of buyers and their purchasing criteria?</a:t>
            </a:r>
            <a:endParaRPr sz="1400" b="0" i="0" u="none" strike="noStrike" cap="none">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What are the market trends ?</a:t>
            </a:r>
            <a:endParaRPr sz="1400" b="0" i="0" u="none" strike="noStrike" cap="none">
              <a:solidFill>
                <a:srgbClr val="000000"/>
              </a:solidFill>
              <a:latin typeface="Arial"/>
              <a:ea typeface="Arial"/>
              <a:cs typeface="Arial"/>
              <a:sym typeface="Arial"/>
            </a:endParaRPr>
          </a:p>
        </p:txBody>
      </p:sp>
      <p:sp>
        <p:nvSpPr>
          <p:cNvPr id="1558" name="Google Shape;1558;p11"/>
          <p:cNvSpPr txBox="1"/>
          <p:nvPr/>
        </p:nvSpPr>
        <p:spPr>
          <a:xfrm>
            <a:off x="3128558" y="1945984"/>
            <a:ext cx="5315146" cy="967957"/>
          </a:xfrm>
          <a:prstGeom prst="rect">
            <a:avLst/>
          </a:prstGeom>
          <a:noFill/>
          <a:ln>
            <a:noFill/>
          </a:ln>
        </p:spPr>
        <p:txBody>
          <a:bodyPr spcFirstLastPara="1" wrap="square" lIns="0" tIns="0" rIns="0" bIns="0" anchor="t" anchorCtr="0">
            <a:spAutoFit/>
          </a:bodyPr>
          <a:lstStyle/>
          <a:p>
            <a:pPr marL="176213" marR="0" lvl="1" indent="-176213" algn="l" rtl="0">
              <a:lnSpc>
                <a:spcPct val="90000"/>
              </a:lnSpc>
              <a:spcBef>
                <a:spcPts val="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How are the demographics of a given country or region evolving?</a:t>
            </a:r>
            <a:endParaRPr sz="1400" b="0" i="0" u="none" strike="noStrike" cap="none">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How is the business environment like?</a:t>
            </a:r>
            <a:endParaRPr sz="1400" b="0" i="0" u="none" strike="noStrike" cap="none">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What are the trade and investment flows between countries?</a:t>
            </a:r>
            <a:endParaRPr sz="1400" b="0" i="0" u="none" strike="noStrike" cap="none">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Which countries can I consider open for my business?</a:t>
            </a:r>
            <a:endParaRPr sz="1400" b="0" i="0" u="none" strike="noStrike" cap="none">
              <a:solidFill>
                <a:srgbClr val="000000"/>
              </a:solidFill>
              <a:latin typeface="Arial"/>
              <a:ea typeface="Arial"/>
              <a:cs typeface="Arial"/>
              <a:sym typeface="Arial"/>
            </a:endParaRPr>
          </a:p>
        </p:txBody>
      </p:sp>
      <p:cxnSp>
        <p:nvCxnSpPr>
          <p:cNvPr id="1559" name="Google Shape;1559;p11"/>
          <p:cNvCxnSpPr/>
          <p:nvPr/>
        </p:nvCxnSpPr>
        <p:spPr>
          <a:xfrm>
            <a:off x="550863" y="1843490"/>
            <a:ext cx="11107737" cy="0"/>
          </a:xfrm>
          <a:prstGeom prst="straightConnector1">
            <a:avLst/>
          </a:prstGeom>
          <a:noFill/>
          <a:ln w="9525" cap="flat" cmpd="sng">
            <a:solidFill>
              <a:schemeClr val="accent1"/>
            </a:solidFill>
            <a:prstDash val="solid"/>
            <a:miter lim="800000"/>
            <a:headEnd type="none" w="sm" len="sm"/>
            <a:tailEnd type="none" w="sm" len="sm"/>
          </a:ln>
        </p:spPr>
      </p:cxnSp>
      <p:cxnSp>
        <p:nvCxnSpPr>
          <p:cNvPr id="1560" name="Google Shape;1560;p11"/>
          <p:cNvCxnSpPr/>
          <p:nvPr/>
        </p:nvCxnSpPr>
        <p:spPr>
          <a:xfrm>
            <a:off x="550863" y="6337576"/>
            <a:ext cx="11107737" cy="0"/>
          </a:xfrm>
          <a:prstGeom prst="straightConnector1">
            <a:avLst/>
          </a:prstGeom>
          <a:noFill/>
          <a:ln w="9525" cap="flat" cmpd="sng">
            <a:solidFill>
              <a:schemeClr val="accent1"/>
            </a:solidFill>
            <a:prstDash val="solid"/>
            <a:miter lim="800000"/>
            <a:headEnd type="none" w="sm" len="sm"/>
            <a:tailEnd type="none" w="sm" len="sm"/>
          </a:ln>
        </p:spPr>
      </p:cxnSp>
      <p:cxnSp>
        <p:nvCxnSpPr>
          <p:cNvPr id="1561" name="Google Shape;1561;p11"/>
          <p:cNvCxnSpPr/>
          <p:nvPr/>
        </p:nvCxnSpPr>
        <p:spPr>
          <a:xfrm>
            <a:off x="539401" y="3050916"/>
            <a:ext cx="11119200" cy="0"/>
          </a:xfrm>
          <a:prstGeom prst="straightConnector1">
            <a:avLst/>
          </a:prstGeom>
          <a:noFill/>
          <a:ln w="9525" cap="flat" cmpd="sng">
            <a:solidFill>
              <a:srgbClr val="A5A5A5"/>
            </a:solidFill>
            <a:prstDash val="dash"/>
            <a:miter lim="800000"/>
            <a:headEnd type="none" w="sm" len="sm"/>
            <a:tailEnd type="none" w="sm" len="sm"/>
          </a:ln>
        </p:spPr>
      </p:cxnSp>
      <p:cxnSp>
        <p:nvCxnSpPr>
          <p:cNvPr id="1562" name="Google Shape;1562;p11"/>
          <p:cNvCxnSpPr/>
          <p:nvPr/>
        </p:nvCxnSpPr>
        <p:spPr>
          <a:xfrm>
            <a:off x="539401" y="4078192"/>
            <a:ext cx="11119200" cy="0"/>
          </a:xfrm>
          <a:prstGeom prst="straightConnector1">
            <a:avLst/>
          </a:prstGeom>
          <a:noFill/>
          <a:ln w="9525" cap="flat" cmpd="sng">
            <a:solidFill>
              <a:srgbClr val="A5A5A5"/>
            </a:solidFill>
            <a:prstDash val="dash"/>
            <a:miter lim="800000"/>
            <a:headEnd type="none" w="sm" len="sm"/>
            <a:tailEnd type="none" w="sm" len="sm"/>
          </a:ln>
        </p:spPr>
      </p:cxnSp>
      <p:cxnSp>
        <p:nvCxnSpPr>
          <p:cNvPr id="1563" name="Google Shape;1563;p11"/>
          <p:cNvCxnSpPr/>
          <p:nvPr/>
        </p:nvCxnSpPr>
        <p:spPr>
          <a:xfrm>
            <a:off x="539401" y="5105468"/>
            <a:ext cx="11119200" cy="0"/>
          </a:xfrm>
          <a:prstGeom prst="straightConnector1">
            <a:avLst/>
          </a:prstGeom>
          <a:noFill/>
          <a:ln w="9525" cap="flat" cmpd="sng">
            <a:solidFill>
              <a:srgbClr val="A5A5A5"/>
            </a:solidFill>
            <a:prstDash val="dash"/>
            <a:miter lim="800000"/>
            <a:headEnd type="none" w="sm" len="sm"/>
            <a:tailEnd type="none" w="sm" len="sm"/>
          </a:ln>
        </p:spPr>
      </p:cxnSp>
      <p:pic>
        <p:nvPicPr>
          <p:cNvPr id="1564" name="Google Shape;1564;p11"/>
          <p:cNvPicPr preferRelativeResize="0"/>
          <p:nvPr/>
        </p:nvPicPr>
        <p:blipFill rotWithShape="1">
          <a:blip r:embed="rId3">
            <a:alphaModFix/>
          </a:blip>
          <a:srcRect/>
          <a:stretch/>
        </p:blipFill>
        <p:spPr>
          <a:xfrm>
            <a:off x="8749811" y="1942020"/>
            <a:ext cx="178246" cy="178246"/>
          </a:xfrm>
          <a:prstGeom prst="rect">
            <a:avLst/>
          </a:prstGeom>
          <a:noFill/>
          <a:ln>
            <a:noFill/>
          </a:ln>
        </p:spPr>
      </p:pic>
      <p:pic>
        <p:nvPicPr>
          <p:cNvPr id="1565" name="Google Shape;1565;p11"/>
          <p:cNvPicPr preferRelativeResize="0"/>
          <p:nvPr/>
        </p:nvPicPr>
        <p:blipFill rotWithShape="1">
          <a:blip r:embed="rId3">
            <a:alphaModFix/>
          </a:blip>
          <a:srcRect/>
          <a:stretch/>
        </p:blipFill>
        <p:spPr>
          <a:xfrm>
            <a:off x="8749811" y="2197290"/>
            <a:ext cx="178246" cy="178246"/>
          </a:xfrm>
          <a:prstGeom prst="rect">
            <a:avLst/>
          </a:prstGeom>
          <a:noFill/>
          <a:ln>
            <a:noFill/>
          </a:ln>
        </p:spPr>
      </p:pic>
      <p:pic>
        <p:nvPicPr>
          <p:cNvPr id="1566" name="Google Shape;1566;p11"/>
          <p:cNvPicPr preferRelativeResize="0"/>
          <p:nvPr/>
        </p:nvPicPr>
        <p:blipFill rotWithShape="1">
          <a:blip r:embed="rId3">
            <a:alphaModFix/>
          </a:blip>
          <a:srcRect/>
          <a:stretch/>
        </p:blipFill>
        <p:spPr>
          <a:xfrm>
            <a:off x="8749811" y="2452127"/>
            <a:ext cx="178246" cy="178246"/>
          </a:xfrm>
          <a:prstGeom prst="rect">
            <a:avLst/>
          </a:prstGeom>
          <a:noFill/>
          <a:ln>
            <a:noFill/>
          </a:ln>
        </p:spPr>
      </p:pic>
      <p:pic>
        <p:nvPicPr>
          <p:cNvPr id="1567" name="Google Shape;1567;p11"/>
          <p:cNvPicPr preferRelativeResize="0"/>
          <p:nvPr/>
        </p:nvPicPr>
        <p:blipFill rotWithShape="1">
          <a:blip r:embed="rId3">
            <a:alphaModFix/>
          </a:blip>
          <a:srcRect/>
          <a:stretch/>
        </p:blipFill>
        <p:spPr>
          <a:xfrm>
            <a:off x="8749811" y="2711207"/>
            <a:ext cx="178246" cy="178246"/>
          </a:xfrm>
          <a:prstGeom prst="rect">
            <a:avLst/>
          </a:prstGeom>
          <a:noFill/>
          <a:ln>
            <a:noFill/>
          </a:ln>
        </p:spPr>
      </p:pic>
      <p:pic>
        <p:nvPicPr>
          <p:cNvPr id="1568" name="Google Shape;1568;p11"/>
          <p:cNvPicPr preferRelativeResize="0"/>
          <p:nvPr/>
        </p:nvPicPr>
        <p:blipFill rotWithShape="1">
          <a:blip r:embed="rId3">
            <a:alphaModFix/>
          </a:blip>
          <a:srcRect/>
          <a:stretch/>
        </p:blipFill>
        <p:spPr>
          <a:xfrm>
            <a:off x="8749811" y="3224201"/>
            <a:ext cx="178246" cy="178246"/>
          </a:xfrm>
          <a:prstGeom prst="rect">
            <a:avLst/>
          </a:prstGeom>
          <a:noFill/>
          <a:ln>
            <a:noFill/>
          </a:ln>
        </p:spPr>
      </p:pic>
      <p:pic>
        <p:nvPicPr>
          <p:cNvPr id="1569" name="Google Shape;1569;p11"/>
          <p:cNvPicPr preferRelativeResize="0"/>
          <p:nvPr/>
        </p:nvPicPr>
        <p:blipFill rotWithShape="1">
          <a:blip r:embed="rId3">
            <a:alphaModFix/>
          </a:blip>
          <a:srcRect/>
          <a:stretch/>
        </p:blipFill>
        <p:spPr>
          <a:xfrm>
            <a:off x="8749811" y="3479471"/>
            <a:ext cx="178246" cy="178246"/>
          </a:xfrm>
          <a:prstGeom prst="rect">
            <a:avLst/>
          </a:prstGeom>
          <a:noFill/>
          <a:ln>
            <a:noFill/>
          </a:ln>
        </p:spPr>
      </p:pic>
      <p:pic>
        <p:nvPicPr>
          <p:cNvPr id="1570" name="Google Shape;1570;p11"/>
          <p:cNvPicPr preferRelativeResize="0"/>
          <p:nvPr/>
        </p:nvPicPr>
        <p:blipFill rotWithShape="1">
          <a:blip r:embed="rId3">
            <a:alphaModFix/>
          </a:blip>
          <a:srcRect/>
          <a:stretch/>
        </p:blipFill>
        <p:spPr>
          <a:xfrm>
            <a:off x="8749811" y="3738551"/>
            <a:ext cx="178246" cy="178246"/>
          </a:xfrm>
          <a:prstGeom prst="rect">
            <a:avLst/>
          </a:prstGeom>
          <a:noFill/>
          <a:ln>
            <a:noFill/>
          </a:ln>
        </p:spPr>
      </p:pic>
      <p:pic>
        <p:nvPicPr>
          <p:cNvPr id="1571" name="Google Shape;1571;p11"/>
          <p:cNvPicPr preferRelativeResize="0"/>
          <p:nvPr/>
        </p:nvPicPr>
        <p:blipFill rotWithShape="1">
          <a:blip r:embed="rId3">
            <a:alphaModFix/>
          </a:blip>
          <a:srcRect/>
          <a:stretch/>
        </p:blipFill>
        <p:spPr>
          <a:xfrm>
            <a:off x="8749811" y="4251476"/>
            <a:ext cx="178246" cy="178246"/>
          </a:xfrm>
          <a:prstGeom prst="rect">
            <a:avLst/>
          </a:prstGeom>
          <a:noFill/>
          <a:ln>
            <a:noFill/>
          </a:ln>
        </p:spPr>
      </p:pic>
      <p:pic>
        <p:nvPicPr>
          <p:cNvPr id="1572" name="Google Shape;1572;p11"/>
          <p:cNvPicPr preferRelativeResize="0"/>
          <p:nvPr/>
        </p:nvPicPr>
        <p:blipFill rotWithShape="1">
          <a:blip r:embed="rId3">
            <a:alphaModFix/>
          </a:blip>
          <a:srcRect/>
          <a:stretch/>
        </p:blipFill>
        <p:spPr>
          <a:xfrm>
            <a:off x="8749811" y="4506746"/>
            <a:ext cx="178246" cy="178246"/>
          </a:xfrm>
          <a:prstGeom prst="rect">
            <a:avLst/>
          </a:prstGeom>
          <a:noFill/>
          <a:ln>
            <a:noFill/>
          </a:ln>
        </p:spPr>
      </p:pic>
      <p:pic>
        <p:nvPicPr>
          <p:cNvPr id="1573" name="Google Shape;1573;p11"/>
          <p:cNvPicPr preferRelativeResize="0"/>
          <p:nvPr/>
        </p:nvPicPr>
        <p:blipFill rotWithShape="1">
          <a:blip r:embed="rId3">
            <a:alphaModFix/>
          </a:blip>
          <a:srcRect/>
          <a:stretch/>
        </p:blipFill>
        <p:spPr>
          <a:xfrm>
            <a:off x="8749811" y="4765826"/>
            <a:ext cx="178246" cy="178246"/>
          </a:xfrm>
          <a:prstGeom prst="rect">
            <a:avLst/>
          </a:prstGeom>
          <a:noFill/>
          <a:ln>
            <a:noFill/>
          </a:ln>
        </p:spPr>
      </p:pic>
      <p:pic>
        <p:nvPicPr>
          <p:cNvPr id="1574" name="Google Shape;1574;p11"/>
          <p:cNvPicPr preferRelativeResize="0"/>
          <p:nvPr/>
        </p:nvPicPr>
        <p:blipFill rotWithShape="1">
          <a:blip r:embed="rId3">
            <a:alphaModFix/>
          </a:blip>
          <a:srcRect/>
          <a:stretch/>
        </p:blipFill>
        <p:spPr>
          <a:xfrm>
            <a:off x="8749811" y="5279235"/>
            <a:ext cx="178246" cy="178246"/>
          </a:xfrm>
          <a:prstGeom prst="rect">
            <a:avLst/>
          </a:prstGeom>
          <a:noFill/>
          <a:ln>
            <a:noFill/>
          </a:ln>
        </p:spPr>
      </p:pic>
      <p:pic>
        <p:nvPicPr>
          <p:cNvPr id="1575" name="Google Shape;1575;p11"/>
          <p:cNvPicPr preferRelativeResize="0"/>
          <p:nvPr/>
        </p:nvPicPr>
        <p:blipFill rotWithShape="1">
          <a:blip r:embed="rId3">
            <a:alphaModFix/>
          </a:blip>
          <a:srcRect/>
          <a:stretch/>
        </p:blipFill>
        <p:spPr>
          <a:xfrm>
            <a:off x="8749811" y="5534505"/>
            <a:ext cx="178246" cy="178246"/>
          </a:xfrm>
          <a:prstGeom prst="rect">
            <a:avLst/>
          </a:prstGeom>
          <a:noFill/>
          <a:ln>
            <a:noFill/>
          </a:ln>
        </p:spPr>
      </p:pic>
      <p:pic>
        <p:nvPicPr>
          <p:cNvPr id="1576" name="Google Shape;1576;p11"/>
          <p:cNvPicPr preferRelativeResize="0"/>
          <p:nvPr/>
        </p:nvPicPr>
        <p:blipFill rotWithShape="1">
          <a:blip r:embed="rId3">
            <a:alphaModFix/>
          </a:blip>
          <a:srcRect/>
          <a:stretch/>
        </p:blipFill>
        <p:spPr>
          <a:xfrm>
            <a:off x="8749811" y="5793585"/>
            <a:ext cx="178246" cy="178246"/>
          </a:xfrm>
          <a:prstGeom prst="rect">
            <a:avLst/>
          </a:prstGeom>
          <a:noFill/>
          <a:ln>
            <a:noFill/>
          </a:ln>
        </p:spPr>
      </p:pic>
      <p:pic>
        <p:nvPicPr>
          <p:cNvPr id="1577" name="Google Shape;1577;p11"/>
          <p:cNvPicPr preferRelativeResize="0"/>
          <p:nvPr/>
        </p:nvPicPr>
        <p:blipFill rotWithShape="1">
          <a:blip r:embed="rId4">
            <a:alphaModFix/>
          </a:blip>
          <a:srcRect/>
          <a:stretch/>
        </p:blipFill>
        <p:spPr>
          <a:xfrm>
            <a:off x="539400" y="2067013"/>
            <a:ext cx="716057" cy="716057"/>
          </a:xfrm>
          <a:prstGeom prst="rect">
            <a:avLst/>
          </a:prstGeom>
          <a:noFill/>
          <a:ln>
            <a:noFill/>
          </a:ln>
        </p:spPr>
      </p:pic>
      <p:pic>
        <p:nvPicPr>
          <p:cNvPr id="1578" name="Google Shape;1578;p11"/>
          <p:cNvPicPr preferRelativeResize="0"/>
          <p:nvPr/>
        </p:nvPicPr>
        <p:blipFill rotWithShape="1">
          <a:blip r:embed="rId5">
            <a:alphaModFix/>
          </a:blip>
          <a:srcRect/>
          <a:stretch/>
        </p:blipFill>
        <p:spPr>
          <a:xfrm>
            <a:off x="615600" y="3265347"/>
            <a:ext cx="606494" cy="606494"/>
          </a:xfrm>
          <a:prstGeom prst="rect">
            <a:avLst/>
          </a:prstGeom>
          <a:noFill/>
          <a:ln>
            <a:noFill/>
          </a:ln>
        </p:spPr>
      </p:pic>
      <p:pic>
        <p:nvPicPr>
          <p:cNvPr id="1579" name="Google Shape;1579;p11"/>
          <p:cNvPicPr preferRelativeResize="0"/>
          <p:nvPr/>
        </p:nvPicPr>
        <p:blipFill rotWithShape="1">
          <a:blip r:embed="rId6">
            <a:alphaModFix/>
          </a:blip>
          <a:srcRect/>
          <a:stretch/>
        </p:blipFill>
        <p:spPr>
          <a:xfrm>
            <a:off x="661393" y="4351006"/>
            <a:ext cx="514908" cy="514908"/>
          </a:xfrm>
          <a:prstGeom prst="rect">
            <a:avLst/>
          </a:prstGeom>
          <a:noFill/>
          <a:ln>
            <a:noFill/>
          </a:ln>
        </p:spPr>
      </p:pic>
      <p:pic>
        <p:nvPicPr>
          <p:cNvPr id="1580" name="Google Shape;1580;p11"/>
          <p:cNvPicPr preferRelativeResize="0"/>
          <p:nvPr/>
        </p:nvPicPr>
        <p:blipFill rotWithShape="1">
          <a:blip r:embed="rId7">
            <a:alphaModFix/>
          </a:blip>
          <a:srcRect/>
          <a:stretch/>
        </p:blipFill>
        <p:spPr>
          <a:xfrm>
            <a:off x="661392" y="5475769"/>
            <a:ext cx="580215" cy="580215"/>
          </a:xfrm>
          <a:prstGeom prst="rect">
            <a:avLst/>
          </a:prstGeom>
          <a:noFill/>
          <a:ln>
            <a:noFill/>
          </a:ln>
        </p:spPr>
      </p:pic>
      <p:grpSp>
        <p:nvGrpSpPr>
          <p:cNvPr id="1581" name="Google Shape;1581;p11"/>
          <p:cNvGrpSpPr/>
          <p:nvPr/>
        </p:nvGrpSpPr>
        <p:grpSpPr>
          <a:xfrm>
            <a:off x="10976464" y="135255"/>
            <a:ext cx="1046733" cy="468742"/>
            <a:chOff x="10976464" y="135255"/>
            <a:chExt cx="1046733" cy="468742"/>
          </a:xfrm>
        </p:grpSpPr>
        <p:sp>
          <p:nvSpPr>
            <p:cNvPr id="1582" name="Google Shape;1582;p11"/>
            <p:cNvSpPr txBox="1"/>
            <p:nvPr/>
          </p:nvSpPr>
          <p:spPr>
            <a:xfrm>
              <a:off x="10976464" y="292682"/>
              <a:ext cx="533800" cy="153888"/>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Research</a:t>
              </a:r>
              <a:endParaRPr sz="1400" b="0" i="0" u="none" strike="noStrike" cap="none">
                <a:solidFill>
                  <a:srgbClr val="000000"/>
                </a:solidFill>
                <a:latin typeface="Arial"/>
                <a:ea typeface="Arial"/>
                <a:cs typeface="Arial"/>
                <a:sym typeface="Arial"/>
              </a:endParaRPr>
            </a:p>
          </p:txBody>
        </p:sp>
        <p:sp>
          <p:nvSpPr>
            <p:cNvPr id="1583" name="Google Shape;1583;p11"/>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pic>
          <p:nvPicPr>
            <p:cNvPr id="1584" name="Google Shape;1584;p11"/>
            <p:cNvPicPr preferRelativeResize="0"/>
            <p:nvPr/>
          </p:nvPicPr>
          <p:blipFill rotWithShape="1">
            <a:blip r:embed="rId8">
              <a:alphaModFix/>
            </a:blip>
            <a:srcRect/>
            <a:stretch/>
          </p:blipFill>
          <p:spPr>
            <a:xfrm>
              <a:off x="11641138" y="237175"/>
              <a:ext cx="269974" cy="269974"/>
            </a:xfrm>
            <a:prstGeom prst="rect">
              <a:avLst/>
            </a:prstGeom>
            <a:noFill/>
            <a:ln>
              <a:noFill/>
            </a:ln>
          </p:spPr>
        </p:pic>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588"/>
        <p:cNvGrpSpPr/>
        <p:nvPr/>
      </p:nvGrpSpPr>
      <p:grpSpPr>
        <a:xfrm>
          <a:off x="0" y="0"/>
          <a:ext cx="0" cy="0"/>
          <a:chOff x="0" y="0"/>
          <a:chExt cx="0" cy="0"/>
        </a:xfrm>
      </p:grpSpPr>
      <p:sp>
        <p:nvSpPr>
          <p:cNvPr id="1589" name="Google Shape;1589;p12"/>
          <p:cNvSpPr/>
          <p:nvPr/>
        </p:nvSpPr>
        <p:spPr>
          <a:xfrm>
            <a:off x="3964792" y="560588"/>
            <a:ext cx="736902" cy="736902"/>
          </a:xfrm>
          <a:prstGeom prst="ellipse">
            <a:avLst/>
          </a:prstGeom>
          <a:solidFill>
            <a:schemeClr val="lt1"/>
          </a:solidFill>
          <a:ln w="12700" cap="flat" cmpd="sng">
            <a:solidFill>
              <a:srgbClr val="BFBFB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0" name="Google Shape;1590;p12"/>
          <p:cNvSpPr/>
          <p:nvPr/>
        </p:nvSpPr>
        <p:spPr>
          <a:xfrm>
            <a:off x="3964792" y="1415030"/>
            <a:ext cx="736902" cy="736902"/>
          </a:xfrm>
          <a:prstGeom prst="ellipse">
            <a:avLst/>
          </a:prstGeom>
          <a:solidFill>
            <a:schemeClr val="lt1"/>
          </a:solidFill>
          <a:ln w="12700" cap="flat" cmpd="sng">
            <a:solidFill>
              <a:srgbClr val="BFBFB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1" name="Google Shape;1591;p12"/>
          <p:cNvSpPr/>
          <p:nvPr/>
        </p:nvSpPr>
        <p:spPr>
          <a:xfrm>
            <a:off x="3964792" y="2269472"/>
            <a:ext cx="736902" cy="736902"/>
          </a:xfrm>
          <a:prstGeom prst="ellipse">
            <a:avLst/>
          </a:prstGeom>
          <a:solidFill>
            <a:schemeClr val="lt1"/>
          </a:solidFill>
          <a:ln w="12700" cap="flat" cmpd="sng">
            <a:solidFill>
              <a:srgbClr val="BFBFB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2" name="Google Shape;1592;p12"/>
          <p:cNvSpPr/>
          <p:nvPr/>
        </p:nvSpPr>
        <p:spPr>
          <a:xfrm>
            <a:off x="3964792" y="3123914"/>
            <a:ext cx="736902" cy="736902"/>
          </a:xfrm>
          <a:prstGeom prst="ellipse">
            <a:avLst/>
          </a:prstGeom>
          <a:solidFill>
            <a:schemeClr val="lt1"/>
          </a:solidFill>
          <a:ln w="12700" cap="flat" cmpd="sng">
            <a:solidFill>
              <a:srgbClr val="BFBFB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3" name="Google Shape;1593;p12"/>
          <p:cNvSpPr/>
          <p:nvPr/>
        </p:nvSpPr>
        <p:spPr>
          <a:xfrm>
            <a:off x="3964792" y="3978356"/>
            <a:ext cx="736902" cy="736902"/>
          </a:xfrm>
          <a:prstGeom prst="ellipse">
            <a:avLst/>
          </a:prstGeom>
          <a:solidFill>
            <a:schemeClr val="lt1"/>
          </a:solidFill>
          <a:ln w="12700" cap="flat" cmpd="sng">
            <a:solidFill>
              <a:srgbClr val="BFBFB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4" name="Google Shape;1594;p12"/>
          <p:cNvSpPr/>
          <p:nvPr/>
        </p:nvSpPr>
        <p:spPr>
          <a:xfrm>
            <a:off x="3964792" y="4832798"/>
            <a:ext cx="736902" cy="736902"/>
          </a:xfrm>
          <a:prstGeom prst="ellipse">
            <a:avLst/>
          </a:prstGeom>
          <a:solidFill>
            <a:schemeClr val="lt1"/>
          </a:solidFill>
          <a:ln w="12700" cap="flat" cmpd="sng">
            <a:solidFill>
              <a:srgbClr val="BFBFB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5" name="Google Shape;1595;p12"/>
          <p:cNvSpPr/>
          <p:nvPr/>
        </p:nvSpPr>
        <p:spPr>
          <a:xfrm>
            <a:off x="3964792" y="5687240"/>
            <a:ext cx="736902" cy="736902"/>
          </a:xfrm>
          <a:prstGeom prst="ellipse">
            <a:avLst/>
          </a:prstGeom>
          <a:solidFill>
            <a:schemeClr val="lt1"/>
          </a:solidFill>
          <a:ln w="12700" cap="flat" cmpd="sng">
            <a:solidFill>
              <a:srgbClr val="BFBFB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6" name="Google Shape;1596;p12"/>
          <p:cNvSpPr/>
          <p:nvPr/>
        </p:nvSpPr>
        <p:spPr>
          <a:xfrm>
            <a:off x="0" y="16042"/>
            <a:ext cx="3460830" cy="6857999"/>
          </a:xfrm>
          <a:prstGeom prst="rect">
            <a:avLst/>
          </a:pr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7" name="Google Shape;1597;p12"/>
          <p:cNvSpPr txBox="1">
            <a:spLocks noGrp="1"/>
          </p:cNvSpPr>
          <p:nvPr>
            <p:ph type="title"/>
          </p:nvPr>
        </p:nvSpPr>
        <p:spPr>
          <a:xfrm>
            <a:off x="539400" y="560588"/>
            <a:ext cx="2530586" cy="2215991"/>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A few illustrations of the time required to deliver</a:t>
            </a:r>
            <a:endParaRPr/>
          </a:p>
        </p:txBody>
      </p:sp>
      <p:sp>
        <p:nvSpPr>
          <p:cNvPr id="1598" name="Google Shape;1598;p12"/>
          <p:cNvSpPr/>
          <p:nvPr/>
        </p:nvSpPr>
        <p:spPr>
          <a:xfrm>
            <a:off x="9503386" y="906907"/>
            <a:ext cx="675057" cy="24622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0" i="0" u="none" strike="noStrike" cap="none">
                <a:solidFill>
                  <a:schemeClr val="accent1"/>
                </a:solidFill>
                <a:latin typeface="Franklin Gothic"/>
                <a:ea typeface="Franklin Gothic"/>
                <a:cs typeface="Franklin Gothic"/>
                <a:sym typeface="Franklin Gothic"/>
              </a:rPr>
              <a:t>3 hours</a:t>
            </a:r>
            <a:endParaRPr sz="1400" b="0" i="0" u="none" strike="noStrike" cap="none">
              <a:solidFill>
                <a:srgbClr val="000000"/>
              </a:solidFill>
              <a:latin typeface="Arial"/>
              <a:ea typeface="Arial"/>
              <a:cs typeface="Arial"/>
              <a:sym typeface="Arial"/>
            </a:endParaRPr>
          </a:p>
        </p:txBody>
      </p:sp>
      <p:sp>
        <p:nvSpPr>
          <p:cNvPr id="1599" name="Google Shape;1599;p12"/>
          <p:cNvSpPr/>
          <p:nvPr/>
        </p:nvSpPr>
        <p:spPr>
          <a:xfrm>
            <a:off x="9503386" y="1660371"/>
            <a:ext cx="1691361" cy="24622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0" i="0" u="none" strike="noStrike" cap="none">
                <a:solidFill>
                  <a:schemeClr val="accent1"/>
                </a:solidFill>
                <a:latin typeface="Franklin Gothic"/>
                <a:ea typeface="Franklin Gothic"/>
                <a:cs typeface="Franklin Gothic"/>
                <a:sym typeface="Franklin Gothic"/>
              </a:rPr>
              <a:t>4 hours per edition</a:t>
            </a:r>
            <a:endParaRPr sz="1400" b="0" i="0" u="none" strike="noStrike" cap="none">
              <a:solidFill>
                <a:srgbClr val="000000"/>
              </a:solidFill>
              <a:latin typeface="Arial"/>
              <a:ea typeface="Arial"/>
              <a:cs typeface="Arial"/>
              <a:sym typeface="Arial"/>
            </a:endParaRPr>
          </a:p>
        </p:txBody>
      </p:sp>
      <p:sp>
        <p:nvSpPr>
          <p:cNvPr id="1600" name="Google Shape;1600;p12"/>
          <p:cNvSpPr/>
          <p:nvPr/>
        </p:nvSpPr>
        <p:spPr>
          <a:xfrm>
            <a:off x="9503386" y="2514813"/>
            <a:ext cx="795282" cy="24622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0" i="0" u="none" strike="noStrike" cap="none">
                <a:solidFill>
                  <a:schemeClr val="accent1"/>
                </a:solidFill>
                <a:latin typeface="Franklin Gothic"/>
                <a:ea typeface="Franklin Gothic"/>
                <a:cs typeface="Franklin Gothic"/>
                <a:sym typeface="Franklin Gothic"/>
              </a:rPr>
              <a:t>40 hours</a:t>
            </a:r>
            <a:endParaRPr sz="1400" b="0" i="0" u="none" strike="noStrike" cap="none">
              <a:solidFill>
                <a:srgbClr val="000000"/>
              </a:solidFill>
              <a:latin typeface="Arial"/>
              <a:ea typeface="Arial"/>
              <a:cs typeface="Arial"/>
              <a:sym typeface="Arial"/>
            </a:endParaRPr>
          </a:p>
        </p:txBody>
      </p:sp>
      <p:sp>
        <p:nvSpPr>
          <p:cNvPr id="1601" name="Google Shape;1601;p12"/>
          <p:cNvSpPr/>
          <p:nvPr/>
        </p:nvSpPr>
        <p:spPr>
          <a:xfrm>
            <a:off x="9503386" y="3369255"/>
            <a:ext cx="795282" cy="24622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0" i="0" u="none" strike="noStrike" cap="none">
                <a:solidFill>
                  <a:schemeClr val="accent1"/>
                </a:solidFill>
                <a:latin typeface="Franklin Gothic"/>
                <a:ea typeface="Franklin Gothic"/>
                <a:cs typeface="Franklin Gothic"/>
                <a:sym typeface="Franklin Gothic"/>
              </a:rPr>
              <a:t>80 hours</a:t>
            </a:r>
            <a:endParaRPr sz="1400" b="0" i="0" u="none" strike="noStrike" cap="none">
              <a:solidFill>
                <a:srgbClr val="000000"/>
              </a:solidFill>
              <a:latin typeface="Arial"/>
              <a:ea typeface="Arial"/>
              <a:cs typeface="Arial"/>
              <a:sym typeface="Arial"/>
            </a:endParaRPr>
          </a:p>
        </p:txBody>
      </p:sp>
      <p:sp>
        <p:nvSpPr>
          <p:cNvPr id="1602" name="Google Shape;1602;p12"/>
          <p:cNvSpPr/>
          <p:nvPr/>
        </p:nvSpPr>
        <p:spPr>
          <a:xfrm>
            <a:off x="9503386" y="4223697"/>
            <a:ext cx="795282" cy="24622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0" i="0" u="none" strike="noStrike" cap="none">
                <a:solidFill>
                  <a:schemeClr val="accent1"/>
                </a:solidFill>
                <a:latin typeface="Franklin Gothic"/>
                <a:ea typeface="Franklin Gothic"/>
                <a:cs typeface="Franklin Gothic"/>
                <a:sym typeface="Franklin Gothic"/>
              </a:rPr>
              <a:t>60 hours</a:t>
            </a:r>
            <a:endParaRPr sz="1400" b="0" i="0" u="none" strike="noStrike" cap="none">
              <a:solidFill>
                <a:srgbClr val="000000"/>
              </a:solidFill>
              <a:latin typeface="Arial"/>
              <a:ea typeface="Arial"/>
              <a:cs typeface="Arial"/>
              <a:sym typeface="Arial"/>
            </a:endParaRPr>
          </a:p>
        </p:txBody>
      </p:sp>
      <p:sp>
        <p:nvSpPr>
          <p:cNvPr id="1603" name="Google Shape;1603;p12"/>
          <p:cNvSpPr/>
          <p:nvPr/>
        </p:nvSpPr>
        <p:spPr>
          <a:xfrm>
            <a:off x="9503386" y="5078139"/>
            <a:ext cx="1745351" cy="24622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0" i="0" u="none" strike="noStrike" cap="none">
                <a:solidFill>
                  <a:schemeClr val="accent1"/>
                </a:solidFill>
                <a:latin typeface="Franklin Gothic"/>
                <a:ea typeface="Franklin Gothic"/>
                <a:cs typeface="Franklin Gothic"/>
                <a:sym typeface="Franklin Gothic"/>
              </a:rPr>
              <a:t>4 hours per country</a:t>
            </a:r>
            <a:endParaRPr sz="1400" b="0" i="0" u="none" strike="noStrike" cap="none">
              <a:solidFill>
                <a:srgbClr val="000000"/>
              </a:solidFill>
              <a:latin typeface="Arial"/>
              <a:ea typeface="Arial"/>
              <a:cs typeface="Arial"/>
              <a:sym typeface="Arial"/>
            </a:endParaRPr>
          </a:p>
        </p:txBody>
      </p:sp>
      <p:sp>
        <p:nvSpPr>
          <p:cNvPr id="1604" name="Google Shape;1604;p12"/>
          <p:cNvSpPr/>
          <p:nvPr/>
        </p:nvSpPr>
        <p:spPr>
          <a:xfrm>
            <a:off x="9503386" y="5932581"/>
            <a:ext cx="675057" cy="24622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0" i="0" u="none" strike="noStrike" cap="none">
                <a:solidFill>
                  <a:schemeClr val="accent1"/>
                </a:solidFill>
                <a:latin typeface="Franklin Gothic"/>
                <a:ea typeface="Franklin Gothic"/>
                <a:cs typeface="Franklin Gothic"/>
                <a:sym typeface="Franklin Gothic"/>
              </a:rPr>
              <a:t>6 hours</a:t>
            </a:r>
            <a:endParaRPr sz="1400" b="0" i="0" u="none" strike="noStrike" cap="none">
              <a:solidFill>
                <a:srgbClr val="000000"/>
              </a:solidFill>
              <a:latin typeface="Arial"/>
              <a:ea typeface="Arial"/>
              <a:cs typeface="Arial"/>
              <a:sym typeface="Arial"/>
            </a:endParaRPr>
          </a:p>
        </p:txBody>
      </p:sp>
      <p:sp>
        <p:nvSpPr>
          <p:cNvPr id="1605" name="Google Shape;1605;p12"/>
          <p:cNvSpPr/>
          <p:nvPr/>
        </p:nvSpPr>
        <p:spPr>
          <a:xfrm>
            <a:off x="383154" y="6114922"/>
            <a:ext cx="2530586" cy="618440"/>
          </a:xfrm>
          <a:prstGeom prst="roundRect">
            <a:avLst>
              <a:gd name="adj" fmla="val 16667"/>
            </a:avLst>
          </a:pr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0" i="1" u="none" strike="noStrike" cap="none">
                <a:solidFill>
                  <a:srgbClr val="7F7F7F"/>
                </a:solidFill>
                <a:latin typeface="Calibri"/>
                <a:ea typeface="Calibri"/>
                <a:cs typeface="Calibri"/>
                <a:sym typeface="Calibri"/>
              </a:rPr>
              <a:t>These figures are estimates, timings can vary depending on complexity of work and scope. These are illustrative only.</a:t>
            </a:r>
            <a:endParaRPr sz="1400" b="0" i="0" u="none" strike="noStrike" cap="none">
              <a:solidFill>
                <a:srgbClr val="000000"/>
              </a:solidFill>
              <a:latin typeface="Arial"/>
              <a:ea typeface="Arial"/>
              <a:cs typeface="Arial"/>
              <a:sym typeface="Arial"/>
            </a:endParaRPr>
          </a:p>
        </p:txBody>
      </p:sp>
      <p:cxnSp>
        <p:nvCxnSpPr>
          <p:cNvPr id="1606" name="Google Shape;1606;p12"/>
          <p:cNvCxnSpPr/>
          <p:nvPr/>
        </p:nvCxnSpPr>
        <p:spPr>
          <a:xfrm>
            <a:off x="4872941" y="1356260"/>
            <a:ext cx="6607853" cy="0"/>
          </a:xfrm>
          <a:prstGeom prst="straightConnector1">
            <a:avLst/>
          </a:prstGeom>
          <a:noFill/>
          <a:ln w="9525" cap="flat" cmpd="sng">
            <a:solidFill>
              <a:srgbClr val="BFBFBF"/>
            </a:solidFill>
            <a:prstDash val="dash"/>
            <a:miter lim="800000"/>
            <a:headEnd type="none" w="sm" len="sm"/>
            <a:tailEnd type="none" w="sm" len="sm"/>
          </a:ln>
        </p:spPr>
      </p:cxnSp>
      <p:cxnSp>
        <p:nvCxnSpPr>
          <p:cNvPr id="1607" name="Google Shape;1607;p12"/>
          <p:cNvCxnSpPr/>
          <p:nvPr/>
        </p:nvCxnSpPr>
        <p:spPr>
          <a:xfrm>
            <a:off x="4897235" y="2210702"/>
            <a:ext cx="6607853" cy="0"/>
          </a:xfrm>
          <a:prstGeom prst="straightConnector1">
            <a:avLst/>
          </a:prstGeom>
          <a:noFill/>
          <a:ln w="9525" cap="flat" cmpd="sng">
            <a:solidFill>
              <a:srgbClr val="BFBFBF"/>
            </a:solidFill>
            <a:prstDash val="dash"/>
            <a:miter lim="800000"/>
            <a:headEnd type="none" w="sm" len="sm"/>
            <a:tailEnd type="none" w="sm" len="sm"/>
          </a:ln>
        </p:spPr>
      </p:cxnSp>
      <p:cxnSp>
        <p:nvCxnSpPr>
          <p:cNvPr id="1608" name="Google Shape;1608;p12"/>
          <p:cNvCxnSpPr/>
          <p:nvPr/>
        </p:nvCxnSpPr>
        <p:spPr>
          <a:xfrm>
            <a:off x="4872941" y="3065144"/>
            <a:ext cx="6607853" cy="0"/>
          </a:xfrm>
          <a:prstGeom prst="straightConnector1">
            <a:avLst/>
          </a:prstGeom>
          <a:noFill/>
          <a:ln w="9525" cap="flat" cmpd="sng">
            <a:solidFill>
              <a:srgbClr val="BFBFBF"/>
            </a:solidFill>
            <a:prstDash val="dash"/>
            <a:miter lim="800000"/>
            <a:headEnd type="none" w="sm" len="sm"/>
            <a:tailEnd type="none" w="sm" len="sm"/>
          </a:ln>
        </p:spPr>
      </p:cxnSp>
      <p:cxnSp>
        <p:nvCxnSpPr>
          <p:cNvPr id="1609" name="Google Shape;1609;p12"/>
          <p:cNvCxnSpPr/>
          <p:nvPr/>
        </p:nvCxnSpPr>
        <p:spPr>
          <a:xfrm>
            <a:off x="4872941" y="3919586"/>
            <a:ext cx="6607853" cy="0"/>
          </a:xfrm>
          <a:prstGeom prst="straightConnector1">
            <a:avLst/>
          </a:prstGeom>
          <a:noFill/>
          <a:ln w="9525" cap="flat" cmpd="sng">
            <a:solidFill>
              <a:srgbClr val="BFBFBF"/>
            </a:solidFill>
            <a:prstDash val="dash"/>
            <a:miter lim="800000"/>
            <a:headEnd type="none" w="sm" len="sm"/>
            <a:tailEnd type="none" w="sm" len="sm"/>
          </a:ln>
        </p:spPr>
      </p:cxnSp>
      <p:cxnSp>
        <p:nvCxnSpPr>
          <p:cNvPr id="1610" name="Google Shape;1610;p12"/>
          <p:cNvCxnSpPr/>
          <p:nvPr/>
        </p:nvCxnSpPr>
        <p:spPr>
          <a:xfrm>
            <a:off x="4897235" y="4774028"/>
            <a:ext cx="6607853" cy="0"/>
          </a:xfrm>
          <a:prstGeom prst="straightConnector1">
            <a:avLst/>
          </a:prstGeom>
          <a:noFill/>
          <a:ln w="9525" cap="flat" cmpd="sng">
            <a:solidFill>
              <a:srgbClr val="BFBFBF"/>
            </a:solidFill>
            <a:prstDash val="dash"/>
            <a:miter lim="800000"/>
            <a:headEnd type="none" w="sm" len="sm"/>
            <a:tailEnd type="none" w="sm" len="sm"/>
          </a:ln>
        </p:spPr>
      </p:cxnSp>
      <p:cxnSp>
        <p:nvCxnSpPr>
          <p:cNvPr id="1611" name="Google Shape;1611;p12"/>
          <p:cNvCxnSpPr/>
          <p:nvPr/>
        </p:nvCxnSpPr>
        <p:spPr>
          <a:xfrm>
            <a:off x="4897235" y="5628470"/>
            <a:ext cx="6607853" cy="0"/>
          </a:xfrm>
          <a:prstGeom prst="straightConnector1">
            <a:avLst/>
          </a:prstGeom>
          <a:noFill/>
          <a:ln w="9525" cap="flat" cmpd="sng">
            <a:solidFill>
              <a:srgbClr val="BFBFBF"/>
            </a:solidFill>
            <a:prstDash val="dash"/>
            <a:miter lim="800000"/>
            <a:headEnd type="none" w="sm" len="sm"/>
            <a:tailEnd type="none" w="sm" len="sm"/>
          </a:ln>
        </p:spPr>
      </p:cxnSp>
      <p:sp>
        <p:nvSpPr>
          <p:cNvPr id="1612" name="Google Shape;1612;p12"/>
          <p:cNvSpPr txBox="1"/>
          <p:nvPr/>
        </p:nvSpPr>
        <p:spPr>
          <a:xfrm>
            <a:off x="4872941" y="532083"/>
            <a:ext cx="2869503" cy="738664"/>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222222"/>
              </a:buClr>
              <a:buSzPts val="1600"/>
              <a:buFont typeface="Calibri"/>
              <a:buNone/>
            </a:pPr>
            <a:r>
              <a:rPr lang="en-US" sz="1600" b="0" i="0" u="none" strike="noStrike" cap="none">
                <a:solidFill>
                  <a:srgbClr val="222222"/>
                </a:solidFill>
                <a:latin typeface="Calibri"/>
                <a:ea typeface="Calibri"/>
                <a:cs typeface="Calibri"/>
                <a:sym typeface="Calibri"/>
              </a:rPr>
              <a:t>A simple request </a:t>
            </a:r>
            <a:endParaRPr sz="1400" b="0" i="0" u="none" strike="noStrike" cap="none">
              <a:solidFill>
                <a:srgbClr val="000000"/>
              </a:solidFill>
              <a:latin typeface="Arial"/>
              <a:ea typeface="Arial"/>
              <a:cs typeface="Arial"/>
              <a:sym typeface="Arial"/>
            </a:endParaRPr>
          </a:p>
          <a:p>
            <a:pPr marL="285750" marR="0" lvl="1" indent="-285750" algn="l" rtl="0">
              <a:lnSpc>
                <a:spcPct val="100000"/>
              </a:lnSpc>
              <a:spcBef>
                <a:spcPts val="0"/>
              </a:spcBef>
              <a:spcAft>
                <a:spcPts val="0"/>
              </a:spcAft>
              <a:buClr>
                <a:schemeClr val="dk2"/>
              </a:buClr>
              <a:buSzPts val="1600"/>
              <a:buFont typeface="Noto Sans Symbols"/>
              <a:buChar char="▪"/>
            </a:pPr>
            <a:r>
              <a:rPr lang="en-US" sz="1600" b="0" i="0" u="none" strike="noStrike" cap="none">
                <a:solidFill>
                  <a:srgbClr val="222222"/>
                </a:solidFill>
                <a:latin typeface="Calibri"/>
                <a:ea typeface="Calibri"/>
                <a:cs typeface="Calibri"/>
                <a:sym typeface="Calibri"/>
              </a:rPr>
              <a:t>Five company profiles</a:t>
            </a:r>
            <a:endParaRPr sz="1400" b="0" i="0" u="none" strike="noStrike" cap="none">
              <a:solidFill>
                <a:srgbClr val="000000"/>
              </a:solidFill>
              <a:latin typeface="Arial"/>
              <a:ea typeface="Arial"/>
              <a:cs typeface="Arial"/>
              <a:sym typeface="Arial"/>
            </a:endParaRPr>
          </a:p>
          <a:p>
            <a:pPr marL="285750" marR="0" lvl="1" indent="-285750" algn="l" rtl="0">
              <a:lnSpc>
                <a:spcPct val="100000"/>
              </a:lnSpc>
              <a:spcBef>
                <a:spcPts val="0"/>
              </a:spcBef>
              <a:spcAft>
                <a:spcPts val="0"/>
              </a:spcAft>
              <a:buClr>
                <a:schemeClr val="dk2"/>
              </a:buClr>
              <a:buSzPts val="1600"/>
              <a:buFont typeface="Noto Sans Symbols"/>
              <a:buChar char="▪"/>
            </a:pPr>
            <a:r>
              <a:rPr lang="en-US" sz="1600" b="0" i="0" u="none" strike="noStrike" cap="none">
                <a:solidFill>
                  <a:srgbClr val="222222"/>
                </a:solidFill>
                <a:latin typeface="Calibri"/>
                <a:ea typeface="Calibri"/>
                <a:cs typeface="Calibri"/>
                <a:sym typeface="Calibri"/>
              </a:rPr>
              <a:t>A press search with a summary</a:t>
            </a:r>
            <a:endParaRPr sz="1400" b="0" i="0" u="none" strike="noStrike" cap="none">
              <a:solidFill>
                <a:srgbClr val="000000"/>
              </a:solidFill>
              <a:latin typeface="Arial"/>
              <a:ea typeface="Arial"/>
              <a:cs typeface="Arial"/>
              <a:sym typeface="Arial"/>
            </a:endParaRPr>
          </a:p>
        </p:txBody>
      </p:sp>
      <p:sp>
        <p:nvSpPr>
          <p:cNvPr id="1613" name="Google Shape;1613;p12"/>
          <p:cNvSpPr txBox="1"/>
          <p:nvPr/>
        </p:nvSpPr>
        <p:spPr>
          <a:xfrm>
            <a:off x="4872941" y="1660371"/>
            <a:ext cx="3016531" cy="246221"/>
          </a:xfrm>
          <a:prstGeom prst="rect">
            <a:avLst/>
          </a:prstGeom>
          <a:noFill/>
          <a:ln>
            <a:noFill/>
          </a:ln>
        </p:spPr>
        <p:txBody>
          <a:bodyPr spcFirstLastPara="1" wrap="square" lIns="0" tIns="0" rIns="0" bIns="0" anchor="ctr" anchorCtr="0">
            <a:spAutoFit/>
          </a:bodyPr>
          <a:lstStyle/>
          <a:p>
            <a:pPr marL="342900" marR="0" lvl="0" indent="-342900" algn="l" rtl="0">
              <a:lnSpc>
                <a:spcPct val="100000"/>
              </a:lnSpc>
              <a:spcBef>
                <a:spcPts val="0"/>
              </a:spcBef>
              <a:spcAft>
                <a:spcPts val="0"/>
              </a:spcAft>
              <a:buClr>
                <a:srgbClr val="222222"/>
              </a:buClr>
              <a:buSzPts val="1600"/>
              <a:buFont typeface="Calibri"/>
              <a:buNone/>
            </a:pPr>
            <a:r>
              <a:rPr lang="en-US" sz="1600" b="0" i="0" u="none" strike="noStrike" cap="none">
                <a:solidFill>
                  <a:srgbClr val="222222"/>
                </a:solidFill>
                <a:latin typeface="Calibri"/>
                <a:ea typeface="Calibri"/>
                <a:cs typeface="Calibri"/>
                <a:sym typeface="Calibri"/>
              </a:rPr>
              <a:t>A weekly news digest on an industry</a:t>
            </a:r>
            <a:endParaRPr sz="1400" b="0" i="0" u="none" strike="noStrike" cap="none">
              <a:solidFill>
                <a:srgbClr val="000000"/>
              </a:solidFill>
              <a:latin typeface="Arial"/>
              <a:ea typeface="Arial"/>
              <a:cs typeface="Arial"/>
              <a:sym typeface="Arial"/>
            </a:endParaRPr>
          </a:p>
        </p:txBody>
      </p:sp>
      <p:sp>
        <p:nvSpPr>
          <p:cNvPr id="1614" name="Google Shape;1614;p12"/>
          <p:cNvSpPr txBox="1"/>
          <p:nvPr/>
        </p:nvSpPr>
        <p:spPr>
          <a:xfrm>
            <a:off x="4872941" y="2391702"/>
            <a:ext cx="2998737" cy="492443"/>
          </a:xfrm>
          <a:prstGeom prst="rect">
            <a:avLst/>
          </a:prstGeom>
          <a:noFill/>
          <a:ln>
            <a:noFill/>
          </a:ln>
        </p:spPr>
        <p:txBody>
          <a:bodyPr spcFirstLastPara="1" wrap="square" lIns="0" tIns="0" rIns="0" bIns="0" anchor="ctr" anchorCtr="0">
            <a:spAutoFit/>
          </a:bodyPr>
          <a:lstStyle/>
          <a:p>
            <a:pPr marL="0" marR="0" lvl="0" indent="15875" algn="l" rtl="0">
              <a:lnSpc>
                <a:spcPct val="100000"/>
              </a:lnSpc>
              <a:spcBef>
                <a:spcPts val="0"/>
              </a:spcBef>
              <a:spcAft>
                <a:spcPts val="0"/>
              </a:spcAft>
              <a:buClr>
                <a:srgbClr val="222222"/>
              </a:buClr>
              <a:buSzPts val="1600"/>
              <a:buFont typeface="Calibri"/>
              <a:buNone/>
            </a:pPr>
            <a:r>
              <a:rPr lang="en-US" sz="1600" b="0" i="0" u="none" strike="noStrike" cap="none">
                <a:solidFill>
                  <a:srgbClr val="222222"/>
                </a:solidFill>
                <a:latin typeface="Calibri"/>
                <a:ea typeface="Calibri"/>
                <a:cs typeface="Calibri"/>
                <a:sym typeface="Calibri"/>
              </a:rPr>
              <a:t>A company screening, including longlisting, shortlisting and profiling</a:t>
            </a:r>
            <a:endParaRPr sz="1400" b="0" i="0" u="none" strike="noStrike" cap="none">
              <a:solidFill>
                <a:srgbClr val="000000"/>
              </a:solidFill>
              <a:latin typeface="Arial"/>
              <a:ea typeface="Arial"/>
              <a:cs typeface="Arial"/>
              <a:sym typeface="Arial"/>
            </a:endParaRPr>
          </a:p>
        </p:txBody>
      </p:sp>
      <p:sp>
        <p:nvSpPr>
          <p:cNvPr id="1615" name="Google Shape;1615;p12"/>
          <p:cNvSpPr txBox="1"/>
          <p:nvPr/>
        </p:nvSpPr>
        <p:spPr>
          <a:xfrm>
            <a:off x="4872941" y="3369255"/>
            <a:ext cx="1322798" cy="246221"/>
          </a:xfrm>
          <a:prstGeom prst="rect">
            <a:avLst/>
          </a:prstGeom>
          <a:noFill/>
          <a:ln>
            <a:noFill/>
          </a:ln>
        </p:spPr>
        <p:txBody>
          <a:bodyPr spcFirstLastPara="1" wrap="square" lIns="0" tIns="0" rIns="0" bIns="0" anchor="ctr" anchorCtr="0">
            <a:spAutoFit/>
          </a:bodyPr>
          <a:lstStyle/>
          <a:p>
            <a:pPr marL="0" marR="0" lvl="0" indent="15875" algn="l" rtl="0">
              <a:lnSpc>
                <a:spcPct val="100000"/>
              </a:lnSpc>
              <a:spcBef>
                <a:spcPts val="0"/>
              </a:spcBef>
              <a:spcAft>
                <a:spcPts val="0"/>
              </a:spcAft>
              <a:buClr>
                <a:srgbClr val="222222"/>
              </a:buClr>
              <a:buSzPts val="1600"/>
              <a:buFont typeface="Calibri"/>
              <a:buNone/>
            </a:pPr>
            <a:r>
              <a:rPr lang="en-US" sz="1600" b="0" i="0" u="none" strike="noStrike" cap="none">
                <a:solidFill>
                  <a:srgbClr val="222222"/>
                </a:solidFill>
                <a:latin typeface="Calibri"/>
                <a:ea typeface="Calibri"/>
                <a:cs typeface="Calibri"/>
                <a:sym typeface="Calibri"/>
              </a:rPr>
              <a:t>A market sizing </a:t>
            </a:r>
            <a:endParaRPr sz="1400" b="0" i="0" u="none" strike="noStrike" cap="none">
              <a:solidFill>
                <a:srgbClr val="000000"/>
              </a:solidFill>
              <a:latin typeface="Arial"/>
              <a:ea typeface="Arial"/>
              <a:cs typeface="Arial"/>
              <a:sym typeface="Arial"/>
            </a:endParaRPr>
          </a:p>
        </p:txBody>
      </p:sp>
      <p:sp>
        <p:nvSpPr>
          <p:cNvPr id="1616" name="Google Shape;1616;p12"/>
          <p:cNvSpPr txBox="1"/>
          <p:nvPr/>
        </p:nvSpPr>
        <p:spPr>
          <a:xfrm>
            <a:off x="4872941" y="4100586"/>
            <a:ext cx="2858347" cy="492443"/>
          </a:xfrm>
          <a:prstGeom prst="rect">
            <a:avLst/>
          </a:prstGeom>
          <a:noFill/>
          <a:ln>
            <a:noFill/>
          </a:ln>
        </p:spPr>
        <p:txBody>
          <a:bodyPr spcFirstLastPara="1" wrap="square" lIns="0" tIns="0" rIns="0" bIns="0" anchor="ctr" anchorCtr="0">
            <a:spAutoFit/>
          </a:bodyPr>
          <a:lstStyle/>
          <a:p>
            <a:pPr marL="0" marR="0" lvl="0" indent="15875" algn="l" rtl="0">
              <a:lnSpc>
                <a:spcPct val="100000"/>
              </a:lnSpc>
              <a:spcBef>
                <a:spcPts val="0"/>
              </a:spcBef>
              <a:spcAft>
                <a:spcPts val="0"/>
              </a:spcAft>
              <a:buClr>
                <a:srgbClr val="222222"/>
              </a:buClr>
              <a:buSzPts val="1600"/>
              <a:buFont typeface="Calibri"/>
              <a:buNone/>
            </a:pPr>
            <a:r>
              <a:rPr lang="en-US" sz="1600" b="0" i="0" u="none" strike="noStrike" cap="none">
                <a:solidFill>
                  <a:srgbClr val="222222"/>
                </a:solidFill>
                <a:latin typeface="Calibri"/>
                <a:ea typeface="Calibri"/>
                <a:cs typeface="Calibri"/>
                <a:sym typeface="Calibri"/>
              </a:rPr>
              <a:t>A market landscaping</a:t>
            </a:r>
            <a:endParaRPr sz="1400" b="0" i="0" u="none" strike="noStrike" cap="none">
              <a:solidFill>
                <a:srgbClr val="000000"/>
              </a:solidFill>
              <a:latin typeface="Arial"/>
              <a:ea typeface="Arial"/>
              <a:cs typeface="Arial"/>
              <a:sym typeface="Arial"/>
            </a:endParaRPr>
          </a:p>
          <a:p>
            <a:pPr marL="285750" marR="0" lvl="1" indent="-285750" algn="l" rtl="0">
              <a:lnSpc>
                <a:spcPct val="100000"/>
              </a:lnSpc>
              <a:spcBef>
                <a:spcPts val="0"/>
              </a:spcBef>
              <a:spcAft>
                <a:spcPts val="0"/>
              </a:spcAft>
              <a:buClr>
                <a:schemeClr val="dk2"/>
              </a:buClr>
              <a:buSzPts val="1600"/>
              <a:buFont typeface="Noto Sans Symbols"/>
              <a:buChar char="▪"/>
            </a:pPr>
            <a:r>
              <a:rPr lang="en-US" sz="1600" b="0" i="0" u="none" strike="noStrike" cap="none">
                <a:solidFill>
                  <a:srgbClr val="222222"/>
                </a:solidFill>
                <a:latin typeface="Calibri"/>
                <a:ea typeface="Calibri"/>
                <a:cs typeface="Calibri"/>
                <a:sym typeface="Calibri"/>
              </a:rPr>
              <a:t>Players, value chain, regulation</a:t>
            </a:r>
            <a:endParaRPr sz="1400" b="0" i="0" u="none" strike="noStrike" cap="none">
              <a:solidFill>
                <a:srgbClr val="000000"/>
              </a:solidFill>
              <a:latin typeface="Arial"/>
              <a:ea typeface="Arial"/>
              <a:cs typeface="Arial"/>
              <a:sym typeface="Arial"/>
            </a:endParaRPr>
          </a:p>
        </p:txBody>
      </p:sp>
      <p:sp>
        <p:nvSpPr>
          <p:cNvPr id="1617" name="Google Shape;1617;p12"/>
          <p:cNvSpPr txBox="1"/>
          <p:nvPr/>
        </p:nvSpPr>
        <p:spPr>
          <a:xfrm>
            <a:off x="4872941" y="5078139"/>
            <a:ext cx="2736005" cy="246221"/>
          </a:xfrm>
          <a:prstGeom prst="rect">
            <a:avLst/>
          </a:prstGeom>
          <a:noFill/>
          <a:ln>
            <a:noFill/>
          </a:ln>
        </p:spPr>
        <p:txBody>
          <a:bodyPr spcFirstLastPara="1" wrap="square" lIns="0" tIns="0" rIns="0" bIns="0" anchor="ctr" anchorCtr="0">
            <a:spAutoFit/>
          </a:bodyPr>
          <a:lstStyle/>
          <a:p>
            <a:pPr marL="285750" marR="0" lvl="0" indent="-285750" algn="l" rtl="0">
              <a:lnSpc>
                <a:spcPct val="100000"/>
              </a:lnSpc>
              <a:spcBef>
                <a:spcPts val="0"/>
              </a:spcBef>
              <a:spcAft>
                <a:spcPts val="0"/>
              </a:spcAft>
              <a:buClr>
                <a:srgbClr val="222222"/>
              </a:buClr>
              <a:buSzPts val="1600"/>
              <a:buFont typeface="Calibri"/>
              <a:buNone/>
            </a:pPr>
            <a:r>
              <a:rPr lang="en-US" sz="1600" b="0" i="0" u="none" strike="noStrike" cap="none">
                <a:solidFill>
                  <a:srgbClr val="222222"/>
                </a:solidFill>
                <a:latin typeface="Calibri"/>
                <a:ea typeface="Calibri"/>
                <a:cs typeface="Calibri"/>
                <a:sym typeface="Calibri"/>
              </a:rPr>
              <a:t>A database with market statistics</a:t>
            </a:r>
            <a:endParaRPr sz="1400" b="0" i="0" u="none" strike="noStrike" cap="none">
              <a:solidFill>
                <a:srgbClr val="000000"/>
              </a:solidFill>
              <a:latin typeface="Arial"/>
              <a:ea typeface="Arial"/>
              <a:cs typeface="Arial"/>
              <a:sym typeface="Arial"/>
            </a:endParaRPr>
          </a:p>
        </p:txBody>
      </p:sp>
      <p:sp>
        <p:nvSpPr>
          <p:cNvPr id="1618" name="Google Shape;1618;p12"/>
          <p:cNvSpPr txBox="1"/>
          <p:nvPr/>
        </p:nvSpPr>
        <p:spPr>
          <a:xfrm>
            <a:off x="4872941" y="5809470"/>
            <a:ext cx="3112262" cy="49244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222222"/>
              </a:buClr>
              <a:buSzPts val="1600"/>
              <a:buFont typeface="Calibri"/>
              <a:buNone/>
            </a:pPr>
            <a:r>
              <a:rPr lang="en-US" sz="1600" b="0" i="0" u="none" strike="noStrike" cap="none">
                <a:solidFill>
                  <a:srgbClr val="222222"/>
                </a:solidFill>
                <a:latin typeface="Calibri"/>
                <a:ea typeface="Calibri"/>
                <a:cs typeface="Calibri"/>
                <a:sym typeface="Calibri"/>
              </a:rPr>
              <a:t>An in-depth interview with an expert</a:t>
            </a:r>
            <a:br>
              <a:rPr lang="en-US" sz="1600" b="0" i="0" u="none" strike="noStrike" cap="none">
                <a:solidFill>
                  <a:srgbClr val="222222"/>
                </a:solidFill>
                <a:latin typeface="Calibri"/>
                <a:ea typeface="Calibri"/>
                <a:cs typeface="Calibri"/>
                <a:sym typeface="Calibri"/>
              </a:rPr>
            </a:br>
            <a:r>
              <a:rPr lang="en-US" sz="1600" b="0" i="0" u="none" strike="noStrike" cap="none">
                <a:solidFill>
                  <a:srgbClr val="222222"/>
                </a:solidFill>
                <a:latin typeface="Calibri"/>
                <a:ea typeface="Calibri"/>
                <a:cs typeface="Calibri"/>
                <a:sym typeface="Calibri"/>
              </a:rPr>
              <a:t>(incl. meeting notes)</a:t>
            </a:r>
            <a:endParaRPr sz="1400" b="0" i="0" u="none" strike="noStrike" cap="none">
              <a:solidFill>
                <a:srgbClr val="000000"/>
              </a:solidFill>
              <a:latin typeface="Arial"/>
              <a:ea typeface="Arial"/>
              <a:cs typeface="Arial"/>
              <a:sym typeface="Arial"/>
            </a:endParaRPr>
          </a:p>
        </p:txBody>
      </p:sp>
      <p:cxnSp>
        <p:nvCxnSpPr>
          <p:cNvPr id="1619" name="Google Shape;1619;p12"/>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grpSp>
        <p:nvGrpSpPr>
          <p:cNvPr id="1620" name="Google Shape;1620;p12"/>
          <p:cNvGrpSpPr/>
          <p:nvPr/>
        </p:nvGrpSpPr>
        <p:grpSpPr>
          <a:xfrm>
            <a:off x="10976464" y="135255"/>
            <a:ext cx="1046733" cy="468742"/>
            <a:chOff x="10976464" y="135255"/>
            <a:chExt cx="1046733" cy="468742"/>
          </a:xfrm>
        </p:grpSpPr>
        <p:sp>
          <p:nvSpPr>
            <p:cNvPr id="1621" name="Google Shape;1621;p12"/>
            <p:cNvSpPr txBox="1"/>
            <p:nvPr/>
          </p:nvSpPr>
          <p:spPr>
            <a:xfrm>
              <a:off x="10976464" y="292682"/>
              <a:ext cx="533800" cy="153888"/>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Research</a:t>
              </a:r>
              <a:endParaRPr sz="1400" b="0" i="0" u="none" strike="noStrike" cap="none">
                <a:solidFill>
                  <a:srgbClr val="000000"/>
                </a:solidFill>
                <a:latin typeface="Arial"/>
                <a:ea typeface="Arial"/>
                <a:cs typeface="Arial"/>
                <a:sym typeface="Arial"/>
              </a:endParaRPr>
            </a:p>
          </p:txBody>
        </p:sp>
        <p:sp>
          <p:nvSpPr>
            <p:cNvPr id="1622" name="Google Shape;1622;p12"/>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pic>
          <p:nvPicPr>
            <p:cNvPr id="1623" name="Google Shape;1623;p12"/>
            <p:cNvPicPr preferRelativeResize="0"/>
            <p:nvPr/>
          </p:nvPicPr>
          <p:blipFill rotWithShape="1">
            <a:blip r:embed="rId3">
              <a:alphaModFix/>
            </a:blip>
            <a:srcRect/>
            <a:stretch/>
          </p:blipFill>
          <p:spPr>
            <a:xfrm>
              <a:off x="11641138" y="237175"/>
              <a:ext cx="269974" cy="269974"/>
            </a:xfrm>
            <a:prstGeom prst="rect">
              <a:avLst/>
            </a:prstGeom>
            <a:noFill/>
            <a:ln>
              <a:noFill/>
            </a:ln>
          </p:spPr>
        </p:pic>
      </p:grpSp>
      <p:pic>
        <p:nvPicPr>
          <p:cNvPr id="1624" name="Google Shape;1624;p12"/>
          <p:cNvPicPr preferRelativeResize="0"/>
          <p:nvPr/>
        </p:nvPicPr>
        <p:blipFill rotWithShape="1">
          <a:blip r:embed="rId4">
            <a:alphaModFix/>
          </a:blip>
          <a:srcRect/>
          <a:stretch/>
        </p:blipFill>
        <p:spPr>
          <a:xfrm>
            <a:off x="4134395" y="698072"/>
            <a:ext cx="446695" cy="446695"/>
          </a:xfrm>
          <a:prstGeom prst="rect">
            <a:avLst/>
          </a:prstGeom>
          <a:noFill/>
          <a:ln>
            <a:noFill/>
          </a:ln>
        </p:spPr>
      </p:pic>
      <p:pic>
        <p:nvPicPr>
          <p:cNvPr id="1625" name="Google Shape;1625;p12"/>
          <p:cNvPicPr preferRelativeResize="0"/>
          <p:nvPr/>
        </p:nvPicPr>
        <p:blipFill rotWithShape="1">
          <a:blip r:embed="rId5">
            <a:alphaModFix/>
          </a:blip>
          <a:srcRect/>
          <a:stretch/>
        </p:blipFill>
        <p:spPr>
          <a:xfrm>
            <a:off x="4103081" y="1581116"/>
            <a:ext cx="461818" cy="381034"/>
          </a:xfrm>
          <a:prstGeom prst="rect">
            <a:avLst/>
          </a:prstGeom>
          <a:noFill/>
          <a:ln>
            <a:noFill/>
          </a:ln>
        </p:spPr>
      </p:pic>
      <p:pic>
        <p:nvPicPr>
          <p:cNvPr id="1626" name="Google Shape;1626;p12"/>
          <p:cNvPicPr preferRelativeResize="0"/>
          <p:nvPr/>
        </p:nvPicPr>
        <p:blipFill rotWithShape="1">
          <a:blip r:embed="rId6">
            <a:alphaModFix/>
          </a:blip>
          <a:srcRect/>
          <a:stretch/>
        </p:blipFill>
        <p:spPr>
          <a:xfrm>
            <a:off x="4124065" y="2428745"/>
            <a:ext cx="418356" cy="418356"/>
          </a:xfrm>
          <a:prstGeom prst="rect">
            <a:avLst/>
          </a:prstGeom>
          <a:noFill/>
          <a:ln>
            <a:noFill/>
          </a:ln>
        </p:spPr>
      </p:pic>
      <p:pic>
        <p:nvPicPr>
          <p:cNvPr id="1627" name="Google Shape;1627;p12"/>
          <p:cNvPicPr preferRelativeResize="0"/>
          <p:nvPr/>
        </p:nvPicPr>
        <p:blipFill rotWithShape="1">
          <a:blip r:embed="rId7">
            <a:alphaModFix/>
          </a:blip>
          <a:srcRect/>
          <a:stretch/>
        </p:blipFill>
        <p:spPr>
          <a:xfrm>
            <a:off x="4136935" y="3265638"/>
            <a:ext cx="425715" cy="425715"/>
          </a:xfrm>
          <a:prstGeom prst="rect">
            <a:avLst/>
          </a:prstGeom>
          <a:noFill/>
          <a:ln>
            <a:noFill/>
          </a:ln>
        </p:spPr>
      </p:pic>
      <p:pic>
        <p:nvPicPr>
          <p:cNvPr id="1628" name="Google Shape;1628;p12"/>
          <p:cNvPicPr preferRelativeResize="0"/>
          <p:nvPr/>
        </p:nvPicPr>
        <p:blipFill rotWithShape="1">
          <a:blip r:embed="rId8">
            <a:alphaModFix/>
          </a:blip>
          <a:srcRect/>
          <a:stretch/>
        </p:blipFill>
        <p:spPr>
          <a:xfrm>
            <a:off x="4079549" y="5841640"/>
            <a:ext cx="429620" cy="429620"/>
          </a:xfrm>
          <a:prstGeom prst="rect">
            <a:avLst/>
          </a:prstGeom>
          <a:noFill/>
          <a:ln>
            <a:noFill/>
          </a:ln>
        </p:spPr>
      </p:pic>
      <p:pic>
        <p:nvPicPr>
          <p:cNvPr id="1629" name="Google Shape;1629;p12"/>
          <p:cNvPicPr preferRelativeResize="0"/>
          <p:nvPr/>
        </p:nvPicPr>
        <p:blipFill rotWithShape="1">
          <a:blip r:embed="rId9">
            <a:alphaModFix/>
          </a:blip>
          <a:srcRect/>
          <a:stretch/>
        </p:blipFill>
        <p:spPr>
          <a:xfrm>
            <a:off x="4118774" y="5006834"/>
            <a:ext cx="414424" cy="414424"/>
          </a:xfrm>
          <a:prstGeom prst="rect">
            <a:avLst/>
          </a:prstGeom>
          <a:noFill/>
          <a:ln>
            <a:noFill/>
          </a:ln>
        </p:spPr>
      </p:pic>
      <p:pic>
        <p:nvPicPr>
          <p:cNvPr id="1630" name="Google Shape;1630;p12"/>
          <p:cNvPicPr preferRelativeResize="0"/>
          <p:nvPr/>
        </p:nvPicPr>
        <p:blipFill rotWithShape="1">
          <a:blip r:embed="rId10">
            <a:alphaModFix/>
          </a:blip>
          <a:srcRect/>
          <a:stretch/>
        </p:blipFill>
        <p:spPr>
          <a:xfrm>
            <a:off x="4125030" y="4138594"/>
            <a:ext cx="416426" cy="416426"/>
          </a:xfrm>
          <a:prstGeom prst="rect">
            <a:avLst/>
          </a:prstGeom>
          <a:noFill/>
          <a:ln>
            <a:no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635"/>
        <p:cNvGrpSpPr/>
        <p:nvPr/>
      </p:nvGrpSpPr>
      <p:grpSpPr>
        <a:xfrm>
          <a:off x="0" y="0"/>
          <a:ext cx="0" cy="0"/>
          <a:chOff x="0" y="0"/>
          <a:chExt cx="0" cy="0"/>
        </a:xfrm>
      </p:grpSpPr>
      <p:sp>
        <p:nvSpPr>
          <p:cNvPr id="1636" name="Google Shape;1636;p75"/>
          <p:cNvSpPr txBox="1"/>
          <p:nvPr/>
        </p:nvSpPr>
        <p:spPr>
          <a:xfrm>
            <a:off x="540924" y="4011287"/>
            <a:ext cx="2334136" cy="92333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8E8E8E"/>
              </a:buClr>
              <a:buSzPts val="1200"/>
              <a:buFont typeface="Arial"/>
              <a:buNone/>
            </a:pPr>
            <a:r>
              <a:rPr lang="en-US" sz="1200" b="0" i="1" u="none" strike="noStrike" cap="none">
                <a:solidFill>
                  <a:srgbClr val="8E8E8E"/>
                </a:solidFill>
                <a:latin typeface="Calibri"/>
                <a:ea typeface="Calibri"/>
                <a:cs typeface="Calibri"/>
                <a:sym typeface="Calibri"/>
              </a:rPr>
              <a:t>“A big thank you to all those who worked on this request – your speed and flexibility is really an asset for us</a:t>
            </a:r>
            <a:r>
              <a:rPr lang="en-US" sz="1200" b="0" i="0" u="none" strike="noStrike" cap="none">
                <a:solidFill>
                  <a:srgbClr val="8E8E8E"/>
                </a:solidFill>
                <a:latin typeface="Calibri"/>
                <a:ea typeface="Calibri"/>
                <a:cs typeface="Calibri"/>
                <a:sym typeface="Calibri"/>
              </a:rPr>
              <a:t>.</a:t>
            </a:r>
            <a:r>
              <a:rPr lang="en-US" sz="1200" b="0" i="1" u="none" strike="noStrike" cap="none">
                <a:solidFill>
                  <a:srgbClr val="8E8E8E"/>
                </a:solidFill>
                <a:latin typeface="Calibri"/>
                <a:ea typeface="Calibri"/>
                <a:cs typeface="Calibri"/>
                <a:sym typeface="Calibri"/>
              </a:rPr>
              <a:t>”</a:t>
            </a:r>
            <a:endParaRPr sz="1400" b="0" i="0" u="none" strike="noStrike" cap="none">
              <a:solidFill>
                <a:srgbClr val="000000"/>
              </a:solidFill>
              <a:latin typeface="Arial"/>
              <a:ea typeface="Arial"/>
              <a:cs typeface="Arial"/>
              <a:sym typeface="Arial"/>
            </a:endParaRPr>
          </a:p>
          <a:p>
            <a:pPr marL="0" marR="0" lvl="0" indent="0" algn="r" rtl="0">
              <a:lnSpc>
                <a:spcPct val="100000"/>
              </a:lnSpc>
              <a:spcBef>
                <a:spcPts val="0"/>
              </a:spcBef>
              <a:spcAft>
                <a:spcPts val="0"/>
              </a:spcAft>
              <a:buClr>
                <a:srgbClr val="8E8E8E"/>
              </a:buClr>
              <a:buSzPts val="1200"/>
              <a:buFont typeface="Arial"/>
              <a:buNone/>
            </a:pPr>
            <a:r>
              <a:rPr lang="en-US" sz="1200" b="1" i="1" u="none" strike="noStrike" cap="none">
                <a:solidFill>
                  <a:srgbClr val="8E8E8E"/>
                </a:solidFill>
                <a:latin typeface="Calibri"/>
                <a:ea typeface="Calibri"/>
                <a:cs typeface="Calibri"/>
                <a:sym typeface="Calibri"/>
              </a:rPr>
              <a:t> ─ </a:t>
            </a:r>
            <a:r>
              <a:rPr lang="en-US" sz="1200" b="1" i="0" u="none" strike="noStrike" cap="none">
                <a:solidFill>
                  <a:srgbClr val="8E8E8E"/>
                </a:solidFill>
                <a:latin typeface="Calibri"/>
                <a:ea typeface="Calibri"/>
                <a:cs typeface="Calibri"/>
                <a:sym typeface="Calibri"/>
              </a:rPr>
              <a:t>Research Analyst (Client)</a:t>
            </a:r>
            <a:endParaRPr sz="1400" b="0" i="0" u="none" strike="noStrike" cap="none">
              <a:solidFill>
                <a:srgbClr val="000000"/>
              </a:solidFill>
              <a:latin typeface="Arial"/>
              <a:ea typeface="Arial"/>
              <a:cs typeface="Arial"/>
              <a:sym typeface="Arial"/>
            </a:endParaRPr>
          </a:p>
        </p:txBody>
      </p:sp>
      <p:sp>
        <p:nvSpPr>
          <p:cNvPr id="1637" name="Google Shape;1637;p75"/>
          <p:cNvSpPr txBox="1"/>
          <p:nvPr/>
        </p:nvSpPr>
        <p:spPr>
          <a:xfrm>
            <a:off x="540924" y="5083737"/>
            <a:ext cx="2334136" cy="73866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8E8E8E"/>
              </a:buClr>
              <a:buSzPts val="1200"/>
              <a:buFont typeface="Arial"/>
              <a:buNone/>
            </a:pPr>
            <a:r>
              <a:rPr lang="en-US" sz="1200" b="0" i="1" u="none" strike="noStrike" cap="none">
                <a:solidFill>
                  <a:srgbClr val="8E8E8E"/>
                </a:solidFill>
                <a:latin typeface="Calibri"/>
                <a:ea typeface="Calibri"/>
                <a:cs typeface="Calibri"/>
                <a:sym typeface="Calibri"/>
              </a:rPr>
              <a:t>“Thank you very much for the output, this is exactly what we needed in terms of content.”</a:t>
            </a:r>
            <a:endParaRPr sz="1400" b="0" i="0" u="none" strike="noStrike" cap="none">
              <a:solidFill>
                <a:srgbClr val="000000"/>
              </a:solidFill>
              <a:latin typeface="Arial"/>
              <a:ea typeface="Arial"/>
              <a:cs typeface="Arial"/>
              <a:sym typeface="Arial"/>
            </a:endParaRPr>
          </a:p>
          <a:p>
            <a:pPr marL="0" marR="0" lvl="0" indent="0" algn="r" rtl="0">
              <a:lnSpc>
                <a:spcPct val="100000"/>
              </a:lnSpc>
              <a:spcBef>
                <a:spcPts val="0"/>
              </a:spcBef>
              <a:spcAft>
                <a:spcPts val="0"/>
              </a:spcAft>
              <a:buClr>
                <a:srgbClr val="8E8E8E"/>
              </a:buClr>
              <a:buSzPts val="1200"/>
              <a:buFont typeface="Arial"/>
              <a:buNone/>
            </a:pPr>
            <a:r>
              <a:rPr lang="en-US" sz="1200" b="1" i="1" u="none" strike="noStrike" cap="none">
                <a:solidFill>
                  <a:srgbClr val="8E8E8E"/>
                </a:solidFill>
                <a:latin typeface="Calibri"/>
                <a:ea typeface="Calibri"/>
                <a:cs typeface="Calibri"/>
                <a:sym typeface="Calibri"/>
              </a:rPr>
              <a:t> ─ </a:t>
            </a:r>
            <a:r>
              <a:rPr lang="en-US" sz="1200" b="1" i="0" u="none" strike="noStrike" cap="none">
                <a:solidFill>
                  <a:srgbClr val="8E8E8E"/>
                </a:solidFill>
                <a:latin typeface="Calibri"/>
                <a:ea typeface="Calibri"/>
                <a:cs typeface="Calibri"/>
                <a:sym typeface="Calibri"/>
              </a:rPr>
              <a:t>Research Analyst (Client)</a:t>
            </a:r>
            <a:endParaRPr sz="1400" b="0" i="0" u="none" strike="noStrike" cap="none">
              <a:solidFill>
                <a:srgbClr val="000000"/>
              </a:solidFill>
              <a:latin typeface="Arial"/>
              <a:ea typeface="Arial"/>
              <a:cs typeface="Arial"/>
              <a:sym typeface="Arial"/>
            </a:endParaRPr>
          </a:p>
        </p:txBody>
      </p:sp>
      <p:sp>
        <p:nvSpPr>
          <p:cNvPr id="1638" name="Google Shape;1638;p75"/>
          <p:cNvSpPr/>
          <p:nvPr/>
        </p:nvSpPr>
        <p:spPr>
          <a:xfrm>
            <a:off x="6123425" y="547633"/>
            <a:ext cx="2596909" cy="5762734"/>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639" name="Google Shape;1639;p75"/>
          <p:cNvSpPr/>
          <p:nvPr/>
        </p:nvSpPr>
        <p:spPr>
          <a:xfrm>
            <a:off x="9046451" y="547633"/>
            <a:ext cx="2596909" cy="5762734"/>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640" name="Google Shape;1640;p75"/>
          <p:cNvSpPr/>
          <p:nvPr/>
        </p:nvSpPr>
        <p:spPr>
          <a:xfrm>
            <a:off x="3200400" y="547633"/>
            <a:ext cx="2596909" cy="5762734"/>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641" name="Google Shape;1641;p75"/>
          <p:cNvSpPr txBox="1"/>
          <p:nvPr/>
        </p:nvSpPr>
        <p:spPr>
          <a:xfrm>
            <a:off x="3403168" y="1527156"/>
            <a:ext cx="2191373" cy="200054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444444"/>
              </a:buClr>
              <a:buSzPts val="1300"/>
              <a:buFont typeface="Arial"/>
              <a:buNone/>
            </a:pPr>
            <a:r>
              <a:rPr lang="en-US" sz="1300" b="0" i="0" u="none" strike="noStrike" cap="none">
                <a:solidFill>
                  <a:srgbClr val="444444"/>
                </a:solidFill>
                <a:latin typeface="Calibri"/>
                <a:ea typeface="Calibri"/>
                <a:cs typeface="Calibri"/>
                <a:sym typeface="Calibri"/>
              </a:rPr>
              <a:t>The client sought to </a:t>
            </a:r>
            <a:r>
              <a:rPr lang="en-US" sz="1300" b="1" i="0" u="none" strike="noStrike" cap="none">
                <a:solidFill>
                  <a:srgbClr val="444444"/>
                </a:solidFill>
                <a:latin typeface="Calibri"/>
                <a:ea typeface="Calibri"/>
                <a:cs typeface="Calibri"/>
                <a:sym typeface="Calibri"/>
              </a:rPr>
              <a:t>expand its information coverage</a:t>
            </a:r>
            <a:r>
              <a:rPr lang="en-US" sz="1300" b="0" i="0" u="none" strike="noStrike" cap="none">
                <a:solidFill>
                  <a:srgbClr val="444444"/>
                </a:solidFill>
                <a:latin typeface="Calibri"/>
                <a:ea typeface="Calibri"/>
                <a:cs typeface="Calibri"/>
                <a:sym typeface="Calibri"/>
              </a:rPr>
              <a:t> within Europe,  Africa and the Middle East.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300"/>
              <a:buFont typeface="Arial"/>
              <a:buNone/>
            </a:pPr>
            <a:endParaRPr sz="1300" b="0" i="0" u="none" strike="noStrike" cap="none">
              <a:solidFill>
                <a:srgbClr val="444444"/>
              </a:solidFill>
              <a:latin typeface="Calibri"/>
              <a:ea typeface="Calibri"/>
              <a:cs typeface="Calibri"/>
              <a:sym typeface="Calibri"/>
            </a:endParaRPr>
          </a:p>
          <a:p>
            <a:pPr marL="0" marR="0" lvl="0" indent="0" algn="l" rtl="0">
              <a:lnSpc>
                <a:spcPct val="100000"/>
              </a:lnSpc>
              <a:spcBef>
                <a:spcPts val="0"/>
              </a:spcBef>
              <a:spcAft>
                <a:spcPts val="0"/>
              </a:spcAft>
              <a:buClr>
                <a:srgbClr val="444444"/>
              </a:buClr>
              <a:buSzPts val="1300"/>
              <a:buFont typeface="Arial"/>
              <a:buNone/>
            </a:pPr>
            <a:r>
              <a:rPr lang="en-US" sz="1300" b="0" i="0" u="none" strike="noStrike" cap="none">
                <a:solidFill>
                  <a:srgbClr val="444444"/>
                </a:solidFill>
                <a:latin typeface="Calibri"/>
                <a:ea typeface="Calibri"/>
                <a:cs typeface="Calibri"/>
                <a:sym typeface="Calibri"/>
              </a:rPr>
              <a:t>The firm was looking for: </a:t>
            </a:r>
            <a:endParaRPr sz="1400" b="0" i="0" u="none" strike="noStrike" cap="none">
              <a:solidFill>
                <a:srgbClr val="000000"/>
              </a:solidFill>
              <a:latin typeface="Arial"/>
              <a:ea typeface="Arial"/>
              <a:cs typeface="Arial"/>
              <a:sym typeface="Arial"/>
            </a:endParaRPr>
          </a:p>
          <a:p>
            <a:pPr marL="285750" marR="0" lvl="0" indent="-203200" algn="l" rtl="0">
              <a:lnSpc>
                <a:spcPct val="100000"/>
              </a:lnSpc>
              <a:spcBef>
                <a:spcPts val="0"/>
              </a:spcBef>
              <a:spcAft>
                <a:spcPts val="0"/>
              </a:spcAft>
              <a:buClr>
                <a:srgbClr val="000000"/>
              </a:buClr>
              <a:buSzPts val="1300"/>
              <a:buFont typeface="Arial"/>
              <a:buNone/>
            </a:pPr>
            <a:endParaRPr sz="1300" b="0" i="0" u="none" strike="noStrike" cap="none">
              <a:solidFill>
                <a:srgbClr val="444444"/>
              </a:solidFill>
              <a:latin typeface="Calibri"/>
              <a:ea typeface="Calibri"/>
              <a:cs typeface="Calibri"/>
              <a:sym typeface="Calibri"/>
            </a:endParaRPr>
          </a:p>
          <a:p>
            <a:pPr marL="285750" marR="0" lvl="0" indent="-203200" algn="l" rtl="0">
              <a:lnSpc>
                <a:spcPct val="100000"/>
              </a:lnSpc>
              <a:spcBef>
                <a:spcPts val="0"/>
              </a:spcBef>
              <a:spcAft>
                <a:spcPts val="0"/>
              </a:spcAft>
              <a:buClr>
                <a:srgbClr val="000000"/>
              </a:buClr>
              <a:buSzPts val="1300"/>
              <a:buFont typeface="Arial"/>
              <a:buNone/>
            </a:pPr>
            <a:endParaRPr sz="1300" b="0" i="0" u="none" strike="noStrike" cap="none">
              <a:solidFill>
                <a:srgbClr val="444444"/>
              </a:solidFill>
              <a:latin typeface="Calibri"/>
              <a:ea typeface="Calibri"/>
              <a:cs typeface="Calibri"/>
              <a:sym typeface="Calibri"/>
            </a:endParaRPr>
          </a:p>
          <a:p>
            <a:pPr marL="285750" marR="0" lvl="0" indent="-203200" algn="l" rtl="0">
              <a:lnSpc>
                <a:spcPct val="100000"/>
              </a:lnSpc>
              <a:spcBef>
                <a:spcPts val="0"/>
              </a:spcBef>
              <a:spcAft>
                <a:spcPts val="0"/>
              </a:spcAft>
              <a:buClr>
                <a:srgbClr val="000000"/>
              </a:buClr>
              <a:buSzPts val="1300"/>
              <a:buFont typeface="Arial"/>
              <a:buNone/>
            </a:pPr>
            <a:endParaRPr sz="1300" b="0" i="0" u="none" strike="noStrike" cap="none">
              <a:solidFill>
                <a:srgbClr val="444444"/>
              </a:solidFill>
              <a:latin typeface="Calibri"/>
              <a:ea typeface="Calibri"/>
              <a:cs typeface="Calibri"/>
              <a:sym typeface="Calibri"/>
            </a:endParaRPr>
          </a:p>
          <a:p>
            <a:pPr marL="285750" marR="0" lvl="0" indent="-203200" algn="l" rtl="0">
              <a:lnSpc>
                <a:spcPct val="100000"/>
              </a:lnSpc>
              <a:spcBef>
                <a:spcPts val="0"/>
              </a:spcBef>
              <a:spcAft>
                <a:spcPts val="0"/>
              </a:spcAft>
              <a:buClr>
                <a:srgbClr val="000000"/>
              </a:buClr>
              <a:buSzPts val="1300"/>
              <a:buFont typeface="Arial"/>
              <a:buNone/>
            </a:pPr>
            <a:endParaRPr sz="1300" b="0" i="0" u="none" strike="noStrike" cap="none">
              <a:solidFill>
                <a:srgbClr val="444444"/>
              </a:solidFill>
              <a:latin typeface="Calibri"/>
              <a:ea typeface="Calibri"/>
              <a:cs typeface="Calibri"/>
              <a:sym typeface="Calibri"/>
            </a:endParaRPr>
          </a:p>
        </p:txBody>
      </p:sp>
      <p:sp>
        <p:nvSpPr>
          <p:cNvPr id="1642" name="Google Shape;1642;p75"/>
          <p:cNvSpPr txBox="1"/>
          <p:nvPr/>
        </p:nvSpPr>
        <p:spPr>
          <a:xfrm>
            <a:off x="6326193" y="1559609"/>
            <a:ext cx="2191373" cy="60016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444444"/>
              </a:buClr>
              <a:buSzPts val="1300"/>
              <a:buFont typeface="Arial"/>
              <a:buNone/>
            </a:pPr>
            <a:r>
              <a:rPr lang="en-US" sz="1300" b="0" i="0" u="none" strike="noStrike" cap="none">
                <a:solidFill>
                  <a:srgbClr val="444444"/>
                </a:solidFill>
                <a:latin typeface="Calibri"/>
                <a:ea typeface="Calibri"/>
                <a:cs typeface="Calibri"/>
                <a:sym typeface="Calibri"/>
              </a:rPr>
              <a:t>The consulting firm decided to </a:t>
            </a:r>
            <a:r>
              <a:rPr lang="en-US" sz="1300" b="1" i="0" u="none" strike="noStrike" cap="none">
                <a:solidFill>
                  <a:srgbClr val="444444"/>
                </a:solidFill>
                <a:latin typeface="Calibri"/>
                <a:ea typeface="Calibri"/>
                <a:cs typeface="Calibri"/>
                <a:sym typeface="Calibri"/>
              </a:rPr>
              <a:t>leverage Infomineo’s research services as a solution to cover:</a:t>
            </a:r>
            <a:endParaRPr sz="1400" b="0" i="0" u="none" strike="noStrike" cap="none">
              <a:solidFill>
                <a:srgbClr val="000000"/>
              </a:solidFill>
              <a:latin typeface="Arial"/>
              <a:ea typeface="Arial"/>
              <a:cs typeface="Arial"/>
              <a:sym typeface="Arial"/>
            </a:endParaRPr>
          </a:p>
        </p:txBody>
      </p:sp>
      <p:sp>
        <p:nvSpPr>
          <p:cNvPr id="1643" name="Google Shape;1643;p75"/>
          <p:cNvSpPr txBox="1"/>
          <p:nvPr/>
        </p:nvSpPr>
        <p:spPr>
          <a:xfrm>
            <a:off x="9192072" y="4359740"/>
            <a:ext cx="2456492" cy="40011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444444"/>
              </a:buClr>
              <a:buSzPts val="1300"/>
              <a:buFont typeface="Arial"/>
              <a:buNone/>
            </a:pPr>
            <a:r>
              <a:rPr lang="en-US" sz="1300" b="1" i="0" u="none" strike="noStrike" cap="none">
                <a:solidFill>
                  <a:srgbClr val="444444"/>
                </a:solidFill>
                <a:latin typeface="Calibri"/>
                <a:ea typeface="Calibri"/>
                <a:cs typeface="Calibri"/>
                <a:sym typeface="Calibri"/>
              </a:rPr>
              <a:t>Infomineo became the preferred research supplier</a:t>
            </a:r>
            <a:endParaRPr sz="1400" b="0" i="0" u="none" strike="noStrike" cap="none">
              <a:solidFill>
                <a:srgbClr val="000000"/>
              </a:solidFill>
              <a:latin typeface="Arial"/>
              <a:ea typeface="Arial"/>
              <a:cs typeface="Arial"/>
              <a:sym typeface="Arial"/>
            </a:endParaRPr>
          </a:p>
        </p:txBody>
      </p:sp>
      <p:sp>
        <p:nvSpPr>
          <p:cNvPr id="1644" name="Google Shape;1644;p75"/>
          <p:cNvSpPr/>
          <p:nvPr/>
        </p:nvSpPr>
        <p:spPr>
          <a:xfrm>
            <a:off x="3200400" y="547632"/>
            <a:ext cx="2596908" cy="693792"/>
          </a:xfrm>
          <a:prstGeom prst="roundRect">
            <a:avLst>
              <a:gd name="adj" fmla="val 20401"/>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645" name="Google Shape;1645;p75"/>
          <p:cNvSpPr txBox="1"/>
          <p:nvPr/>
        </p:nvSpPr>
        <p:spPr>
          <a:xfrm>
            <a:off x="3403168" y="665402"/>
            <a:ext cx="1054714" cy="470898"/>
          </a:xfrm>
          <a:prstGeom prst="rect">
            <a:avLst/>
          </a:prstGeom>
          <a:noFill/>
          <a:ln>
            <a:noFill/>
          </a:ln>
        </p:spPr>
        <p:txBody>
          <a:bodyPr spcFirstLastPara="1" wrap="square" lIns="0" tIns="0" rIns="0" bIns="0" anchor="t" anchorCtr="0">
            <a:spAutoFit/>
          </a:bodyPr>
          <a:lstStyle/>
          <a:p>
            <a:pPr marL="0" marR="0" lvl="0" indent="0" algn="l" rtl="0">
              <a:lnSpc>
                <a:spcPct val="85000"/>
              </a:lnSpc>
              <a:spcBef>
                <a:spcPts val="0"/>
              </a:spcBef>
              <a:spcAft>
                <a:spcPts val="0"/>
              </a:spcAft>
              <a:buClr>
                <a:schemeClr val="lt1"/>
              </a:buClr>
              <a:buSzPts val="1800"/>
              <a:buFont typeface="Arial"/>
              <a:buNone/>
            </a:pPr>
            <a:r>
              <a:rPr lang="en-US" sz="1800" b="0" i="0" u="none" strike="noStrike" cap="none">
                <a:solidFill>
                  <a:schemeClr val="lt1"/>
                </a:solidFill>
                <a:latin typeface="Franklin Gothic"/>
                <a:ea typeface="Franklin Gothic"/>
                <a:cs typeface="Franklin Gothic"/>
                <a:sym typeface="Franklin Gothic"/>
              </a:rPr>
              <a:t>Client</a:t>
            </a:r>
            <a:br>
              <a:rPr lang="en-US" sz="1800" b="0" i="0" u="none" strike="noStrike" cap="none">
                <a:solidFill>
                  <a:schemeClr val="lt1"/>
                </a:solidFill>
                <a:latin typeface="Franklin Gothic"/>
                <a:ea typeface="Franklin Gothic"/>
                <a:cs typeface="Franklin Gothic"/>
                <a:sym typeface="Franklin Gothic"/>
              </a:rPr>
            </a:br>
            <a:r>
              <a:rPr lang="en-US" sz="1800" b="0" i="0" u="none" strike="noStrike" cap="none">
                <a:solidFill>
                  <a:schemeClr val="lt1"/>
                </a:solidFill>
                <a:latin typeface="Franklin Gothic"/>
                <a:ea typeface="Franklin Gothic"/>
                <a:cs typeface="Franklin Gothic"/>
                <a:sym typeface="Franklin Gothic"/>
              </a:rPr>
              <a:t>Challenge</a:t>
            </a:r>
            <a:endParaRPr sz="1400" b="0" i="0" u="none" strike="noStrike" cap="none">
              <a:solidFill>
                <a:srgbClr val="000000"/>
              </a:solidFill>
              <a:latin typeface="Arial"/>
              <a:ea typeface="Arial"/>
              <a:cs typeface="Arial"/>
              <a:sym typeface="Arial"/>
            </a:endParaRPr>
          </a:p>
        </p:txBody>
      </p:sp>
      <p:sp>
        <p:nvSpPr>
          <p:cNvPr id="1646" name="Google Shape;1646;p75"/>
          <p:cNvSpPr/>
          <p:nvPr/>
        </p:nvSpPr>
        <p:spPr>
          <a:xfrm>
            <a:off x="4776348" y="446625"/>
            <a:ext cx="867026" cy="895806"/>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647" name="Google Shape;1647;p75"/>
          <p:cNvSpPr/>
          <p:nvPr/>
        </p:nvSpPr>
        <p:spPr>
          <a:xfrm>
            <a:off x="6123425" y="547632"/>
            <a:ext cx="2596908" cy="693792"/>
          </a:xfrm>
          <a:prstGeom prst="roundRect">
            <a:avLst>
              <a:gd name="adj" fmla="val 20401"/>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648" name="Google Shape;1648;p75"/>
          <p:cNvSpPr txBox="1"/>
          <p:nvPr/>
        </p:nvSpPr>
        <p:spPr>
          <a:xfrm>
            <a:off x="6326193" y="665402"/>
            <a:ext cx="867025" cy="470898"/>
          </a:xfrm>
          <a:prstGeom prst="rect">
            <a:avLst/>
          </a:prstGeom>
          <a:noFill/>
          <a:ln>
            <a:noFill/>
          </a:ln>
        </p:spPr>
        <p:txBody>
          <a:bodyPr spcFirstLastPara="1" wrap="square" lIns="0" tIns="0" rIns="0" bIns="0" anchor="t" anchorCtr="0">
            <a:spAutoFit/>
          </a:bodyPr>
          <a:lstStyle/>
          <a:p>
            <a:pPr marL="0" marR="0" lvl="0" indent="0" algn="l" rtl="0">
              <a:lnSpc>
                <a:spcPct val="85000"/>
              </a:lnSpc>
              <a:spcBef>
                <a:spcPts val="0"/>
              </a:spcBef>
              <a:spcAft>
                <a:spcPts val="0"/>
              </a:spcAft>
              <a:buClr>
                <a:schemeClr val="lt1"/>
              </a:buClr>
              <a:buSzPts val="1800"/>
              <a:buFont typeface="Arial"/>
              <a:buNone/>
            </a:pPr>
            <a:r>
              <a:rPr lang="en-US" sz="1800" b="0" i="0" u="none" strike="noStrike" cap="none">
                <a:solidFill>
                  <a:schemeClr val="lt1"/>
                </a:solidFill>
                <a:latin typeface="Franklin Gothic"/>
                <a:ea typeface="Franklin Gothic"/>
                <a:cs typeface="Franklin Gothic"/>
                <a:sym typeface="Franklin Gothic"/>
              </a:rPr>
              <a:t>Our</a:t>
            </a:r>
            <a:br>
              <a:rPr lang="en-US" sz="1800" b="0" i="0" u="none" strike="noStrike" cap="none">
                <a:solidFill>
                  <a:schemeClr val="lt1"/>
                </a:solidFill>
                <a:latin typeface="Franklin Gothic"/>
                <a:ea typeface="Franklin Gothic"/>
                <a:cs typeface="Franklin Gothic"/>
                <a:sym typeface="Franklin Gothic"/>
              </a:rPr>
            </a:br>
            <a:r>
              <a:rPr lang="en-US" sz="1800" b="0" i="0" u="none" strike="noStrike" cap="none">
                <a:solidFill>
                  <a:schemeClr val="lt1"/>
                </a:solidFill>
                <a:latin typeface="Franklin Gothic"/>
                <a:ea typeface="Franklin Gothic"/>
                <a:cs typeface="Franklin Gothic"/>
                <a:sym typeface="Franklin Gothic"/>
              </a:rPr>
              <a:t>Solution</a:t>
            </a:r>
            <a:endParaRPr sz="1400" b="0" i="0" u="none" strike="noStrike" cap="none">
              <a:solidFill>
                <a:srgbClr val="000000"/>
              </a:solidFill>
              <a:latin typeface="Arial"/>
              <a:ea typeface="Arial"/>
              <a:cs typeface="Arial"/>
              <a:sym typeface="Arial"/>
            </a:endParaRPr>
          </a:p>
        </p:txBody>
      </p:sp>
      <p:sp>
        <p:nvSpPr>
          <p:cNvPr id="1649" name="Google Shape;1649;p75"/>
          <p:cNvSpPr/>
          <p:nvPr/>
        </p:nvSpPr>
        <p:spPr>
          <a:xfrm>
            <a:off x="7676160" y="446625"/>
            <a:ext cx="867026" cy="895806"/>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650" name="Google Shape;1650;p75"/>
          <p:cNvSpPr/>
          <p:nvPr/>
        </p:nvSpPr>
        <p:spPr>
          <a:xfrm>
            <a:off x="9046451" y="547632"/>
            <a:ext cx="2596908" cy="693792"/>
          </a:xfrm>
          <a:prstGeom prst="roundRect">
            <a:avLst>
              <a:gd name="adj" fmla="val 20401"/>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651" name="Google Shape;1651;p75"/>
          <p:cNvSpPr txBox="1"/>
          <p:nvPr/>
        </p:nvSpPr>
        <p:spPr>
          <a:xfrm>
            <a:off x="9249219" y="783127"/>
            <a:ext cx="943429" cy="235449"/>
          </a:xfrm>
          <a:prstGeom prst="rect">
            <a:avLst/>
          </a:prstGeom>
          <a:noFill/>
          <a:ln>
            <a:noFill/>
          </a:ln>
        </p:spPr>
        <p:txBody>
          <a:bodyPr spcFirstLastPara="1" wrap="square" lIns="0" tIns="0" rIns="0" bIns="0" anchor="t" anchorCtr="0">
            <a:spAutoFit/>
          </a:bodyPr>
          <a:lstStyle/>
          <a:p>
            <a:pPr marL="0" marR="0" lvl="0" indent="0" algn="l" rtl="0">
              <a:lnSpc>
                <a:spcPct val="85000"/>
              </a:lnSpc>
              <a:spcBef>
                <a:spcPts val="0"/>
              </a:spcBef>
              <a:spcAft>
                <a:spcPts val="0"/>
              </a:spcAft>
              <a:buClr>
                <a:schemeClr val="lt1"/>
              </a:buClr>
              <a:buSzPts val="1800"/>
              <a:buFont typeface="Arial"/>
              <a:buNone/>
            </a:pPr>
            <a:r>
              <a:rPr lang="en-US" sz="1800" b="0" i="0" u="none" strike="noStrike" cap="none">
                <a:solidFill>
                  <a:schemeClr val="lt1"/>
                </a:solidFill>
                <a:latin typeface="Franklin Gothic"/>
                <a:ea typeface="Franklin Gothic"/>
                <a:cs typeface="Franklin Gothic"/>
                <a:sym typeface="Franklin Gothic"/>
              </a:rPr>
              <a:t>Outcome</a:t>
            </a:r>
            <a:endParaRPr sz="1800" b="0" i="0" u="none" strike="noStrike" cap="none">
              <a:solidFill>
                <a:schemeClr val="lt1"/>
              </a:solidFill>
              <a:latin typeface="Franklin Gothic"/>
              <a:ea typeface="Franklin Gothic"/>
              <a:cs typeface="Franklin Gothic"/>
              <a:sym typeface="Franklin Gothic"/>
            </a:endParaRPr>
          </a:p>
        </p:txBody>
      </p:sp>
      <p:sp>
        <p:nvSpPr>
          <p:cNvPr id="1652" name="Google Shape;1652;p75"/>
          <p:cNvSpPr/>
          <p:nvPr/>
        </p:nvSpPr>
        <p:spPr>
          <a:xfrm>
            <a:off x="10599185" y="446625"/>
            <a:ext cx="867026" cy="895806"/>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nvGrpSpPr>
          <p:cNvPr id="1653" name="Google Shape;1653;p75"/>
          <p:cNvGrpSpPr/>
          <p:nvPr/>
        </p:nvGrpSpPr>
        <p:grpSpPr>
          <a:xfrm>
            <a:off x="10755642" y="644211"/>
            <a:ext cx="492943" cy="457112"/>
            <a:chOff x="7154863" y="4446588"/>
            <a:chExt cx="527050" cy="506412"/>
          </a:xfrm>
        </p:grpSpPr>
        <p:sp>
          <p:nvSpPr>
            <p:cNvPr id="1654" name="Google Shape;1654;p75"/>
            <p:cNvSpPr/>
            <p:nvPr/>
          </p:nvSpPr>
          <p:spPr>
            <a:xfrm>
              <a:off x="7154863" y="4446588"/>
              <a:ext cx="527050" cy="506412"/>
            </a:xfrm>
            <a:custGeom>
              <a:avLst/>
              <a:gdLst/>
              <a:ahLst/>
              <a:cxnLst/>
              <a:rect l="l" t="t" r="r" b="b"/>
              <a:pathLst>
                <a:path w="840" h="806" extrusionOk="0">
                  <a:moveTo>
                    <a:pt x="831" y="80"/>
                  </a:moveTo>
                  <a:cubicBezTo>
                    <a:pt x="114" y="80"/>
                    <a:pt x="114" y="80"/>
                    <a:pt x="114" y="80"/>
                  </a:cubicBezTo>
                  <a:cubicBezTo>
                    <a:pt x="114" y="8"/>
                    <a:pt x="114" y="8"/>
                    <a:pt x="114" y="8"/>
                  </a:cubicBezTo>
                  <a:cubicBezTo>
                    <a:pt x="114" y="4"/>
                    <a:pt x="110" y="0"/>
                    <a:pt x="105" y="0"/>
                  </a:cubicBezTo>
                  <a:cubicBezTo>
                    <a:pt x="57" y="0"/>
                    <a:pt x="57" y="0"/>
                    <a:pt x="57" y="0"/>
                  </a:cubicBezTo>
                  <a:cubicBezTo>
                    <a:pt x="25" y="0"/>
                    <a:pt x="0" y="25"/>
                    <a:pt x="0" y="57"/>
                  </a:cubicBezTo>
                  <a:cubicBezTo>
                    <a:pt x="0" y="749"/>
                    <a:pt x="0" y="749"/>
                    <a:pt x="0" y="749"/>
                  </a:cubicBezTo>
                  <a:cubicBezTo>
                    <a:pt x="0" y="780"/>
                    <a:pt x="25" y="806"/>
                    <a:pt x="57" y="806"/>
                  </a:cubicBezTo>
                  <a:cubicBezTo>
                    <a:pt x="95" y="806"/>
                    <a:pt x="95" y="806"/>
                    <a:pt x="95" y="806"/>
                  </a:cubicBezTo>
                  <a:cubicBezTo>
                    <a:pt x="105" y="806"/>
                    <a:pt x="105" y="806"/>
                    <a:pt x="105" y="806"/>
                  </a:cubicBezTo>
                  <a:cubicBezTo>
                    <a:pt x="831" y="806"/>
                    <a:pt x="831" y="806"/>
                    <a:pt x="831" y="806"/>
                  </a:cubicBezTo>
                  <a:cubicBezTo>
                    <a:pt x="836" y="806"/>
                    <a:pt x="840" y="802"/>
                    <a:pt x="840" y="797"/>
                  </a:cubicBezTo>
                  <a:cubicBezTo>
                    <a:pt x="840" y="89"/>
                    <a:pt x="840" y="89"/>
                    <a:pt x="840" y="89"/>
                  </a:cubicBezTo>
                  <a:cubicBezTo>
                    <a:pt x="840" y="84"/>
                    <a:pt x="836" y="80"/>
                    <a:pt x="831" y="80"/>
                  </a:cubicBezTo>
                  <a:close/>
                  <a:moveTo>
                    <a:pt x="57" y="17"/>
                  </a:moveTo>
                  <a:cubicBezTo>
                    <a:pt x="97" y="17"/>
                    <a:pt x="97" y="17"/>
                    <a:pt x="97" y="17"/>
                  </a:cubicBezTo>
                  <a:cubicBezTo>
                    <a:pt x="97" y="692"/>
                    <a:pt x="97" y="692"/>
                    <a:pt x="97" y="692"/>
                  </a:cubicBezTo>
                  <a:cubicBezTo>
                    <a:pt x="57" y="692"/>
                    <a:pt x="57" y="692"/>
                    <a:pt x="57" y="692"/>
                  </a:cubicBezTo>
                  <a:cubicBezTo>
                    <a:pt x="41" y="692"/>
                    <a:pt x="27" y="698"/>
                    <a:pt x="17" y="708"/>
                  </a:cubicBezTo>
                  <a:cubicBezTo>
                    <a:pt x="17" y="57"/>
                    <a:pt x="17" y="57"/>
                    <a:pt x="17" y="57"/>
                  </a:cubicBezTo>
                  <a:cubicBezTo>
                    <a:pt x="17" y="35"/>
                    <a:pt x="35" y="17"/>
                    <a:pt x="57" y="17"/>
                  </a:cubicBezTo>
                  <a:close/>
                  <a:moveTo>
                    <a:pt x="823" y="788"/>
                  </a:moveTo>
                  <a:cubicBezTo>
                    <a:pt x="105" y="788"/>
                    <a:pt x="105" y="788"/>
                    <a:pt x="105" y="788"/>
                  </a:cubicBezTo>
                  <a:cubicBezTo>
                    <a:pt x="95" y="788"/>
                    <a:pt x="95" y="788"/>
                    <a:pt x="95" y="788"/>
                  </a:cubicBezTo>
                  <a:cubicBezTo>
                    <a:pt x="57" y="788"/>
                    <a:pt x="57" y="788"/>
                    <a:pt x="57" y="788"/>
                  </a:cubicBezTo>
                  <a:cubicBezTo>
                    <a:pt x="35" y="788"/>
                    <a:pt x="17" y="771"/>
                    <a:pt x="17" y="749"/>
                  </a:cubicBezTo>
                  <a:cubicBezTo>
                    <a:pt x="17" y="727"/>
                    <a:pt x="35" y="709"/>
                    <a:pt x="57" y="709"/>
                  </a:cubicBezTo>
                  <a:cubicBezTo>
                    <a:pt x="105" y="709"/>
                    <a:pt x="105" y="709"/>
                    <a:pt x="105" y="709"/>
                  </a:cubicBezTo>
                  <a:cubicBezTo>
                    <a:pt x="110" y="709"/>
                    <a:pt x="114" y="705"/>
                    <a:pt x="114" y="700"/>
                  </a:cubicBezTo>
                  <a:cubicBezTo>
                    <a:pt x="114" y="98"/>
                    <a:pt x="114" y="98"/>
                    <a:pt x="114" y="98"/>
                  </a:cubicBezTo>
                  <a:cubicBezTo>
                    <a:pt x="823" y="98"/>
                    <a:pt x="823" y="98"/>
                    <a:pt x="823" y="98"/>
                  </a:cubicBezTo>
                  <a:lnTo>
                    <a:pt x="823" y="78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444"/>
                </a:solidFill>
                <a:latin typeface="Calibri"/>
                <a:ea typeface="Calibri"/>
                <a:cs typeface="Calibri"/>
                <a:sym typeface="Calibri"/>
              </a:endParaRPr>
            </a:p>
          </p:txBody>
        </p:sp>
        <p:sp>
          <p:nvSpPr>
            <p:cNvPr id="1655" name="Google Shape;1655;p75"/>
            <p:cNvSpPr/>
            <p:nvPr/>
          </p:nvSpPr>
          <p:spPr>
            <a:xfrm>
              <a:off x="7275513" y="4554538"/>
              <a:ext cx="344488" cy="336550"/>
            </a:xfrm>
            <a:custGeom>
              <a:avLst/>
              <a:gdLst/>
              <a:ahLst/>
              <a:cxnLst/>
              <a:rect l="l" t="t" r="r" b="b"/>
              <a:pathLst>
                <a:path w="549" h="537" extrusionOk="0">
                  <a:moveTo>
                    <a:pt x="4" y="226"/>
                  </a:moveTo>
                  <a:cubicBezTo>
                    <a:pt x="71" y="293"/>
                    <a:pt x="71" y="293"/>
                    <a:pt x="71" y="293"/>
                  </a:cubicBezTo>
                  <a:cubicBezTo>
                    <a:pt x="73" y="295"/>
                    <a:pt x="75" y="296"/>
                    <a:pt x="77" y="296"/>
                  </a:cubicBezTo>
                  <a:cubicBezTo>
                    <a:pt x="79" y="296"/>
                    <a:pt x="81" y="295"/>
                    <a:pt x="83" y="293"/>
                  </a:cubicBezTo>
                  <a:cubicBezTo>
                    <a:pt x="148" y="229"/>
                    <a:pt x="148" y="229"/>
                    <a:pt x="148" y="229"/>
                  </a:cubicBezTo>
                  <a:cubicBezTo>
                    <a:pt x="295" y="229"/>
                    <a:pt x="295" y="229"/>
                    <a:pt x="295" y="229"/>
                  </a:cubicBezTo>
                  <a:cubicBezTo>
                    <a:pt x="437" y="229"/>
                    <a:pt x="437" y="229"/>
                    <a:pt x="437" y="229"/>
                  </a:cubicBezTo>
                  <a:cubicBezTo>
                    <a:pt x="437" y="268"/>
                    <a:pt x="437" y="268"/>
                    <a:pt x="437" y="268"/>
                  </a:cubicBezTo>
                  <a:cubicBezTo>
                    <a:pt x="437" y="272"/>
                    <a:pt x="441" y="276"/>
                    <a:pt x="446" y="276"/>
                  </a:cubicBezTo>
                  <a:cubicBezTo>
                    <a:pt x="484" y="276"/>
                    <a:pt x="484" y="276"/>
                    <a:pt x="484" y="276"/>
                  </a:cubicBezTo>
                  <a:cubicBezTo>
                    <a:pt x="484" y="418"/>
                    <a:pt x="484" y="418"/>
                    <a:pt x="484" y="418"/>
                  </a:cubicBezTo>
                  <a:cubicBezTo>
                    <a:pt x="460" y="422"/>
                    <a:pt x="442" y="441"/>
                    <a:pt x="438" y="465"/>
                  </a:cubicBezTo>
                  <a:cubicBezTo>
                    <a:pt x="116" y="465"/>
                    <a:pt x="116" y="465"/>
                    <a:pt x="116" y="465"/>
                  </a:cubicBezTo>
                  <a:cubicBezTo>
                    <a:pt x="116" y="419"/>
                    <a:pt x="116" y="419"/>
                    <a:pt x="116" y="419"/>
                  </a:cubicBezTo>
                  <a:cubicBezTo>
                    <a:pt x="116" y="416"/>
                    <a:pt x="115" y="413"/>
                    <a:pt x="112" y="411"/>
                  </a:cubicBezTo>
                  <a:cubicBezTo>
                    <a:pt x="110" y="410"/>
                    <a:pt x="106" y="410"/>
                    <a:pt x="104" y="411"/>
                  </a:cubicBezTo>
                  <a:cubicBezTo>
                    <a:pt x="9" y="466"/>
                    <a:pt x="9" y="466"/>
                    <a:pt x="9" y="466"/>
                  </a:cubicBezTo>
                  <a:cubicBezTo>
                    <a:pt x="6" y="468"/>
                    <a:pt x="5" y="470"/>
                    <a:pt x="5" y="474"/>
                  </a:cubicBezTo>
                  <a:cubicBezTo>
                    <a:pt x="5" y="477"/>
                    <a:pt x="6" y="479"/>
                    <a:pt x="9" y="481"/>
                  </a:cubicBezTo>
                  <a:cubicBezTo>
                    <a:pt x="104" y="536"/>
                    <a:pt x="104" y="536"/>
                    <a:pt x="104" y="536"/>
                  </a:cubicBezTo>
                  <a:cubicBezTo>
                    <a:pt x="105" y="536"/>
                    <a:pt x="106" y="537"/>
                    <a:pt x="108" y="537"/>
                  </a:cubicBezTo>
                  <a:cubicBezTo>
                    <a:pt x="109" y="537"/>
                    <a:pt x="111" y="536"/>
                    <a:pt x="112" y="536"/>
                  </a:cubicBezTo>
                  <a:cubicBezTo>
                    <a:pt x="115" y="534"/>
                    <a:pt x="116" y="531"/>
                    <a:pt x="116" y="528"/>
                  </a:cubicBezTo>
                  <a:cubicBezTo>
                    <a:pt x="116" y="482"/>
                    <a:pt x="116" y="482"/>
                    <a:pt x="116" y="482"/>
                  </a:cubicBezTo>
                  <a:cubicBezTo>
                    <a:pt x="438" y="482"/>
                    <a:pt x="438" y="482"/>
                    <a:pt x="438" y="482"/>
                  </a:cubicBezTo>
                  <a:cubicBezTo>
                    <a:pt x="442" y="509"/>
                    <a:pt x="465" y="530"/>
                    <a:pt x="493" y="530"/>
                  </a:cubicBezTo>
                  <a:cubicBezTo>
                    <a:pt x="524" y="530"/>
                    <a:pt x="549" y="504"/>
                    <a:pt x="549" y="474"/>
                  </a:cubicBezTo>
                  <a:cubicBezTo>
                    <a:pt x="549" y="446"/>
                    <a:pt x="528" y="423"/>
                    <a:pt x="502" y="418"/>
                  </a:cubicBezTo>
                  <a:cubicBezTo>
                    <a:pt x="502" y="276"/>
                    <a:pt x="502" y="276"/>
                    <a:pt x="502" y="276"/>
                  </a:cubicBezTo>
                  <a:cubicBezTo>
                    <a:pt x="540" y="276"/>
                    <a:pt x="540" y="276"/>
                    <a:pt x="540" y="276"/>
                  </a:cubicBezTo>
                  <a:cubicBezTo>
                    <a:pt x="545" y="276"/>
                    <a:pt x="549" y="272"/>
                    <a:pt x="549" y="268"/>
                  </a:cubicBezTo>
                  <a:cubicBezTo>
                    <a:pt x="549" y="173"/>
                    <a:pt x="549" y="173"/>
                    <a:pt x="549" y="173"/>
                  </a:cubicBezTo>
                  <a:cubicBezTo>
                    <a:pt x="549" y="168"/>
                    <a:pt x="545" y="164"/>
                    <a:pt x="540" y="164"/>
                  </a:cubicBezTo>
                  <a:cubicBezTo>
                    <a:pt x="446" y="164"/>
                    <a:pt x="446" y="164"/>
                    <a:pt x="446" y="164"/>
                  </a:cubicBezTo>
                  <a:cubicBezTo>
                    <a:pt x="441" y="164"/>
                    <a:pt x="437" y="168"/>
                    <a:pt x="437" y="173"/>
                  </a:cubicBezTo>
                  <a:cubicBezTo>
                    <a:pt x="437" y="212"/>
                    <a:pt x="437" y="212"/>
                    <a:pt x="437" y="212"/>
                  </a:cubicBezTo>
                  <a:cubicBezTo>
                    <a:pt x="303" y="212"/>
                    <a:pt x="303" y="212"/>
                    <a:pt x="303" y="212"/>
                  </a:cubicBezTo>
                  <a:cubicBezTo>
                    <a:pt x="303" y="140"/>
                    <a:pt x="303" y="140"/>
                    <a:pt x="303" y="140"/>
                  </a:cubicBezTo>
                  <a:cubicBezTo>
                    <a:pt x="338" y="136"/>
                    <a:pt x="365" y="107"/>
                    <a:pt x="365" y="71"/>
                  </a:cubicBezTo>
                  <a:cubicBezTo>
                    <a:pt x="365" y="32"/>
                    <a:pt x="334" y="0"/>
                    <a:pt x="295" y="0"/>
                  </a:cubicBezTo>
                  <a:cubicBezTo>
                    <a:pt x="259" y="0"/>
                    <a:pt x="230" y="27"/>
                    <a:pt x="225" y="62"/>
                  </a:cubicBezTo>
                  <a:cubicBezTo>
                    <a:pt x="77" y="62"/>
                    <a:pt x="77" y="62"/>
                    <a:pt x="77" y="62"/>
                  </a:cubicBezTo>
                  <a:cubicBezTo>
                    <a:pt x="72" y="62"/>
                    <a:pt x="68" y="66"/>
                    <a:pt x="68" y="71"/>
                  </a:cubicBezTo>
                  <a:cubicBezTo>
                    <a:pt x="68" y="150"/>
                    <a:pt x="68" y="150"/>
                    <a:pt x="68" y="150"/>
                  </a:cubicBezTo>
                  <a:cubicBezTo>
                    <a:pt x="4" y="214"/>
                    <a:pt x="4" y="214"/>
                    <a:pt x="4" y="214"/>
                  </a:cubicBezTo>
                  <a:cubicBezTo>
                    <a:pt x="0" y="217"/>
                    <a:pt x="0" y="223"/>
                    <a:pt x="4" y="226"/>
                  </a:cubicBezTo>
                  <a:close/>
                  <a:moveTo>
                    <a:pt x="99" y="513"/>
                  </a:moveTo>
                  <a:cubicBezTo>
                    <a:pt x="30" y="474"/>
                    <a:pt x="30" y="474"/>
                    <a:pt x="30" y="474"/>
                  </a:cubicBezTo>
                  <a:cubicBezTo>
                    <a:pt x="99" y="434"/>
                    <a:pt x="99" y="434"/>
                    <a:pt x="99" y="434"/>
                  </a:cubicBezTo>
                  <a:lnTo>
                    <a:pt x="99" y="513"/>
                  </a:lnTo>
                  <a:close/>
                  <a:moveTo>
                    <a:pt x="532" y="474"/>
                  </a:moveTo>
                  <a:cubicBezTo>
                    <a:pt x="532" y="495"/>
                    <a:pt x="514" y="512"/>
                    <a:pt x="493" y="512"/>
                  </a:cubicBezTo>
                  <a:cubicBezTo>
                    <a:pt x="472" y="512"/>
                    <a:pt x="454" y="495"/>
                    <a:pt x="454" y="474"/>
                  </a:cubicBezTo>
                  <a:cubicBezTo>
                    <a:pt x="454" y="452"/>
                    <a:pt x="472" y="435"/>
                    <a:pt x="493" y="435"/>
                  </a:cubicBezTo>
                  <a:cubicBezTo>
                    <a:pt x="514" y="435"/>
                    <a:pt x="532" y="452"/>
                    <a:pt x="532" y="474"/>
                  </a:cubicBezTo>
                  <a:close/>
                  <a:moveTo>
                    <a:pt x="454" y="181"/>
                  </a:moveTo>
                  <a:cubicBezTo>
                    <a:pt x="532" y="181"/>
                    <a:pt x="532" y="181"/>
                    <a:pt x="532" y="181"/>
                  </a:cubicBezTo>
                  <a:cubicBezTo>
                    <a:pt x="532" y="259"/>
                    <a:pt x="532" y="259"/>
                    <a:pt x="532" y="259"/>
                  </a:cubicBezTo>
                  <a:cubicBezTo>
                    <a:pt x="454" y="259"/>
                    <a:pt x="454" y="259"/>
                    <a:pt x="454" y="259"/>
                  </a:cubicBezTo>
                  <a:lnTo>
                    <a:pt x="454" y="181"/>
                  </a:lnTo>
                  <a:close/>
                  <a:moveTo>
                    <a:pt x="295" y="17"/>
                  </a:moveTo>
                  <a:cubicBezTo>
                    <a:pt x="324" y="17"/>
                    <a:pt x="348" y="41"/>
                    <a:pt x="348" y="71"/>
                  </a:cubicBezTo>
                  <a:cubicBezTo>
                    <a:pt x="348" y="100"/>
                    <a:pt x="324" y="124"/>
                    <a:pt x="295" y="124"/>
                  </a:cubicBezTo>
                  <a:cubicBezTo>
                    <a:pt x="265" y="124"/>
                    <a:pt x="242" y="100"/>
                    <a:pt x="242" y="71"/>
                  </a:cubicBezTo>
                  <a:cubicBezTo>
                    <a:pt x="242" y="41"/>
                    <a:pt x="265" y="17"/>
                    <a:pt x="295" y="17"/>
                  </a:cubicBezTo>
                  <a:close/>
                  <a:moveTo>
                    <a:pt x="225" y="79"/>
                  </a:moveTo>
                  <a:cubicBezTo>
                    <a:pt x="229" y="111"/>
                    <a:pt x="254" y="136"/>
                    <a:pt x="286" y="140"/>
                  </a:cubicBezTo>
                  <a:cubicBezTo>
                    <a:pt x="286" y="212"/>
                    <a:pt x="286" y="212"/>
                    <a:pt x="286" y="212"/>
                  </a:cubicBezTo>
                  <a:cubicBezTo>
                    <a:pt x="148" y="212"/>
                    <a:pt x="148" y="212"/>
                    <a:pt x="148" y="212"/>
                  </a:cubicBezTo>
                  <a:cubicBezTo>
                    <a:pt x="86" y="150"/>
                    <a:pt x="86" y="150"/>
                    <a:pt x="86" y="150"/>
                  </a:cubicBezTo>
                  <a:cubicBezTo>
                    <a:pt x="86" y="79"/>
                    <a:pt x="86" y="79"/>
                    <a:pt x="86" y="79"/>
                  </a:cubicBezTo>
                  <a:lnTo>
                    <a:pt x="225" y="79"/>
                  </a:lnTo>
                  <a:close/>
                  <a:moveTo>
                    <a:pt x="77" y="165"/>
                  </a:moveTo>
                  <a:cubicBezTo>
                    <a:pt x="132" y="220"/>
                    <a:pt x="132" y="220"/>
                    <a:pt x="132" y="220"/>
                  </a:cubicBezTo>
                  <a:cubicBezTo>
                    <a:pt x="77" y="275"/>
                    <a:pt x="77" y="275"/>
                    <a:pt x="77" y="275"/>
                  </a:cubicBezTo>
                  <a:cubicBezTo>
                    <a:pt x="22" y="220"/>
                    <a:pt x="22" y="220"/>
                    <a:pt x="22" y="220"/>
                  </a:cubicBezTo>
                  <a:lnTo>
                    <a:pt x="77" y="16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444"/>
                </a:solidFill>
                <a:latin typeface="Calibri"/>
                <a:ea typeface="Calibri"/>
                <a:cs typeface="Calibri"/>
                <a:sym typeface="Calibri"/>
              </a:endParaRPr>
            </a:p>
          </p:txBody>
        </p:sp>
      </p:grpSp>
      <p:pic>
        <p:nvPicPr>
          <p:cNvPr id="1656" name="Google Shape;1656;p75"/>
          <p:cNvPicPr preferRelativeResize="0"/>
          <p:nvPr/>
        </p:nvPicPr>
        <p:blipFill rotWithShape="1">
          <a:blip r:embed="rId3">
            <a:alphaModFix/>
          </a:blip>
          <a:srcRect/>
          <a:stretch/>
        </p:blipFill>
        <p:spPr>
          <a:xfrm>
            <a:off x="539400" y="560588"/>
            <a:ext cx="848783" cy="766477"/>
          </a:xfrm>
          <a:prstGeom prst="rect">
            <a:avLst/>
          </a:prstGeom>
          <a:noFill/>
          <a:ln>
            <a:noFill/>
          </a:ln>
        </p:spPr>
      </p:pic>
      <p:sp>
        <p:nvSpPr>
          <p:cNvPr id="1657" name="Google Shape;1657;p75"/>
          <p:cNvSpPr txBox="1"/>
          <p:nvPr/>
        </p:nvSpPr>
        <p:spPr>
          <a:xfrm>
            <a:off x="1534212" y="560588"/>
            <a:ext cx="1446457" cy="837152"/>
          </a:xfrm>
          <a:prstGeom prst="rect">
            <a:avLst/>
          </a:prstGeom>
          <a:noFill/>
          <a:ln>
            <a:noFill/>
          </a:ln>
        </p:spPr>
        <p:txBody>
          <a:bodyPr spcFirstLastPara="1" wrap="square" lIns="0" tIns="0" rIns="0" bIns="0" anchor="t" anchorCtr="0">
            <a:spAutoFit/>
          </a:bodyPr>
          <a:lstStyle/>
          <a:p>
            <a:pPr marL="0" marR="0" lvl="0" indent="0" algn="l" rtl="0">
              <a:lnSpc>
                <a:spcPct val="85000"/>
              </a:lnSpc>
              <a:spcBef>
                <a:spcPts val="0"/>
              </a:spcBef>
              <a:spcAft>
                <a:spcPts val="0"/>
              </a:spcAft>
              <a:buClr>
                <a:srgbClr val="000000"/>
              </a:buClr>
              <a:buSzPts val="3200"/>
              <a:buFont typeface="Arial"/>
              <a:buNone/>
            </a:pPr>
            <a:r>
              <a:rPr lang="en-US" sz="3200" b="0" i="0" u="none" strike="noStrike" cap="none">
                <a:solidFill>
                  <a:schemeClr val="dk2"/>
                </a:solidFill>
                <a:latin typeface="Franklin Gothic"/>
                <a:ea typeface="Franklin Gothic"/>
                <a:cs typeface="Franklin Gothic"/>
                <a:sym typeface="Franklin Gothic"/>
              </a:rPr>
              <a:t>CASE</a:t>
            </a:r>
            <a:br>
              <a:rPr lang="en-US" sz="3200" b="0" i="0" u="none" strike="noStrike" cap="none">
                <a:solidFill>
                  <a:schemeClr val="dk2"/>
                </a:solidFill>
                <a:latin typeface="Franklin Gothic"/>
                <a:ea typeface="Franklin Gothic"/>
                <a:cs typeface="Franklin Gothic"/>
                <a:sym typeface="Franklin Gothic"/>
              </a:rPr>
            </a:br>
            <a:r>
              <a:rPr lang="en-US" sz="3200" b="0" i="0" u="none" strike="noStrike" cap="none">
                <a:solidFill>
                  <a:schemeClr val="dk2"/>
                </a:solidFill>
                <a:latin typeface="Franklin Gothic"/>
                <a:ea typeface="Franklin Gothic"/>
                <a:cs typeface="Franklin Gothic"/>
                <a:sym typeface="Franklin Gothic"/>
              </a:rPr>
              <a:t>STUDY</a:t>
            </a:r>
            <a:endParaRPr sz="1400" b="0" i="0" u="none" strike="noStrike" cap="none">
              <a:solidFill>
                <a:srgbClr val="000000"/>
              </a:solidFill>
              <a:latin typeface="Arial"/>
              <a:ea typeface="Arial"/>
              <a:cs typeface="Arial"/>
              <a:sym typeface="Arial"/>
            </a:endParaRPr>
          </a:p>
        </p:txBody>
      </p:sp>
      <p:cxnSp>
        <p:nvCxnSpPr>
          <p:cNvPr id="1658" name="Google Shape;1658;p75"/>
          <p:cNvCxnSpPr/>
          <p:nvPr/>
        </p:nvCxnSpPr>
        <p:spPr>
          <a:xfrm>
            <a:off x="539400" y="1479434"/>
            <a:ext cx="2314257" cy="0"/>
          </a:xfrm>
          <a:prstGeom prst="straightConnector1">
            <a:avLst/>
          </a:prstGeom>
          <a:noFill/>
          <a:ln w="19050" cap="flat" cmpd="sng">
            <a:solidFill>
              <a:schemeClr val="dk2"/>
            </a:solidFill>
            <a:prstDash val="solid"/>
            <a:miter lim="800000"/>
            <a:headEnd type="none" w="sm" len="sm"/>
            <a:tailEnd type="none" w="sm" len="sm"/>
          </a:ln>
        </p:spPr>
      </p:cxnSp>
      <p:sp>
        <p:nvSpPr>
          <p:cNvPr id="1659" name="Google Shape;1659;p75"/>
          <p:cNvSpPr txBox="1"/>
          <p:nvPr/>
        </p:nvSpPr>
        <p:spPr>
          <a:xfrm>
            <a:off x="563344" y="1610994"/>
            <a:ext cx="2334136"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1"/>
              </a:buClr>
              <a:buSzPts val="1800"/>
              <a:buFont typeface="Arial"/>
              <a:buNone/>
            </a:pPr>
            <a:r>
              <a:rPr lang="en-US" sz="1800" b="0" i="0" u="none" strike="noStrike" cap="none">
                <a:solidFill>
                  <a:schemeClr val="dk1"/>
                </a:solidFill>
                <a:latin typeface="Franklin Gothic"/>
                <a:ea typeface="Franklin Gothic"/>
                <a:cs typeface="Franklin Gothic"/>
                <a:sym typeface="Franklin Gothic"/>
              </a:rPr>
              <a:t>Client:</a:t>
            </a:r>
            <a:endParaRPr sz="1400" b="0" i="0" u="none" strike="noStrike" cap="none">
              <a:solidFill>
                <a:srgbClr val="000000"/>
              </a:solidFill>
              <a:latin typeface="Arial"/>
              <a:ea typeface="Arial"/>
              <a:cs typeface="Arial"/>
              <a:sym typeface="Arial"/>
            </a:endParaRPr>
          </a:p>
        </p:txBody>
      </p:sp>
      <p:sp>
        <p:nvSpPr>
          <p:cNvPr id="1660" name="Google Shape;1660;p75"/>
          <p:cNvSpPr txBox="1"/>
          <p:nvPr/>
        </p:nvSpPr>
        <p:spPr>
          <a:xfrm>
            <a:off x="563344" y="1930557"/>
            <a:ext cx="2314257" cy="20005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300"/>
              <a:buFont typeface="Arial"/>
              <a:buNone/>
            </a:pPr>
            <a:r>
              <a:rPr lang="en-US" sz="1300" b="0" i="0" u="none" strike="noStrike" cap="none">
                <a:solidFill>
                  <a:srgbClr val="444444"/>
                </a:solidFill>
                <a:latin typeface="Calibri"/>
                <a:ea typeface="Calibri"/>
                <a:cs typeface="Calibri"/>
                <a:sym typeface="Calibri"/>
              </a:rPr>
              <a:t>A global strategy consulting firm</a:t>
            </a:r>
            <a:endParaRPr sz="1300" b="0" i="0" u="none" strike="noStrike" cap="none">
              <a:solidFill>
                <a:srgbClr val="444444"/>
              </a:solidFill>
              <a:latin typeface="Calibri"/>
              <a:ea typeface="Calibri"/>
              <a:cs typeface="Calibri"/>
              <a:sym typeface="Calibri"/>
            </a:endParaRPr>
          </a:p>
        </p:txBody>
      </p:sp>
      <p:pic>
        <p:nvPicPr>
          <p:cNvPr id="1661" name="Google Shape;1661;p75"/>
          <p:cNvPicPr preferRelativeResize="0"/>
          <p:nvPr/>
        </p:nvPicPr>
        <p:blipFill rotWithShape="1">
          <a:blip r:embed="rId4">
            <a:alphaModFix/>
          </a:blip>
          <a:srcRect/>
          <a:stretch/>
        </p:blipFill>
        <p:spPr>
          <a:xfrm>
            <a:off x="7801470" y="595174"/>
            <a:ext cx="601166" cy="601166"/>
          </a:xfrm>
          <a:prstGeom prst="rect">
            <a:avLst/>
          </a:prstGeom>
          <a:noFill/>
          <a:ln>
            <a:noFill/>
          </a:ln>
        </p:spPr>
      </p:pic>
      <p:pic>
        <p:nvPicPr>
          <p:cNvPr id="1662" name="Google Shape;1662;p75"/>
          <p:cNvPicPr preferRelativeResize="0"/>
          <p:nvPr/>
        </p:nvPicPr>
        <p:blipFill rotWithShape="1">
          <a:blip r:embed="rId5">
            <a:alphaModFix/>
          </a:blip>
          <a:srcRect/>
          <a:stretch/>
        </p:blipFill>
        <p:spPr>
          <a:xfrm>
            <a:off x="4914272" y="598939"/>
            <a:ext cx="591178" cy="591178"/>
          </a:xfrm>
          <a:prstGeom prst="rect">
            <a:avLst/>
          </a:prstGeom>
          <a:noFill/>
          <a:ln>
            <a:noFill/>
          </a:ln>
        </p:spPr>
      </p:pic>
      <p:grpSp>
        <p:nvGrpSpPr>
          <p:cNvPr id="1663" name="Google Shape;1663;p75"/>
          <p:cNvGrpSpPr/>
          <p:nvPr/>
        </p:nvGrpSpPr>
        <p:grpSpPr>
          <a:xfrm>
            <a:off x="3371589" y="3031185"/>
            <a:ext cx="457200" cy="457200"/>
            <a:chOff x="5019786" y="5350940"/>
            <a:chExt cx="457200" cy="457200"/>
          </a:xfrm>
        </p:grpSpPr>
        <p:sp>
          <p:nvSpPr>
            <p:cNvPr id="1664" name="Google Shape;1664;p75"/>
            <p:cNvSpPr/>
            <p:nvPr/>
          </p:nvSpPr>
          <p:spPr>
            <a:xfrm>
              <a:off x="5019786" y="5350940"/>
              <a:ext cx="457200" cy="457200"/>
            </a:xfrm>
            <a:prstGeom prst="ellipse">
              <a:avLst/>
            </a:prstGeom>
            <a:noFill/>
            <a:ln w="12700" cap="flat" cmpd="sng">
              <a:solidFill>
                <a:srgbClr val="0F47F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665" name="Google Shape;1665;p75" descr="Gears"/>
            <p:cNvPicPr preferRelativeResize="0"/>
            <p:nvPr/>
          </p:nvPicPr>
          <p:blipFill rotWithShape="1">
            <a:blip r:embed="rId6">
              <a:alphaModFix/>
            </a:blip>
            <a:srcRect/>
            <a:stretch/>
          </p:blipFill>
          <p:spPr>
            <a:xfrm>
              <a:off x="5065506" y="5401573"/>
              <a:ext cx="365760" cy="365760"/>
            </a:xfrm>
            <a:prstGeom prst="rect">
              <a:avLst/>
            </a:prstGeom>
            <a:noFill/>
            <a:ln>
              <a:noFill/>
            </a:ln>
          </p:spPr>
        </p:pic>
      </p:grpSp>
      <p:grpSp>
        <p:nvGrpSpPr>
          <p:cNvPr id="1666" name="Google Shape;1666;p75"/>
          <p:cNvGrpSpPr/>
          <p:nvPr/>
        </p:nvGrpSpPr>
        <p:grpSpPr>
          <a:xfrm>
            <a:off x="3371589" y="3913919"/>
            <a:ext cx="457200" cy="457200"/>
            <a:chOff x="3378894" y="3514738"/>
            <a:chExt cx="457200" cy="457200"/>
          </a:xfrm>
        </p:grpSpPr>
        <p:pic>
          <p:nvPicPr>
            <p:cNvPr id="1667" name="Google Shape;1667;p75" descr="Arrow circle"/>
            <p:cNvPicPr preferRelativeResize="0"/>
            <p:nvPr/>
          </p:nvPicPr>
          <p:blipFill rotWithShape="1">
            <a:blip r:embed="rId7">
              <a:alphaModFix/>
            </a:blip>
            <a:srcRect/>
            <a:stretch/>
          </p:blipFill>
          <p:spPr>
            <a:xfrm>
              <a:off x="3424614" y="3560458"/>
              <a:ext cx="365760" cy="365760"/>
            </a:xfrm>
            <a:prstGeom prst="rect">
              <a:avLst/>
            </a:prstGeom>
            <a:noFill/>
            <a:ln>
              <a:noFill/>
            </a:ln>
          </p:spPr>
        </p:pic>
        <p:sp>
          <p:nvSpPr>
            <p:cNvPr id="1668" name="Google Shape;1668;p75"/>
            <p:cNvSpPr/>
            <p:nvPr/>
          </p:nvSpPr>
          <p:spPr>
            <a:xfrm>
              <a:off x="3378894" y="3514738"/>
              <a:ext cx="457200" cy="457200"/>
            </a:xfrm>
            <a:prstGeom prst="ellipse">
              <a:avLst/>
            </a:prstGeom>
            <a:noFill/>
            <a:ln w="12700" cap="flat" cmpd="sng">
              <a:solidFill>
                <a:srgbClr val="0F47F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grpSp>
        <p:nvGrpSpPr>
          <p:cNvPr id="1669" name="Google Shape;1669;p75"/>
          <p:cNvGrpSpPr/>
          <p:nvPr/>
        </p:nvGrpSpPr>
        <p:grpSpPr>
          <a:xfrm>
            <a:off x="3371589" y="4796653"/>
            <a:ext cx="457200" cy="457200"/>
            <a:chOff x="3396648" y="4559261"/>
            <a:chExt cx="457200" cy="457200"/>
          </a:xfrm>
        </p:grpSpPr>
        <p:sp>
          <p:nvSpPr>
            <p:cNvPr id="1670" name="Google Shape;1670;p75"/>
            <p:cNvSpPr/>
            <p:nvPr/>
          </p:nvSpPr>
          <p:spPr>
            <a:xfrm>
              <a:off x="3396648" y="4559261"/>
              <a:ext cx="457200" cy="457200"/>
            </a:xfrm>
            <a:prstGeom prst="ellipse">
              <a:avLst/>
            </a:prstGeom>
            <a:noFill/>
            <a:ln w="12700" cap="flat" cmpd="sng">
              <a:solidFill>
                <a:srgbClr val="0F47F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671" name="Google Shape;1671;p75" descr="Dollar"/>
            <p:cNvPicPr preferRelativeResize="0"/>
            <p:nvPr/>
          </p:nvPicPr>
          <p:blipFill rotWithShape="1">
            <a:blip r:embed="rId8">
              <a:alphaModFix/>
            </a:blip>
            <a:srcRect/>
            <a:stretch/>
          </p:blipFill>
          <p:spPr>
            <a:xfrm>
              <a:off x="3442368" y="4633632"/>
              <a:ext cx="365760" cy="308458"/>
            </a:xfrm>
            <a:prstGeom prst="rect">
              <a:avLst/>
            </a:prstGeom>
            <a:noFill/>
            <a:ln>
              <a:noFill/>
            </a:ln>
          </p:spPr>
        </p:pic>
      </p:grpSp>
      <p:sp>
        <p:nvSpPr>
          <p:cNvPr id="1672" name="Google Shape;1672;p75"/>
          <p:cNvSpPr txBox="1"/>
          <p:nvPr/>
        </p:nvSpPr>
        <p:spPr>
          <a:xfrm>
            <a:off x="3942673" y="4700900"/>
            <a:ext cx="1645920" cy="86177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rgbClr val="444444"/>
                </a:solidFill>
                <a:latin typeface="Calibri"/>
                <a:ea typeface="Calibri"/>
                <a:cs typeface="Calibri"/>
                <a:sym typeface="Calibri"/>
              </a:rPr>
              <a:t>Lower cost than hiring</a:t>
            </a:r>
            <a:r>
              <a:rPr lang="en-US" sz="1400" b="0" i="0" u="none" strike="noStrike" cap="none">
                <a:solidFill>
                  <a:srgbClr val="444444"/>
                </a:solidFill>
                <a:latin typeface="Calibri"/>
                <a:ea typeface="Calibri"/>
                <a:cs typeface="Calibri"/>
                <a:sym typeface="Calibri"/>
              </a:rPr>
              <a:t> and retaining research analysts internally</a:t>
            </a:r>
            <a:endParaRPr sz="1400" b="0" i="0" u="none" strike="noStrike" cap="none">
              <a:solidFill>
                <a:srgbClr val="444444"/>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73" name="Google Shape;1673;p75"/>
          <p:cNvSpPr txBox="1"/>
          <p:nvPr/>
        </p:nvSpPr>
        <p:spPr>
          <a:xfrm>
            <a:off x="5174046" y="6945699"/>
            <a:ext cx="65" cy="21544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74" name="Google Shape;1674;p75"/>
          <p:cNvSpPr txBox="1"/>
          <p:nvPr/>
        </p:nvSpPr>
        <p:spPr>
          <a:xfrm>
            <a:off x="3911159" y="3044342"/>
            <a:ext cx="1645920" cy="430887"/>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rgbClr val="444444"/>
                </a:solidFill>
                <a:latin typeface="Calibri"/>
                <a:ea typeface="Calibri"/>
                <a:cs typeface="Calibri"/>
                <a:sym typeface="Calibri"/>
              </a:rPr>
              <a:t>Effective and quick </a:t>
            </a:r>
            <a:r>
              <a:rPr lang="en-US" sz="1400" b="0" i="0" u="none" strike="noStrike" cap="none">
                <a:solidFill>
                  <a:srgbClr val="444444"/>
                </a:solidFill>
                <a:latin typeface="Calibri"/>
                <a:ea typeface="Calibri"/>
                <a:cs typeface="Calibri"/>
                <a:sym typeface="Calibri"/>
              </a:rPr>
              <a:t>solution</a:t>
            </a:r>
            <a:endParaRPr sz="1400" b="0" i="0" u="none" strike="noStrike" cap="none">
              <a:solidFill>
                <a:srgbClr val="000000"/>
              </a:solidFill>
              <a:latin typeface="Arial"/>
              <a:ea typeface="Arial"/>
              <a:cs typeface="Arial"/>
              <a:sym typeface="Arial"/>
            </a:endParaRPr>
          </a:p>
        </p:txBody>
      </p:sp>
      <p:sp>
        <p:nvSpPr>
          <p:cNvPr id="1675" name="Google Shape;1675;p75"/>
          <p:cNvSpPr txBox="1"/>
          <p:nvPr/>
        </p:nvSpPr>
        <p:spPr>
          <a:xfrm>
            <a:off x="3942673" y="3795587"/>
            <a:ext cx="1645920" cy="86177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rgbClr val="444444"/>
                </a:solidFill>
                <a:latin typeface="Calibri"/>
                <a:ea typeface="Calibri"/>
                <a:cs typeface="Calibri"/>
                <a:sym typeface="Calibri"/>
              </a:rPr>
              <a:t>Smooth integration </a:t>
            </a:r>
            <a:r>
              <a:rPr lang="en-US" sz="1400" b="0" i="0" u="none" strike="noStrike" cap="none">
                <a:solidFill>
                  <a:srgbClr val="444444"/>
                </a:solidFill>
                <a:latin typeface="Calibri"/>
                <a:ea typeface="Calibri"/>
                <a:cs typeface="Calibri"/>
                <a:sym typeface="Calibri"/>
              </a:rPr>
              <a:t>with its existing research processes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76" name="Google Shape;1676;p75"/>
          <p:cNvSpPr txBox="1"/>
          <p:nvPr/>
        </p:nvSpPr>
        <p:spPr>
          <a:xfrm>
            <a:off x="7263292" y="5020716"/>
            <a:ext cx="1323212" cy="6463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rgbClr val="000000"/>
                </a:solidFill>
                <a:latin typeface="Calibri"/>
                <a:ea typeface="Calibri"/>
                <a:cs typeface="Calibri"/>
                <a:sym typeface="Calibri"/>
              </a:rPr>
              <a:t>Ad-hoc requests </a:t>
            </a:r>
            <a:r>
              <a:rPr lang="en-US" sz="1400" b="0" i="0" u="none" strike="noStrike" cap="none">
                <a:solidFill>
                  <a:srgbClr val="000000"/>
                </a:solidFill>
                <a:latin typeface="Calibri"/>
                <a:ea typeface="Calibri"/>
                <a:cs typeface="Calibri"/>
                <a:sym typeface="Calibri"/>
              </a:rPr>
              <a:t>to get needed information </a:t>
            </a:r>
            <a:endParaRPr sz="1400" b="0" i="0" u="none" strike="noStrike" cap="none">
              <a:solidFill>
                <a:srgbClr val="000000"/>
              </a:solidFill>
              <a:latin typeface="Arial"/>
              <a:ea typeface="Arial"/>
              <a:cs typeface="Arial"/>
              <a:sym typeface="Arial"/>
            </a:endParaRPr>
          </a:p>
        </p:txBody>
      </p:sp>
      <p:grpSp>
        <p:nvGrpSpPr>
          <p:cNvPr id="1677" name="Google Shape;1677;p75"/>
          <p:cNvGrpSpPr/>
          <p:nvPr/>
        </p:nvGrpSpPr>
        <p:grpSpPr>
          <a:xfrm>
            <a:off x="6312018" y="2596321"/>
            <a:ext cx="850602" cy="777196"/>
            <a:chOff x="3673736" y="3493417"/>
            <a:chExt cx="2748440" cy="2549243"/>
          </a:xfrm>
        </p:grpSpPr>
        <p:sp>
          <p:nvSpPr>
            <p:cNvPr id="1678" name="Google Shape;1678;p75"/>
            <p:cNvSpPr/>
            <p:nvPr/>
          </p:nvSpPr>
          <p:spPr>
            <a:xfrm>
              <a:off x="5775484" y="3571149"/>
              <a:ext cx="646692" cy="546125"/>
            </a:xfrm>
            <a:custGeom>
              <a:avLst/>
              <a:gdLst/>
              <a:ahLst/>
              <a:cxnLst/>
              <a:rect l="l" t="t" r="r" b="b"/>
              <a:pathLst>
                <a:path w="243" h="228" extrusionOk="0">
                  <a:moveTo>
                    <a:pt x="227" y="227"/>
                  </a:moveTo>
                  <a:lnTo>
                    <a:pt x="170" y="218"/>
                  </a:lnTo>
                  <a:lnTo>
                    <a:pt x="162" y="202"/>
                  </a:lnTo>
                  <a:lnTo>
                    <a:pt x="137" y="211"/>
                  </a:lnTo>
                  <a:lnTo>
                    <a:pt x="121" y="211"/>
                  </a:lnTo>
                  <a:lnTo>
                    <a:pt x="96" y="186"/>
                  </a:lnTo>
                  <a:lnTo>
                    <a:pt x="80" y="162"/>
                  </a:lnTo>
                  <a:lnTo>
                    <a:pt x="65" y="155"/>
                  </a:lnTo>
                  <a:lnTo>
                    <a:pt x="56" y="155"/>
                  </a:lnTo>
                  <a:lnTo>
                    <a:pt x="48" y="146"/>
                  </a:lnTo>
                  <a:lnTo>
                    <a:pt x="40" y="121"/>
                  </a:lnTo>
                  <a:lnTo>
                    <a:pt x="24" y="115"/>
                  </a:lnTo>
                  <a:lnTo>
                    <a:pt x="15" y="98"/>
                  </a:lnTo>
                  <a:lnTo>
                    <a:pt x="24" y="81"/>
                  </a:lnTo>
                  <a:lnTo>
                    <a:pt x="24" y="65"/>
                  </a:lnTo>
                  <a:lnTo>
                    <a:pt x="15" y="65"/>
                  </a:lnTo>
                  <a:lnTo>
                    <a:pt x="8" y="49"/>
                  </a:lnTo>
                  <a:lnTo>
                    <a:pt x="0" y="9"/>
                  </a:lnTo>
                  <a:lnTo>
                    <a:pt x="8" y="0"/>
                  </a:lnTo>
                  <a:lnTo>
                    <a:pt x="15" y="16"/>
                  </a:lnTo>
                  <a:lnTo>
                    <a:pt x="24" y="16"/>
                  </a:lnTo>
                  <a:lnTo>
                    <a:pt x="31" y="16"/>
                  </a:lnTo>
                  <a:lnTo>
                    <a:pt x="48" y="9"/>
                  </a:lnTo>
                  <a:lnTo>
                    <a:pt x="56" y="9"/>
                  </a:lnTo>
                  <a:lnTo>
                    <a:pt x="48" y="16"/>
                  </a:lnTo>
                  <a:lnTo>
                    <a:pt x="65" y="25"/>
                  </a:lnTo>
                  <a:lnTo>
                    <a:pt x="65" y="41"/>
                  </a:lnTo>
                  <a:lnTo>
                    <a:pt x="96" y="58"/>
                  </a:lnTo>
                  <a:lnTo>
                    <a:pt x="130" y="58"/>
                  </a:lnTo>
                  <a:lnTo>
                    <a:pt x="130" y="41"/>
                  </a:lnTo>
                  <a:lnTo>
                    <a:pt x="145" y="33"/>
                  </a:lnTo>
                  <a:lnTo>
                    <a:pt x="170" y="33"/>
                  </a:lnTo>
                  <a:lnTo>
                    <a:pt x="219" y="58"/>
                  </a:lnTo>
                  <a:lnTo>
                    <a:pt x="219" y="65"/>
                  </a:lnTo>
                  <a:lnTo>
                    <a:pt x="219" y="73"/>
                  </a:lnTo>
                  <a:lnTo>
                    <a:pt x="219" y="81"/>
                  </a:lnTo>
                  <a:lnTo>
                    <a:pt x="210" y="98"/>
                  </a:lnTo>
                  <a:lnTo>
                    <a:pt x="210" y="130"/>
                  </a:lnTo>
                  <a:lnTo>
                    <a:pt x="227" y="139"/>
                  </a:lnTo>
                  <a:lnTo>
                    <a:pt x="227" y="146"/>
                  </a:lnTo>
                  <a:lnTo>
                    <a:pt x="219" y="162"/>
                  </a:lnTo>
                  <a:lnTo>
                    <a:pt x="227" y="178"/>
                  </a:lnTo>
                  <a:lnTo>
                    <a:pt x="235" y="186"/>
                  </a:lnTo>
                  <a:lnTo>
                    <a:pt x="242" y="202"/>
                  </a:lnTo>
                  <a:lnTo>
                    <a:pt x="227" y="211"/>
                  </a:lnTo>
                  <a:lnTo>
                    <a:pt x="227" y="227"/>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679" name="Google Shape;1679;p75"/>
            <p:cNvSpPr/>
            <p:nvPr/>
          </p:nvSpPr>
          <p:spPr>
            <a:xfrm>
              <a:off x="5097785" y="3882080"/>
              <a:ext cx="396430" cy="352789"/>
            </a:xfrm>
            <a:custGeom>
              <a:avLst/>
              <a:gdLst/>
              <a:ahLst/>
              <a:cxnLst/>
              <a:rect l="l" t="t" r="r" b="b"/>
              <a:pathLst>
                <a:path w="148" h="147" extrusionOk="0">
                  <a:moveTo>
                    <a:pt x="147" y="130"/>
                  </a:moveTo>
                  <a:lnTo>
                    <a:pt x="122" y="146"/>
                  </a:lnTo>
                  <a:lnTo>
                    <a:pt x="115" y="137"/>
                  </a:lnTo>
                  <a:lnTo>
                    <a:pt x="10" y="137"/>
                  </a:lnTo>
                  <a:lnTo>
                    <a:pt x="10" y="48"/>
                  </a:lnTo>
                  <a:lnTo>
                    <a:pt x="0" y="32"/>
                  </a:lnTo>
                  <a:lnTo>
                    <a:pt x="10" y="0"/>
                  </a:lnTo>
                  <a:lnTo>
                    <a:pt x="10" y="9"/>
                  </a:lnTo>
                  <a:lnTo>
                    <a:pt x="34" y="9"/>
                  </a:lnTo>
                  <a:lnTo>
                    <a:pt x="57" y="16"/>
                  </a:lnTo>
                  <a:lnTo>
                    <a:pt x="91" y="9"/>
                  </a:lnTo>
                  <a:lnTo>
                    <a:pt x="97" y="9"/>
                  </a:lnTo>
                  <a:lnTo>
                    <a:pt x="97" y="16"/>
                  </a:lnTo>
                  <a:lnTo>
                    <a:pt x="107" y="9"/>
                  </a:lnTo>
                  <a:lnTo>
                    <a:pt x="107" y="16"/>
                  </a:lnTo>
                  <a:lnTo>
                    <a:pt x="122" y="9"/>
                  </a:lnTo>
                  <a:lnTo>
                    <a:pt x="131" y="40"/>
                  </a:lnTo>
                  <a:lnTo>
                    <a:pt x="122" y="65"/>
                  </a:lnTo>
                  <a:lnTo>
                    <a:pt x="115" y="48"/>
                  </a:lnTo>
                  <a:lnTo>
                    <a:pt x="107" y="25"/>
                  </a:lnTo>
                  <a:lnTo>
                    <a:pt x="107" y="32"/>
                  </a:lnTo>
                  <a:lnTo>
                    <a:pt x="107" y="40"/>
                  </a:lnTo>
                  <a:lnTo>
                    <a:pt x="147" y="130"/>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680" name="Google Shape;1680;p75"/>
            <p:cNvSpPr/>
            <p:nvPr/>
          </p:nvSpPr>
          <p:spPr>
            <a:xfrm>
              <a:off x="4588406" y="3846203"/>
              <a:ext cx="540387" cy="462411"/>
            </a:xfrm>
            <a:custGeom>
              <a:avLst/>
              <a:gdLst/>
              <a:ahLst/>
              <a:cxnLst/>
              <a:rect l="l" t="t" r="r" b="b"/>
              <a:pathLst>
                <a:path w="203" h="193" extrusionOk="0">
                  <a:moveTo>
                    <a:pt x="31" y="137"/>
                  </a:moveTo>
                  <a:lnTo>
                    <a:pt x="22" y="120"/>
                  </a:lnTo>
                  <a:lnTo>
                    <a:pt x="15" y="120"/>
                  </a:lnTo>
                  <a:lnTo>
                    <a:pt x="0" y="96"/>
                  </a:lnTo>
                  <a:lnTo>
                    <a:pt x="6" y="87"/>
                  </a:lnTo>
                  <a:lnTo>
                    <a:pt x="6" y="71"/>
                  </a:lnTo>
                  <a:lnTo>
                    <a:pt x="6" y="55"/>
                  </a:lnTo>
                  <a:lnTo>
                    <a:pt x="0" y="47"/>
                  </a:lnTo>
                  <a:lnTo>
                    <a:pt x="0" y="40"/>
                  </a:lnTo>
                  <a:lnTo>
                    <a:pt x="6" y="31"/>
                  </a:lnTo>
                  <a:lnTo>
                    <a:pt x="6" y="24"/>
                  </a:lnTo>
                  <a:lnTo>
                    <a:pt x="22" y="6"/>
                  </a:lnTo>
                  <a:lnTo>
                    <a:pt x="22" y="0"/>
                  </a:lnTo>
                  <a:lnTo>
                    <a:pt x="40" y="0"/>
                  </a:lnTo>
                  <a:lnTo>
                    <a:pt x="63" y="6"/>
                  </a:lnTo>
                  <a:lnTo>
                    <a:pt x="80" y="6"/>
                  </a:lnTo>
                  <a:lnTo>
                    <a:pt x="80" y="24"/>
                  </a:lnTo>
                  <a:lnTo>
                    <a:pt x="128" y="40"/>
                  </a:lnTo>
                  <a:lnTo>
                    <a:pt x="137" y="31"/>
                  </a:lnTo>
                  <a:lnTo>
                    <a:pt x="137" y="15"/>
                  </a:lnTo>
                  <a:lnTo>
                    <a:pt x="161" y="0"/>
                  </a:lnTo>
                  <a:lnTo>
                    <a:pt x="177" y="6"/>
                  </a:lnTo>
                  <a:lnTo>
                    <a:pt x="177" y="15"/>
                  </a:lnTo>
                  <a:lnTo>
                    <a:pt x="202" y="15"/>
                  </a:lnTo>
                  <a:lnTo>
                    <a:pt x="192" y="47"/>
                  </a:lnTo>
                  <a:lnTo>
                    <a:pt x="202" y="63"/>
                  </a:lnTo>
                  <a:lnTo>
                    <a:pt x="202" y="152"/>
                  </a:lnTo>
                  <a:lnTo>
                    <a:pt x="202" y="177"/>
                  </a:lnTo>
                  <a:lnTo>
                    <a:pt x="192" y="186"/>
                  </a:lnTo>
                  <a:lnTo>
                    <a:pt x="184" y="192"/>
                  </a:lnTo>
                  <a:lnTo>
                    <a:pt x="87" y="137"/>
                  </a:lnTo>
                  <a:lnTo>
                    <a:pt x="72" y="145"/>
                  </a:lnTo>
                  <a:lnTo>
                    <a:pt x="63" y="137"/>
                  </a:lnTo>
                  <a:lnTo>
                    <a:pt x="31" y="137"/>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681" name="Google Shape;1681;p75"/>
            <p:cNvSpPr/>
            <p:nvPr/>
          </p:nvSpPr>
          <p:spPr>
            <a:xfrm>
              <a:off x="3977150" y="3686751"/>
              <a:ext cx="695415" cy="621864"/>
            </a:xfrm>
            <a:custGeom>
              <a:avLst/>
              <a:gdLst/>
              <a:ahLst/>
              <a:cxnLst/>
              <a:rect l="l" t="t" r="r" b="b"/>
              <a:pathLst>
                <a:path w="261" h="259" extrusionOk="0">
                  <a:moveTo>
                    <a:pt x="82" y="32"/>
                  </a:moveTo>
                  <a:lnTo>
                    <a:pt x="90" y="32"/>
                  </a:lnTo>
                  <a:lnTo>
                    <a:pt x="98" y="72"/>
                  </a:lnTo>
                  <a:lnTo>
                    <a:pt x="65" y="81"/>
                  </a:lnTo>
                  <a:lnTo>
                    <a:pt x="65" y="90"/>
                  </a:lnTo>
                  <a:lnTo>
                    <a:pt x="42" y="106"/>
                  </a:lnTo>
                  <a:lnTo>
                    <a:pt x="8" y="121"/>
                  </a:lnTo>
                  <a:lnTo>
                    <a:pt x="0" y="129"/>
                  </a:lnTo>
                  <a:lnTo>
                    <a:pt x="0" y="146"/>
                  </a:lnTo>
                  <a:lnTo>
                    <a:pt x="48" y="178"/>
                  </a:lnTo>
                  <a:lnTo>
                    <a:pt x="122" y="234"/>
                  </a:lnTo>
                  <a:lnTo>
                    <a:pt x="130" y="243"/>
                  </a:lnTo>
                  <a:lnTo>
                    <a:pt x="145" y="252"/>
                  </a:lnTo>
                  <a:lnTo>
                    <a:pt x="154" y="258"/>
                  </a:lnTo>
                  <a:lnTo>
                    <a:pt x="163" y="258"/>
                  </a:lnTo>
                  <a:lnTo>
                    <a:pt x="179" y="258"/>
                  </a:lnTo>
                  <a:lnTo>
                    <a:pt x="260" y="203"/>
                  </a:lnTo>
                  <a:lnTo>
                    <a:pt x="251" y="186"/>
                  </a:lnTo>
                  <a:lnTo>
                    <a:pt x="244" y="186"/>
                  </a:lnTo>
                  <a:lnTo>
                    <a:pt x="229" y="162"/>
                  </a:lnTo>
                  <a:lnTo>
                    <a:pt x="235" y="153"/>
                  </a:lnTo>
                  <a:lnTo>
                    <a:pt x="235" y="137"/>
                  </a:lnTo>
                  <a:lnTo>
                    <a:pt x="235" y="121"/>
                  </a:lnTo>
                  <a:lnTo>
                    <a:pt x="229" y="113"/>
                  </a:lnTo>
                  <a:lnTo>
                    <a:pt x="229" y="106"/>
                  </a:lnTo>
                  <a:lnTo>
                    <a:pt x="229" y="81"/>
                  </a:lnTo>
                  <a:lnTo>
                    <a:pt x="210" y="72"/>
                  </a:lnTo>
                  <a:lnTo>
                    <a:pt x="204" y="56"/>
                  </a:lnTo>
                  <a:lnTo>
                    <a:pt x="219" y="41"/>
                  </a:lnTo>
                  <a:lnTo>
                    <a:pt x="210" y="9"/>
                  </a:lnTo>
                  <a:lnTo>
                    <a:pt x="219" y="0"/>
                  </a:lnTo>
                  <a:lnTo>
                    <a:pt x="210" y="9"/>
                  </a:lnTo>
                  <a:lnTo>
                    <a:pt x="187" y="0"/>
                  </a:lnTo>
                  <a:lnTo>
                    <a:pt x="179" y="9"/>
                  </a:lnTo>
                  <a:lnTo>
                    <a:pt x="163" y="0"/>
                  </a:lnTo>
                  <a:lnTo>
                    <a:pt x="145" y="9"/>
                  </a:lnTo>
                  <a:lnTo>
                    <a:pt x="122" y="9"/>
                  </a:lnTo>
                  <a:lnTo>
                    <a:pt x="82" y="32"/>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682" name="Google Shape;1682;p75"/>
            <p:cNvSpPr/>
            <p:nvPr/>
          </p:nvSpPr>
          <p:spPr>
            <a:xfrm>
              <a:off x="3848698" y="4115280"/>
              <a:ext cx="564746" cy="486329"/>
            </a:xfrm>
            <a:custGeom>
              <a:avLst/>
              <a:gdLst/>
              <a:ahLst/>
              <a:cxnLst/>
              <a:rect l="l" t="t" r="r" b="b"/>
              <a:pathLst>
                <a:path w="212" h="203" extrusionOk="0">
                  <a:moveTo>
                    <a:pt x="96" y="0"/>
                  </a:moveTo>
                  <a:lnTo>
                    <a:pt x="170" y="56"/>
                  </a:lnTo>
                  <a:lnTo>
                    <a:pt x="178" y="65"/>
                  </a:lnTo>
                  <a:lnTo>
                    <a:pt x="193" y="74"/>
                  </a:lnTo>
                  <a:lnTo>
                    <a:pt x="202" y="80"/>
                  </a:lnTo>
                  <a:lnTo>
                    <a:pt x="211" y="80"/>
                  </a:lnTo>
                  <a:lnTo>
                    <a:pt x="211" y="121"/>
                  </a:lnTo>
                  <a:lnTo>
                    <a:pt x="202" y="130"/>
                  </a:lnTo>
                  <a:lnTo>
                    <a:pt x="162" y="137"/>
                  </a:lnTo>
                  <a:lnTo>
                    <a:pt x="146" y="137"/>
                  </a:lnTo>
                  <a:lnTo>
                    <a:pt x="130" y="155"/>
                  </a:lnTo>
                  <a:lnTo>
                    <a:pt x="113" y="162"/>
                  </a:lnTo>
                  <a:lnTo>
                    <a:pt x="96" y="187"/>
                  </a:lnTo>
                  <a:lnTo>
                    <a:pt x="90" y="195"/>
                  </a:lnTo>
                  <a:lnTo>
                    <a:pt x="81" y="202"/>
                  </a:lnTo>
                  <a:lnTo>
                    <a:pt x="72" y="195"/>
                  </a:lnTo>
                  <a:lnTo>
                    <a:pt x="65" y="202"/>
                  </a:lnTo>
                  <a:lnTo>
                    <a:pt x="56" y="202"/>
                  </a:lnTo>
                  <a:lnTo>
                    <a:pt x="41" y="170"/>
                  </a:lnTo>
                  <a:lnTo>
                    <a:pt x="23" y="177"/>
                  </a:lnTo>
                  <a:lnTo>
                    <a:pt x="7" y="177"/>
                  </a:lnTo>
                  <a:lnTo>
                    <a:pt x="16" y="170"/>
                  </a:lnTo>
                  <a:lnTo>
                    <a:pt x="0" y="137"/>
                  </a:lnTo>
                  <a:lnTo>
                    <a:pt x="16" y="130"/>
                  </a:lnTo>
                  <a:lnTo>
                    <a:pt x="23" y="137"/>
                  </a:lnTo>
                  <a:lnTo>
                    <a:pt x="31" y="130"/>
                  </a:lnTo>
                  <a:lnTo>
                    <a:pt x="90" y="130"/>
                  </a:lnTo>
                  <a:lnTo>
                    <a:pt x="72" y="0"/>
                  </a:lnTo>
                  <a:lnTo>
                    <a:pt x="96" y="0"/>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683" name="Google Shape;1683;p75"/>
            <p:cNvSpPr/>
            <p:nvPr/>
          </p:nvSpPr>
          <p:spPr>
            <a:xfrm>
              <a:off x="3977150" y="4581677"/>
              <a:ext cx="219255" cy="197322"/>
            </a:xfrm>
            <a:custGeom>
              <a:avLst/>
              <a:gdLst/>
              <a:ahLst/>
              <a:cxnLst/>
              <a:rect l="l" t="t" r="r" b="b"/>
              <a:pathLst>
                <a:path w="83" h="82" extrusionOk="0">
                  <a:moveTo>
                    <a:pt x="73" y="72"/>
                  </a:moveTo>
                  <a:lnTo>
                    <a:pt x="73" y="47"/>
                  </a:lnTo>
                  <a:lnTo>
                    <a:pt x="82" y="32"/>
                  </a:lnTo>
                  <a:lnTo>
                    <a:pt x="73" y="16"/>
                  </a:lnTo>
                  <a:lnTo>
                    <a:pt x="65" y="7"/>
                  </a:lnTo>
                  <a:lnTo>
                    <a:pt x="48" y="7"/>
                  </a:lnTo>
                  <a:lnTo>
                    <a:pt x="42" y="0"/>
                  </a:lnTo>
                  <a:lnTo>
                    <a:pt x="33" y="7"/>
                  </a:lnTo>
                  <a:lnTo>
                    <a:pt x="24" y="0"/>
                  </a:lnTo>
                  <a:lnTo>
                    <a:pt x="17" y="7"/>
                  </a:lnTo>
                  <a:lnTo>
                    <a:pt x="8" y="7"/>
                  </a:lnTo>
                  <a:lnTo>
                    <a:pt x="8" y="16"/>
                  </a:lnTo>
                  <a:lnTo>
                    <a:pt x="8" y="23"/>
                  </a:lnTo>
                  <a:lnTo>
                    <a:pt x="8" y="32"/>
                  </a:lnTo>
                  <a:lnTo>
                    <a:pt x="8" y="41"/>
                  </a:lnTo>
                  <a:lnTo>
                    <a:pt x="0" y="41"/>
                  </a:lnTo>
                  <a:lnTo>
                    <a:pt x="0" y="56"/>
                  </a:lnTo>
                  <a:lnTo>
                    <a:pt x="17" y="65"/>
                  </a:lnTo>
                  <a:lnTo>
                    <a:pt x="17" y="81"/>
                  </a:lnTo>
                  <a:lnTo>
                    <a:pt x="33" y="72"/>
                  </a:lnTo>
                  <a:lnTo>
                    <a:pt x="57" y="72"/>
                  </a:lnTo>
                  <a:lnTo>
                    <a:pt x="73" y="72"/>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684" name="Google Shape;1684;p75"/>
            <p:cNvSpPr/>
            <p:nvPr/>
          </p:nvSpPr>
          <p:spPr>
            <a:xfrm>
              <a:off x="4169827" y="4563740"/>
              <a:ext cx="135098" cy="195330"/>
            </a:xfrm>
            <a:custGeom>
              <a:avLst/>
              <a:gdLst/>
              <a:ahLst/>
              <a:cxnLst/>
              <a:rect l="l" t="t" r="r" b="b"/>
              <a:pathLst>
                <a:path w="50" h="81" extrusionOk="0">
                  <a:moveTo>
                    <a:pt x="0" y="24"/>
                  </a:moveTo>
                  <a:lnTo>
                    <a:pt x="0" y="8"/>
                  </a:lnTo>
                  <a:lnTo>
                    <a:pt x="0" y="0"/>
                  </a:lnTo>
                  <a:lnTo>
                    <a:pt x="32" y="0"/>
                  </a:lnTo>
                  <a:lnTo>
                    <a:pt x="41" y="31"/>
                  </a:lnTo>
                  <a:lnTo>
                    <a:pt x="49" y="55"/>
                  </a:lnTo>
                  <a:lnTo>
                    <a:pt x="49" y="64"/>
                  </a:lnTo>
                  <a:lnTo>
                    <a:pt x="9" y="80"/>
                  </a:lnTo>
                  <a:lnTo>
                    <a:pt x="0" y="80"/>
                  </a:lnTo>
                  <a:lnTo>
                    <a:pt x="0" y="55"/>
                  </a:lnTo>
                  <a:lnTo>
                    <a:pt x="9" y="40"/>
                  </a:lnTo>
                  <a:lnTo>
                    <a:pt x="0" y="24"/>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685" name="Google Shape;1685;p75"/>
            <p:cNvSpPr/>
            <p:nvPr/>
          </p:nvSpPr>
          <p:spPr>
            <a:xfrm>
              <a:off x="4561829" y="4836802"/>
              <a:ext cx="194894" cy="195330"/>
            </a:xfrm>
            <a:custGeom>
              <a:avLst/>
              <a:gdLst/>
              <a:ahLst/>
              <a:cxnLst/>
              <a:rect l="l" t="t" r="r" b="b"/>
              <a:pathLst>
                <a:path w="74" h="81" extrusionOk="0">
                  <a:moveTo>
                    <a:pt x="16" y="15"/>
                  </a:moveTo>
                  <a:lnTo>
                    <a:pt x="32" y="15"/>
                  </a:lnTo>
                  <a:lnTo>
                    <a:pt x="32" y="0"/>
                  </a:lnTo>
                  <a:lnTo>
                    <a:pt x="57" y="0"/>
                  </a:lnTo>
                  <a:lnTo>
                    <a:pt x="57" y="15"/>
                  </a:lnTo>
                  <a:lnTo>
                    <a:pt x="65" y="6"/>
                  </a:lnTo>
                  <a:lnTo>
                    <a:pt x="73" y="15"/>
                  </a:lnTo>
                  <a:lnTo>
                    <a:pt x="73" y="23"/>
                  </a:lnTo>
                  <a:lnTo>
                    <a:pt x="73" y="56"/>
                  </a:lnTo>
                  <a:lnTo>
                    <a:pt x="50" y="56"/>
                  </a:lnTo>
                  <a:lnTo>
                    <a:pt x="41" y="63"/>
                  </a:lnTo>
                  <a:lnTo>
                    <a:pt x="41" y="72"/>
                  </a:lnTo>
                  <a:lnTo>
                    <a:pt x="32" y="72"/>
                  </a:lnTo>
                  <a:lnTo>
                    <a:pt x="32" y="80"/>
                  </a:lnTo>
                  <a:lnTo>
                    <a:pt x="16" y="63"/>
                  </a:lnTo>
                  <a:lnTo>
                    <a:pt x="0" y="40"/>
                  </a:lnTo>
                  <a:lnTo>
                    <a:pt x="10" y="31"/>
                  </a:lnTo>
                  <a:lnTo>
                    <a:pt x="10" y="23"/>
                  </a:lnTo>
                  <a:lnTo>
                    <a:pt x="16" y="15"/>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686" name="Google Shape;1686;p75"/>
            <p:cNvSpPr/>
            <p:nvPr/>
          </p:nvSpPr>
          <p:spPr>
            <a:xfrm>
              <a:off x="4561830" y="4503945"/>
              <a:ext cx="261333" cy="348803"/>
            </a:xfrm>
            <a:custGeom>
              <a:avLst/>
              <a:gdLst/>
              <a:ahLst/>
              <a:cxnLst/>
              <a:rect l="l" t="t" r="r" b="b"/>
              <a:pathLst>
                <a:path w="98" h="146" extrusionOk="0">
                  <a:moveTo>
                    <a:pt x="0" y="105"/>
                  </a:moveTo>
                  <a:lnTo>
                    <a:pt x="16" y="80"/>
                  </a:lnTo>
                  <a:lnTo>
                    <a:pt x="25" y="80"/>
                  </a:lnTo>
                  <a:lnTo>
                    <a:pt x="32" y="89"/>
                  </a:lnTo>
                  <a:lnTo>
                    <a:pt x="41" y="80"/>
                  </a:lnTo>
                  <a:lnTo>
                    <a:pt x="57" y="56"/>
                  </a:lnTo>
                  <a:lnTo>
                    <a:pt x="65" y="33"/>
                  </a:lnTo>
                  <a:lnTo>
                    <a:pt x="73" y="15"/>
                  </a:lnTo>
                  <a:lnTo>
                    <a:pt x="73" y="8"/>
                  </a:lnTo>
                  <a:lnTo>
                    <a:pt x="73" y="0"/>
                  </a:lnTo>
                  <a:lnTo>
                    <a:pt x="73" y="8"/>
                  </a:lnTo>
                  <a:lnTo>
                    <a:pt x="90" y="40"/>
                  </a:lnTo>
                  <a:lnTo>
                    <a:pt x="73" y="40"/>
                  </a:lnTo>
                  <a:lnTo>
                    <a:pt x="73" y="49"/>
                  </a:lnTo>
                  <a:lnTo>
                    <a:pt x="82" y="56"/>
                  </a:lnTo>
                  <a:lnTo>
                    <a:pt x="90" y="74"/>
                  </a:lnTo>
                  <a:lnTo>
                    <a:pt x="73" y="98"/>
                  </a:lnTo>
                  <a:lnTo>
                    <a:pt x="82" y="105"/>
                  </a:lnTo>
                  <a:lnTo>
                    <a:pt x="97" y="130"/>
                  </a:lnTo>
                  <a:lnTo>
                    <a:pt x="97" y="145"/>
                  </a:lnTo>
                  <a:lnTo>
                    <a:pt x="57" y="139"/>
                  </a:lnTo>
                  <a:lnTo>
                    <a:pt x="32" y="139"/>
                  </a:lnTo>
                  <a:lnTo>
                    <a:pt x="16" y="139"/>
                  </a:lnTo>
                  <a:lnTo>
                    <a:pt x="16" y="130"/>
                  </a:lnTo>
                  <a:lnTo>
                    <a:pt x="10" y="121"/>
                  </a:lnTo>
                  <a:lnTo>
                    <a:pt x="0" y="114"/>
                  </a:lnTo>
                  <a:lnTo>
                    <a:pt x="0" y="105"/>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687" name="Google Shape;1687;p75"/>
            <p:cNvSpPr/>
            <p:nvPr/>
          </p:nvSpPr>
          <p:spPr>
            <a:xfrm>
              <a:off x="4362508" y="4487999"/>
              <a:ext cx="394216" cy="291000"/>
            </a:xfrm>
            <a:custGeom>
              <a:avLst/>
              <a:gdLst/>
              <a:ahLst/>
              <a:cxnLst/>
              <a:rect l="l" t="t" r="r" b="b"/>
              <a:pathLst>
                <a:path w="148" h="122" extrusionOk="0">
                  <a:moveTo>
                    <a:pt x="74" y="112"/>
                  </a:moveTo>
                  <a:lnTo>
                    <a:pt x="90" y="87"/>
                  </a:lnTo>
                  <a:lnTo>
                    <a:pt x="99" y="87"/>
                  </a:lnTo>
                  <a:lnTo>
                    <a:pt x="106" y="96"/>
                  </a:lnTo>
                  <a:lnTo>
                    <a:pt x="115" y="87"/>
                  </a:lnTo>
                  <a:lnTo>
                    <a:pt x="131" y="63"/>
                  </a:lnTo>
                  <a:lnTo>
                    <a:pt x="139" y="40"/>
                  </a:lnTo>
                  <a:lnTo>
                    <a:pt x="147" y="22"/>
                  </a:lnTo>
                  <a:lnTo>
                    <a:pt x="147" y="15"/>
                  </a:lnTo>
                  <a:lnTo>
                    <a:pt x="147" y="7"/>
                  </a:lnTo>
                  <a:lnTo>
                    <a:pt x="139" y="0"/>
                  </a:lnTo>
                  <a:lnTo>
                    <a:pt x="131" y="0"/>
                  </a:lnTo>
                  <a:lnTo>
                    <a:pt x="124" y="7"/>
                  </a:lnTo>
                  <a:lnTo>
                    <a:pt x="99" y="7"/>
                  </a:lnTo>
                  <a:lnTo>
                    <a:pt x="84" y="15"/>
                  </a:lnTo>
                  <a:lnTo>
                    <a:pt x="65" y="7"/>
                  </a:lnTo>
                  <a:lnTo>
                    <a:pt x="59" y="7"/>
                  </a:lnTo>
                  <a:lnTo>
                    <a:pt x="34" y="0"/>
                  </a:lnTo>
                  <a:lnTo>
                    <a:pt x="25" y="0"/>
                  </a:lnTo>
                  <a:lnTo>
                    <a:pt x="9" y="15"/>
                  </a:lnTo>
                  <a:lnTo>
                    <a:pt x="9" y="22"/>
                  </a:lnTo>
                  <a:lnTo>
                    <a:pt x="9" y="40"/>
                  </a:lnTo>
                  <a:lnTo>
                    <a:pt x="0" y="72"/>
                  </a:lnTo>
                  <a:lnTo>
                    <a:pt x="0" y="96"/>
                  </a:lnTo>
                  <a:lnTo>
                    <a:pt x="25" y="96"/>
                  </a:lnTo>
                  <a:lnTo>
                    <a:pt x="25" y="105"/>
                  </a:lnTo>
                  <a:lnTo>
                    <a:pt x="34" y="121"/>
                  </a:lnTo>
                  <a:lnTo>
                    <a:pt x="42" y="121"/>
                  </a:lnTo>
                  <a:lnTo>
                    <a:pt x="74" y="121"/>
                  </a:lnTo>
                  <a:lnTo>
                    <a:pt x="74" y="112"/>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688" name="Google Shape;1688;p75"/>
            <p:cNvSpPr/>
            <p:nvPr/>
          </p:nvSpPr>
          <p:spPr>
            <a:xfrm>
              <a:off x="4280561" y="4175075"/>
              <a:ext cx="542601" cy="366741"/>
            </a:xfrm>
            <a:custGeom>
              <a:avLst/>
              <a:gdLst/>
              <a:ahLst/>
              <a:cxnLst/>
              <a:rect l="l" t="t" r="r" b="b"/>
              <a:pathLst>
                <a:path w="203" h="153" extrusionOk="0">
                  <a:moveTo>
                    <a:pt x="170" y="130"/>
                  </a:moveTo>
                  <a:lnTo>
                    <a:pt x="170" y="120"/>
                  </a:lnTo>
                  <a:lnTo>
                    <a:pt x="195" y="89"/>
                  </a:lnTo>
                  <a:lnTo>
                    <a:pt x="202" y="40"/>
                  </a:lnTo>
                  <a:lnTo>
                    <a:pt x="187" y="24"/>
                  </a:lnTo>
                  <a:lnTo>
                    <a:pt x="187" y="8"/>
                  </a:lnTo>
                  <a:lnTo>
                    <a:pt x="178" y="0"/>
                  </a:lnTo>
                  <a:lnTo>
                    <a:pt x="146" y="0"/>
                  </a:lnTo>
                  <a:lnTo>
                    <a:pt x="65" y="55"/>
                  </a:lnTo>
                  <a:lnTo>
                    <a:pt x="49" y="55"/>
                  </a:lnTo>
                  <a:lnTo>
                    <a:pt x="49" y="96"/>
                  </a:lnTo>
                  <a:lnTo>
                    <a:pt x="40" y="105"/>
                  </a:lnTo>
                  <a:lnTo>
                    <a:pt x="0" y="112"/>
                  </a:lnTo>
                  <a:lnTo>
                    <a:pt x="0" y="130"/>
                  </a:lnTo>
                  <a:lnTo>
                    <a:pt x="16" y="145"/>
                  </a:lnTo>
                  <a:lnTo>
                    <a:pt x="25" y="145"/>
                  </a:lnTo>
                  <a:lnTo>
                    <a:pt x="25" y="152"/>
                  </a:lnTo>
                  <a:lnTo>
                    <a:pt x="25" y="145"/>
                  </a:lnTo>
                  <a:lnTo>
                    <a:pt x="31" y="145"/>
                  </a:lnTo>
                  <a:lnTo>
                    <a:pt x="40" y="152"/>
                  </a:lnTo>
                  <a:lnTo>
                    <a:pt x="40" y="145"/>
                  </a:lnTo>
                  <a:lnTo>
                    <a:pt x="56" y="130"/>
                  </a:lnTo>
                  <a:lnTo>
                    <a:pt x="65" y="130"/>
                  </a:lnTo>
                  <a:lnTo>
                    <a:pt x="90" y="137"/>
                  </a:lnTo>
                  <a:lnTo>
                    <a:pt x="96" y="137"/>
                  </a:lnTo>
                  <a:lnTo>
                    <a:pt x="115" y="145"/>
                  </a:lnTo>
                  <a:lnTo>
                    <a:pt x="130" y="137"/>
                  </a:lnTo>
                  <a:lnTo>
                    <a:pt x="155" y="137"/>
                  </a:lnTo>
                  <a:lnTo>
                    <a:pt x="162" y="130"/>
                  </a:lnTo>
                  <a:lnTo>
                    <a:pt x="170" y="130"/>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689" name="Google Shape;1689;p75"/>
            <p:cNvSpPr/>
            <p:nvPr/>
          </p:nvSpPr>
          <p:spPr>
            <a:xfrm>
              <a:off x="4754507" y="4563739"/>
              <a:ext cx="460658" cy="255124"/>
            </a:xfrm>
            <a:custGeom>
              <a:avLst/>
              <a:gdLst/>
              <a:ahLst/>
              <a:cxnLst/>
              <a:rect l="l" t="t" r="r" b="b"/>
              <a:pathLst>
                <a:path w="172" h="106" extrusionOk="0">
                  <a:moveTo>
                    <a:pt x="105" y="0"/>
                  </a:moveTo>
                  <a:lnTo>
                    <a:pt x="121" y="15"/>
                  </a:lnTo>
                  <a:lnTo>
                    <a:pt x="121" y="31"/>
                  </a:lnTo>
                  <a:lnTo>
                    <a:pt x="139" y="40"/>
                  </a:lnTo>
                  <a:lnTo>
                    <a:pt x="171" y="80"/>
                  </a:lnTo>
                  <a:lnTo>
                    <a:pt x="114" y="80"/>
                  </a:lnTo>
                  <a:lnTo>
                    <a:pt x="105" y="89"/>
                  </a:lnTo>
                  <a:lnTo>
                    <a:pt x="80" y="89"/>
                  </a:lnTo>
                  <a:lnTo>
                    <a:pt x="74" y="80"/>
                  </a:lnTo>
                  <a:lnTo>
                    <a:pt x="65" y="80"/>
                  </a:lnTo>
                  <a:lnTo>
                    <a:pt x="57" y="96"/>
                  </a:lnTo>
                  <a:lnTo>
                    <a:pt x="34" y="105"/>
                  </a:lnTo>
                  <a:lnTo>
                    <a:pt x="24" y="105"/>
                  </a:lnTo>
                  <a:lnTo>
                    <a:pt x="9" y="80"/>
                  </a:lnTo>
                  <a:lnTo>
                    <a:pt x="0" y="73"/>
                  </a:lnTo>
                  <a:lnTo>
                    <a:pt x="17" y="49"/>
                  </a:lnTo>
                  <a:lnTo>
                    <a:pt x="57" y="40"/>
                  </a:lnTo>
                  <a:lnTo>
                    <a:pt x="65" y="31"/>
                  </a:lnTo>
                  <a:lnTo>
                    <a:pt x="57" y="31"/>
                  </a:lnTo>
                  <a:lnTo>
                    <a:pt x="80" y="24"/>
                  </a:lnTo>
                  <a:lnTo>
                    <a:pt x="98" y="8"/>
                  </a:lnTo>
                  <a:lnTo>
                    <a:pt x="105" y="0"/>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690" name="Google Shape;1690;p75"/>
            <p:cNvSpPr/>
            <p:nvPr/>
          </p:nvSpPr>
          <p:spPr>
            <a:xfrm>
              <a:off x="5425561" y="4777008"/>
              <a:ext cx="283481" cy="273062"/>
            </a:xfrm>
            <a:custGeom>
              <a:avLst/>
              <a:gdLst/>
              <a:ahLst/>
              <a:cxnLst/>
              <a:rect l="l" t="t" r="r" b="b"/>
              <a:pathLst>
                <a:path w="107" h="114" extrusionOk="0">
                  <a:moveTo>
                    <a:pt x="106" y="7"/>
                  </a:moveTo>
                  <a:lnTo>
                    <a:pt x="90" y="0"/>
                  </a:lnTo>
                  <a:lnTo>
                    <a:pt x="65" y="7"/>
                  </a:lnTo>
                  <a:lnTo>
                    <a:pt x="25" y="0"/>
                  </a:lnTo>
                  <a:lnTo>
                    <a:pt x="9" y="0"/>
                  </a:lnTo>
                  <a:lnTo>
                    <a:pt x="0" y="0"/>
                  </a:lnTo>
                  <a:lnTo>
                    <a:pt x="9" y="7"/>
                  </a:lnTo>
                  <a:lnTo>
                    <a:pt x="17" y="31"/>
                  </a:lnTo>
                  <a:lnTo>
                    <a:pt x="0" y="56"/>
                  </a:lnTo>
                  <a:lnTo>
                    <a:pt x="0" y="65"/>
                  </a:lnTo>
                  <a:lnTo>
                    <a:pt x="9" y="65"/>
                  </a:lnTo>
                  <a:lnTo>
                    <a:pt x="50" y="88"/>
                  </a:lnTo>
                  <a:lnTo>
                    <a:pt x="50" y="105"/>
                  </a:lnTo>
                  <a:lnTo>
                    <a:pt x="74" y="113"/>
                  </a:lnTo>
                  <a:lnTo>
                    <a:pt x="82" y="88"/>
                  </a:lnTo>
                  <a:lnTo>
                    <a:pt x="90" y="88"/>
                  </a:lnTo>
                  <a:lnTo>
                    <a:pt x="99" y="72"/>
                  </a:lnTo>
                  <a:lnTo>
                    <a:pt x="90" y="65"/>
                  </a:lnTo>
                  <a:lnTo>
                    <a:pt x="90" y="25"/>
                  </a:lnTo>
                  <a:lnTo>
                    <a:pt x="106" y="7"/>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691" name="Google Shape;1691;p75"/>
            <p:cNvSpPr/>
            <p:nvPr/>
          </p:nvSpPr>
          <p:spPr>
            <a:xfrm>
              <a:off x="5274962" y="4777007"/>
              <a:ext cx="199323" cy="175398"/>
            </a:xfrm>
            <a:custGeom>
              <a:avLst/>
              <a:gdLst/>
              <a:ahLst/>
              <a:cxnLst/>
              <a:rect l="l" t="t" r="r" b="b"/>
              <a:pathLst>
                <a:path w="74" h="73" extrusionOk="0">
                  <a:moveTo>
                    <a:pt x="56" y="0"/>
                  </a:moveTo>
                  <a:lnTo>
                    <a:pt x="65" y="7"/>
                  </a:lnTo>
                  <a:lnTo>
                    <a:pt x="73" y="31"/>
                  </a:lnTo>
                  <a:lnTo>
                    <a:pt x="56" y="56"/>
                  </a:lnTo>
                  <a:lnTo>
                    <a:pt x="56" y="65"/>
                  </a:lnTo>
                  <a:lnTo>
                    <a:pt x="31" y="65"/>
                  </a:lnTo>
                  <a:lnTo>
                    <a:pt x="16" y="65"/>
                  </a:lnTo>
                  <a:lnTo>
                    <a:pt x="0" y="72"/>
                  </a:lnTo>
                  <a:lnTo>
                    <a:pt x="9" y="48"/>
                  </a:lnTo>
                  <a:lnTo>
                    <a:pt x="16" y="40"/>
                  </a:lnTo>
                  <a:lnTo>
                    <a:pt x="25" y="25"/>
                  </a:lnTo>
                  <a:lnTo>
                    <a:pt x="16" y="25"/>
                  </a:lnTo>
                  <a:lnTo>
                    <a:pt x="16" y="7"/>
                  </a:lnTo>
                  <a:lnTo>
                    <a:pt x="31" y="7"/>
                  </a:lnTo>
                  <a:lnTo>
                    <a:pt x="56" y="0"/>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692" name="Google Shape;1692;p75"/>
            <p:cNvSpPr/>
            <p:nvPr/>
          </p:nvSpPr>
          <p:spPr>
            <a:xfrm>
              <a:off x="5274962" y="4934466"/>
              <a:ext cx="369854" cy="330863"/>
            </a:xfrm>
            <a:custGeom>
              <a:avLst/>
              <a:gdLst/>
              <a:ahLst/>
              <a:cxnLst/>
              <a:rect l="l" t="t" r="r" b="b"/>
              <a:pathLst>
                <a:path w="139" h="138" extrusionOk="0">
                  <a:moveTo>
                    <a:pt x="49" y="113"/>
                  </a:moveTo>
                  <a:lnTo>
                    <a:pt x="25" y="97"/>
                  </a:lnTo>
                  <a:lnTo>
                    <a:pt x="16" y="97"/>
                  </a:lnTo>
                  <a:lnTo>
                    <a:pt x="0" y="72"/>
                  </a:lnTo>
                  <a:lnTo>
                    <a:pt x="0" y="48"/>
                  </a:lnTo>
                  <a:lnTo>
                    <a:pt x="16" y="32"/>
                  </a:lnTo>
                  <a:lnTo>
                    <a:pt x="16" y="23"/>
                  </a:lnTo>
                  <a:lnTo>
                    <a:pt x="16" y="16"/>
                  </a:lnTo>
                  <a:lnTo>
                    <a:pt x="16" y="0"/>
                  </a:lnTo>
                  <a:lnTo>
                    <a:pt x="31" y="0"/>
                  </a:lnTo>
                  <a:lnTo>
                    <a:pt x="56" y="0"/>
                  </a:lnTo>
                  <a:lnTo>
                    <a:pt x="65" y="0"/>
                  </a:lnTo>
                  <a:lnTo>
                    <a:pt x="106" y="23"/>
                  </a:lnTo>
                  <a:lnTo>
                    <a:pt x="106" y="40"/>
                  </a:lnTo>
                  <a:lnTo>
                    <a:pt x="130" y="48"/>
                  </a:lnTo>
                  <a:lnTo>
                    <a:pt x="121" y="63"/>
                  </a:lnTo>
                  <a:lnTo>
                    <a:pt x="130" y="80"/>
                  </a:lnTo>
                  <a:lnTo>
                    <a:pt x="130" y="103"/>
                  </a:lnTo>
                  <a:lnTo>
                    <a:pt x="130" y="113"/>
                  </a:lnTo>
                  <a:lnTo>
                    <a:pt x="138" y="122"/>
                  </a:lnTo>
                  <a:lnTo>
                    <a:pt x="121" y="137"/>
                  </a:lnTo>
                  <a:lnTo>
                    <a:pt x="90" y="137"/>
                  </a:lnTo>
                  <a:lnTo>
                    <a:pt x="73" y="137"/>
                  </a:lnTo>
                  <a:lnTo>
                    <a:pt x="65" y="113"/>
                  </a:lnTo>
                  <a:lnTo>
                    <a:pt x="56" y="113"/>
                  </a:lnTo>
                  <a:lnTo>
                    <a:pt x="49" y="113"/>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693" name="Google Shape;1693;p75"/>
            <p:cNvSpPr/>
            <p:nvPr/>
          </p:nvSpPr>
          <p:spPr>
            <a:xfrm>
              <a:off x="4694712" y="4755082"/>
              <a:ext cx="648905" cy="570042"/>
            </a:xfrm>
            <a:custGeom>
              <a:avLst/>
              <a:gdLst/>
              <a:ahLst/>
              <a:cxnLst/>
              <a:rect l="l" t="t" r="r" b="b"/>
              <a:pathLst>
                <a:path w="244" h="237" extrusionOk="0">
                  <a:moveTo>
                    <a:pt x="194" y="0"/>
                  </a:moveTo>
                  <a:lnTo>
                    <a:pt x="137" y="0"/>
                  </a:lnTo>
                  <a:lnTo>
                    <a:pt x="128" y="9"/>
                  </a:lnTo>
                  <a:lnTo>
                    <a:pt x="103" y="9"/>
                  </a:lnTo>
                  <a:lnTo>
                    <a:pt x="97" y="0"/>
                  </a:lnTo>
                  <a:lnTo>
                    <a:pt x="88" y="0"/>
                  </a:lnTo>
                  <a:lnTo>
                    <a:pt x="80" y="16"/>
                  </a:lnTo>
                  <a:lnTo>
                    <a:pt x="63" y="74"/>
                  </a:lnTo>
                  <a:lnTo>
                    <a:pt x="47" y="90"/>
                  </a:lnTo>
                  <a:lnTo>
                    <a:pt x="40" y="114"/>
                  </a:lnTo>
                  <a:lnTo>
                    <a:pt x="23" y="122"/>
                  </a:lnTo>
                  <a:lnTo>
                    <a:pt x="7" y="122"/>
                  </a:lnTo>
                  <a:lnTo>
                    <a:pt x="0" y="137"/>
                  </a:lnTo>
                  <a:lnTo>
                    <a:pt x="0" y="146"/>
                  </a:lnTo>
                  <a:lnTo>
                    <a:pt x="15" y="137"/>
                  </a:lnTo>
                  <a:lnTo>
                    <a:pt x="47" y="137"/>
                  </a:lnTo>
                  <a:lnTo>
                    <a:pt x="57" y="137"/>
                  </a:lnTo>
                  <a:lnTo>
                    <a:pt x="57" y="154"/>
                  </a:lnTo>
                  <a:lnTo>
                    <a:pt x="72" y="171"/>
                  </a:lnTo>
                  <a:lnTo>
                    <a:pt x="88" y="162"/>
                  </a:lnTo>
                  <a:lnTo>
                    <a:pt x="88" y="154"/>
                  </a:lnTo>
                  <a:lnTo>
                    <a:pt x="103" y="154"/>
                  </a:lnTo>
                  <a:lnTo>
                    <a:pt x="121" y="162"/>
                  </a:lnTo>
                  <a:lnTo>
                    <a:pt x="121" y="187"/>
                  </a:lnTo>
                  <a:lnTo>
                    <a:pt x="128" y="196"/>
                  </a:lnTo>
                  <a:lnTo>
                    <a:pt x="121" y="202"/>
                  </a:lnTo>
                  <a:lnTo>
                    <a:pt x="121" y="211"/>
                  </a:lnTo>
                  <a:lnTo>
                    <a:pt x="144" y="202"/>
                  </a:lnTo>
                  <a:lnTo>
                    <a:pt x="177" y="219"/>
                  </a:lnTo>
                  <a:lnTo>
                    <a:pt x="186" y="211"/>
                  </a:lnTo>
                  <a:lnTo>
                    <a:pt x="209" y="227"/>
                  </a:lnTo>
                  <a:lnTo>
                    <a:pt x="218" y="236"/>
                  </a:lnTo>
                  <a:lnTo>
                    <a:pt x="218" y="219"/>
                  </a:lnTo>
                  <a:lnTo>
                    <a:pt x="209" y="219"/>
                  </a:lnTo>
                  <a:lnTo>
                    <a:pt x="209" y="211"/>
                  </a:lnTo>
                  <a:lnTo>
                    <a:pt x="209" y="177"/>
                  </a:lnTo>
                  <a:lnTo>
                    <a:pt x="209" y="171"/>
                  </a:lnTo>
                  <a:lnTo>
                    <a:pt x="234" y="171"/>
                  </a:lnTo>
                  <a:lnTo>
                    <a:pt x="218" y="146"/>
                  </a:lnTo>
                  <a:lnTo>
                    <a:pt x="218" y="122"/>
                  </a:lnTo>
                  <a:lnTo>
                    <a:pt x="218" y="106"/>
                  </a:lnTo>
                  <a:lnTo>
                    <a:pt x="218" y="97"/>
                  </a:lnTo>
                  <a:lnTo>
                    <a:pt x="209" y="97"/>
                  </a:lnTo>
                  <a:lnTo>
                    <a:pt x="218" y="81"/>
                  </a:lnTo>
                  <a:lnTo>
                    <a:pt x="227" y="57"/>
                  </a:lnTo>
                  <a:lnTo>
                    <a:pt x="234" y="49"/>
                  </a:lnTo>
                  <a:lnTo>
                    <a:pt x="243" y="34"/>
                  </a:lnTo>
                  <a:lnTo>
                    <a:pt x="234" y="34"/>
                  </a:lnTo>
                  <a:lnTo>
                    <a:pt x="234" y="16"/>
                  </a:lnTo>
                  <a:lnTo>
                    <a:pt x="227" y="9"/>
                  </a:lnTo>
                  <a:lnTo>
                    <a:pt x="202" y="9"/>
                  </a:lnTo>
                  <a:lnTo>
                    <a:pt x="194" y="0"/>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694" name="Google Shape;1694;p75"/>
            <p:cNvSpPr/>
            <p:nvPr/>
          </p:nvSpPr>
          <p:spPr>
            <a:xfrm>
              <a:off x="5015843" y="5165672"/>
              <a:ext cx="411933" cy="292994"/>
            </a:xfrm>
            <a:custGeom>
              <a:avLst/>
              <a:gdLst/>
              <a:ahLst/>
              <a:cxnLst/>
              <a:rect l="l" t="t" r="r" b="b"/>
              <a:pathLst>
                <a:path w="154" h="122" extrusionOk="0">
                  <a:moveTo>
                    <a:pt x="23" y="31"/>
                  </a:moveTo>
                  <a:lnTo>
                    <a:pt x="56" y="48"/>
                  </a:lnTo>
                  <a:lnTo>
                    <a:pt x="65" y="40"/>
                  </a:lnTo>
                  <a:lnTo>
                    <a:pt x="88" y="56"/>
                  </a:lnTo>
                  <a:lnTo>
                    <a:pt x="97" y="65"/>
                  </a:lnTo>
                  <a:lnTo>
                    <a:pt x="97" y="48"/>
                  </a:lnTo>
                  <a:lnTo>
                    <a:pt x="88" y="48"/>
                  </a:lnTo>
                  <a:lnTo>
                    <a:pt x="88" y="40"/>
                  </a:lnTo>
                  <a:lnTo>
                    <a:pt x="88" y="6"/>
                  </a:lnTo>
                  <a:lnTo>
                    <a:pt x="88" y="0"/>
                  </a:lnTo>
                  <a:lnTo>
                    <a:pt x="113" y="0"/>
                  </a:lnTo>
                  <a:lnTo>
                    <a:pt x="122" y="0"/>
                  </a:lnTo>
                  <a:lnTo>
                    <a:pt x="146" y="16"/>
                  </a:lnTo>
                  <a:lnTo>
                    <a:pt x="153" y="31"/>
                  </a:lnTo>
                  <a:lnTo>
                    <a:pt x="146" y="40"/>
                  </a:lnTo>
                  <a:lnTo>
                    <a:pt x="146" y="48"/>
                  </a:lnTo>
                  <a:lnTo>
                    <a:pt x="138" y="65"/>
                  </a:lnTo>
                  <a:lnTo>
                    <a:pt x="146" y="72"/>
                  </a:lnTo>
                  <a:lnTo>
                    <a:pt x="106" y="88"/>
                  </a:lnTo>
                  <a:lnTo>
                    <a:pt x="106" y="97"/>
                  </a:lnTo>
                  <a:lnTo>
                    <a:pt x="88" y="97"/>
                  </a:lnTo>
                  <a:lnTo>
                    <a:pt x="88" y="105"/>
                  </a:lnTo>
                  <a:lnTo>
                    <a:pt x="65" y="121"/>
                  </a:lnTo>
                  <a:lnTo>
                    <a:pt x="41" y="121"/>
                  </a:lnTo>
                  <a:lnTo>
                    <a:pt x="23" y="112"/>
                  </a:lnTo>
                  <a:lnTo>
                    <a:pt x="16" y="121"/>
                  </a:lnTo>
                  <a:lnTo>
                    <a:pt x="0" y="105"/>
                  </a:lnTo>
                  <a:lnTo>
                    <a:pt x="0" y="65"/>
                  </a:lnTo>
                  <a:lnTo>
                    <a:pt x="31" y="56"/>
                  </a:lnTo>
                  <a:lnTo>
                    <a:pt x="23" y="31"/>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695" name="Google Shape;1695;p75"/>
            <p:cNvSpPr/>
            <p:nvPr/>
          </p:nvSpPr>
          <p:spPr>
            <a:xfrm>
              <a:off x="5383481" y="5205534"/>
              <a:ext cx="110735" cy="231207"/>
            </a:xfrm>
            <a:custGeom>
              <a:avLst/>
              <a:gdLst/>
              <a:ahLst/>
              <a:cxnLst/>
              <a:rect l="l" t="t" r="r" b="b"/>
              <a:pathLst>
                <a:path w="41" h="97" extrusionOk="0">
                  <a:moveTo>
                    <a:pt x="8" y="56"/>
                  </a:moveTo>
                  <a:lnTo>
                    <a:pt x="0" y="49"/>
                  </a:lnTo>
                  <a:lnTo>
                    <a:pt x="8" y="32"/>
                  </a:lnTo>
                  <a:lnTo>
                    <a:pt x="8" y="24"/>
                  </a:lnTo>
                  <a:lnTo>
                    <a:pt x="15" y="15"/>
                  </a:lnTo>
                  <a:lnTo>
                    <a:pt x="8" y="0"/>
                  </a:lnTo>
                  <a:lnTo>
                    <a:pt x="15" y="0"/>
                  </a:lnTo>
                  <a:lnTo>
                    <a:pt x="24" y="0"/>
                  </a:lnTo>
                  <a:lnTo>
                    <a:pt x="32" y="24"/>
                  </a:lnTo>
                  <a:lnTo>
                    <a:pt x="24" y="32"/>
                  </a:lnTo>
                  <a:lnTo>
                    <a:pt x="32" y="49"/>
                  </a:lnTo>
                  <a:lnTo>
                    <a:pt x="40" y="64"/>
                  </a:lnTo>
                  <a:lnTo>
                    <a:pt x="40" y="81"/>
                  </a:lnTo>
                  <a:lnTo>
                    <a:pt x="32" y="96"/>
                  </a:lnTo>
                  <a:lnTo>
                    <a:pt x="24" y="81"/>
                  </a:lnTo>
                  <a:lnTo>
                    <a:pt x="24" y="64"/>
                  </a:lnTo>
                  <a:lnTo>
                    <a:pt x="15" y="64"/>
                  </a:lnTo>
                  <a:lnTo>
                    <a:pt x="8" y="56"/>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696" name="Google Shape;1696;p75"/>
            <p:cNvSpPr/>
            <p:nvPr/>
          </p:nvSpPr>
          <p:spPr>
            <a:xfrm>
              <a:off x="4712430" y="4464082"/>
              <a:ext cx="90802" cy="61789"/>
            </a:xfrm>
            <a:custGeom>
              <a:avLst/>
              <a:gdLst/>
              <a:ahLst/>
              <a:cxnLst/>
              <a:rect l="l" t="t" r="r" b="b"/>
              <a:pathLst>
                <a:path w="34" h="26" extrusionOk="0">
                  <a:moveTo>
                    <a:pt x="0" y="10"/>
                  </a:moveTo>
                  <a:lnTo>
                    <a:pt x="16" y="25"/>
                  </a:lnTo>
                  <a:lnTo>
                    <a:pt x="25" y="17"/>
                  </a:lnTo>
                  <a:lnTo>
                    <a:pt x="33" y="17"/>
                  </a:lnTo>
                  <a:lnTo>
                    <a:pt x="16" y="10"/>
                  </a:lnTo>
                  <a:lnTo>
                    <a:pt x="8" y="0"/>
                  </a:lnTo>
                  <a:lnTo>
                    <a:pt x="0" y="10"/>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697" name="Google Shape;1697;p75"/>
            <p:cNvSpPr/>
            <p:nvPr/>
          </p:nvSpPr>
          <p:spPr>
            <a:xfrm>
              <a:off x="4712430" y="4464082"/>
              <a:ext cx="90802" cy="61789"/>
            </a:xfrm>
            <a:custGeom>
              <a:avLst/>
              <a:gdLst/>
              <a:ahLst/>
              <a:cxnLst/>
              <a:rect l="l" t="t" r="r" b="b"/>
              <a:pathLst>
                <a:path w="34" h="26" extrusionOk="0">
                  <a:moveTo>
                    <a:pt x="0" y="10"/>
                  </a:moveTo>
                  <a:lnTo>
                    <a:pt x="16" y="25"/>
                  </a:lnTo>
                  <a:lnTo>
                    <a:pt x="25" y="17"/>
                  </a:lnTo>
                  <a:lnTo>
                    <a:pt x="33" y="17"/>
                  </a:lnTo>
                  <a:lnTo>
                    <a:pt x="16" y="10"/>
                  </a:lnTo>
                  <a:lnTo>
                    <a:pt x="8" y="0"/>
                  </a:lnTo>
                  <a:lnTo>
                    <a:pt x="0" y="10"/>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cxnSp>
          <p:nvCxnSpPr>
            <p:cNvPr id="1698" name="Google Shape;1698;p75"/>
            <p:cNvCxnSpPr/>
            <p:nvPr/>
          </p:nvCxnSpPr>
          <p:spPr>
            <a:xfrm>
              <a:off x="5166440" y="3630942"/>
              <a:ext cx="0" cy="17939"/>
            </a:xfrm>
            <a:prstGeom prst="straightConnector1">
              <a:avLst/>
            </a:prstGeom>
            <a:solidFill>
              <a:srgbClr val="D8D8D8"/>
            </a:solidFill>
            <a:ln w="9525" cap="rnd" cmpd="sng">
              <a:solidFill>
                <a:srgbClr val="0F47F2"/>
              </a:solidFill>
              <a:prstDash val="solid"/>
              <a:round/>
              <a:headEnd type="none" w="sm" len="sm"/>
              <a:tailEnd type="none" w="sm" len="sm"/>
            </a:ln>
          </p:spPr>
        </p:cxnSp>
        <p:sp>
          <p:nvSpPr>
            <p:cNvPr id="1699" name="Google Shape;1699;p75"/>
            <p:cNvSpPr/>
            <p:nvPr/>
          </p:nvSpPr>
          <p:spPr>
            <a:xfrm>
              <a:off x="5146510" y="3493417"/>
              <a:ext cx="651122" cy="235193"/>
            </a:xfrm>
            <a:custGeom>
              <a:avLst/>
              <a:gdLst/>
              <a:ahLst/>
              <a:cxnLst/>
              <a:rect l="l" t="t" r="r" b="b"/>
              <a:pathLst>
                <a:path w="245" h="98" extrusionOk="0">
                  <a:moveTo>
                    <a:pt x="244" y="32"/>
                  </a:moveTo>
                  <a:lnTo>
                    <a:pt x="236" y="32"/>
                  </a:lnTo>
                  <a:lnTo>
                    <a:pt x="227" y="8"/>
                  </a:lnTo>
                  <a:lnTo>
                    <a:pt x="204" y="8"/>
                  </a:lnTo>
                  <a:lnTo>
                    <a:pt x="179" y="16"/>
                  </a:lnTo>
                  <a:lnTo>
                    <a:pt x="145" y="16"/>
                  </a:lnTo>
                  <a:lnTo>
                    <a:pt x="122" y="0"/>
                  </a:lnTo>
                  <a:lnTo>
                    <a:pt x="98" y="0"/>
                  </a:lnTo>
                  <a:lnTo>
                    <a:pt x="74" y="16"/>
                  </a:lnTo>
                  <a:lnTo>
                    <a:pt x="58" y="16"/>
                  </a:lnTo>
                  <a:lnTo>
                    <a:pt x="40" y="16"/>
                  </a:lnTo>
                  <a:lnTo>
                    <a:pt x="33" y="0"/>
                  </a:lnTo>
                  <a:lnTo>
                    <a:pt x="17" y="0"/>
                  </a:lnTo>
                  <a:lnTo>
                    <a:pt x="8" y="8"/>
                  </a:lnTo>
                  <a:lnTo>
                    <a:pt x="0" y="25"/>
                  </a:lnTo>
                  <a:lnTo>
                    <a:pt x="8" y="25"/>
                  </a:lnTo>
                  <a:lnTo>
                    <a:pt x="8" y="32"/>
                  </a:lnTo>
                  <a:lnTo>
                    <a:pt x="25" y="16"/>
                  </a:lnTo>
                  <a:lnTo>
                    <a:pt x="40" y="16"/>
                  </a:lnTo>
                  <a:lnTo>
                    <a:pt x="49" y="25"/>
                  </a:lnTo>
                  <a:lnTo>
                    <a:pt x="40" y="25"/>
                  </a:lnTo>
                  <a:lnTo>
                    <a:pt x="40" y="32"/>
                  </a:lnTo>
                  <a:lnTo>
                    <a:pt x="17" y="32"/>
                  </a:lnTo>
                  <a:lnTo>
                    <a:pt x="8" y="41"/>
                  </a:lnTo>
                  <a:lnTo>
                    <a:pt x="8" y="48"/>
                  </a:lnTo>
                  <a:lnTo>
                    <a:pt x="17" y="41"/>
                  </a:lnTo>
                  <a:lnTo>
                    <a:pt x="17" y="48"/>
                  </a:lnTo>
                  <a:lnTo>
                    <a:pt x="8" y="57"/>
                  </a:lnTo>
                  <a:lnTo>
                    <a:pt x="8" y="65"/>
                  </a:lnTo>
                  <a:lnTo>
                    <a:pt x="17" y="73"/>
                  </a:lnTo>
                  <a:lnTo>
                    <a:pt x="25" y="81"/>
                  </a:lnTo>
                  <a:lnTo>
                    <a:pt x="33" y="81"/>
                  </a:lnTo>
                  <a:lnTo>
                    <a:pt x="33" y="90"/>
                  </a:lnTo>
                  <a:lnTo>
                    <a:pt x="49" y="97"/>
                  </a:lnTo>
                  <a:lnTo>
                    <a:pt x="65" y="90"/>
                  </a:lnTo>
                  <a:lnTo>
                    <a:pt x="74" y="90"/>
                  </a:lnTo>
                  <a:lnTo>
                    <a:pt x="90" y="97"/>
                  </a:lnTo>
                  <a:lnTo>
                    <a:pt x="98" y="97"/>
                  </a:lnTo>
                  <a:lnTo>
                    <a:pt x="114" y="90"/>
                  </a:lnTo>
                  <a:lnTo>
                    <a:pt x="130" y="90"/>
                  </a:lnTo>
                  <a:lnTo>
                    <a:pt x="130" y="97"/>
                  </a:lnTo>
                  <a:lnTo>
                    <a:pt x="139" y="97"/>
                  </a:lnTo>
                  <a:lnTo>
                    <a:pt x="139" y="90"/>
                  </a:lnTo>
                  <a:lnTo>
                    <a:pt x="164" y="81"/>
                  </a:lnTo>
                  <a:lnTo>
                    <a:pt x="170" y="90"/>
                  </a:lnTo>
                  <a:lnTo>
                    <a:pt x="195" y="81"/>
                  </a:lnTo>
                  <a:lnTo>
                    <a:pt x="219" y="81"/>
                  </a:lnTo>
                  <a:lnTo>
                    <a:pt x="219" y="73"/>
                  </a:lnTo>
                  <a:lnTo>
                    <a:pt x="244" y="81"/>
                  </a:lnTo>
                  <a:lnTo>
                    <a:pt x="236" y="41"/>
                  </a:lnTo>
                  <a:lnTo>
                    <a:pt x="244" y="32"/>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00" name="Google Shape;1700;p75"/>
            <p:cNvSpPr/>
            <p:nvPr/>
          </p:nvSpPr>
          <p:spPr>
            <a:xfrm>
              <a:off x="5751122" y="3511355"/>
              <a:ext cx="108521" cy="99658"/>
            </a:xfrm>
            <a:custGeom>
              <a:avLst/>
              <a:gdLst/>
              <a:ahLst/>
              <a:cxnLst/>
              <a:rect l="l" t="t" r="r" b="b"/>
              <a:pathLst>
                <a:path w="41" h="41" extrusionOk="0">
                  <a:moveTo>
                    <a:pt x="40" y="40"/>
                  </a:moveTo>
                  <a:lnTo>
                    <a:pt x="40" y="33"/>
                  </a:lnTo>
                  <a:lnTo>
                    <a:pt x="33" y="24"/>
                  </a:lnTo>
                  <a:lnTo>
                    <a:pt x="33" y="17"/>
                  </a:lnTo>
                  <a:lnTo>
                    <a:pt x="17" y="0"/>
                  </a:lnTo>
                  <a:lnTo>
                    <a:pt x="0" y="0"/>
                  </a:lnTo>
                  <a:lnTo>
                    <a:pt x="9" y="24"/>
                  </a:lnTo>
                  <a:lnTo>
                    <a:pt x="17" y="24"/>
                  </a:lnTo>
                  <a:lnTo>
                    <a:pt x="33" y="33"/>
                  </a:lnTo>
                  <a:lnTo>
                    <a:pt x="33" y="40"/>
                  </a:lnTo>
                  <a:lnTo>
                    <a:pt x="40" y="40"/>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01" name="Google Shape;1701;p75"/>
            <p:cNvSpPr/>
            <p:nvPr/>
          </p:nvSpPr>
          <p:spPr>
            <a:xfrm>
              <a:off x="5795415" y="3571147"/>
              <a:ext cx="46509" cy="39863"/>
            </a:xfrm>
            <a:custGeom>
              <a:avLst/>
              <a:gdLst/>
              <a:ahLst/>
              <a:cxnLst/>
              <a:rect l="l" t="t" r="r" b="b"/>
              <a:pathLst>
                <a:path w="17" h="17" extrusionOk="0">
                  <a:moveTo>
                    <a:pt x="16" y="16"/>
                  </a:moveTo>
                  <a:lnTo>
                    <a:pt x="7" y="16"/>
                  </a:lnTo>
                  <a:lnTo>
                    <a:pt x="0" y="0"/>
                  </a:lnTo>
                  <a:lnTo>
                    <a:pt x="16" y="9"/>
                  </a:lnTo>
                  <a:lnTo>
                    <a:pt x="16" y="16"/>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02" name="Google Shape;1702;p75"/>
            <p:cNvSpPr/>
            <p:nvPr/>
          </p:nvSpPr>
          <p:spPr>
            <a:xfrm>
              <a:off x="5795416" y="3493417"/>
              <a:ext cx="192678" cy="139521"/>
            </a:xfrm>
            <a:custGeom>
              <a:avLst/>
              <a:gdLst/>
              <a:ahLst/>
              <a:cxnLst/>
              <a:rect l="l" t="t" r="r" b="b"/>
              <a:pathLst>
                <a:path w="73" h="58" extrusionOk="0">
                  <a:moveTo>
                    <a:pt x="23" y="48"/>
                  </a:moveTo>
                  <a:lnTo>
                    <a:pt x="40" y="41"/>
                  </a:lnTo>
                  <a:lnTo>
                    <a:pt x="48" y="41"/>
                  </a:lnTo>
                  <a:lnTo>
                    <a:pt x="40" y="48"/>
                  </a:lnTo>
                  <a:lnTo>
                    <a:pt x="57" y="57"/>
                  </a:lnTo>
                  <a:lnTo>
                    <a:pt x="48" y="48"/>
                  </a:lnTo>
                  <a:lnTo>
                    <a:pt x="57" y="48"/>
                  </a:lnTo>
                  <a:lnTo>
                    <a:pt x="57" y="32"/>
                  </a:lnTo>
                  <a:lnTo>
                    <a:pt x="72" y="25"/>
                  </a:lnTo>
                  <a:lnTo>
                    <a:pt x="57" y="16"/>
                  </a:lnTo>
                  <a:lnTo>
                    <a:pt x="48" y="0"/>
                  </a:lnTo>
                  <a:lnTo>
                    <a:pt x="40" y="8"/>
                  </a:lnTo>
                  <a:lnTo>
                    <a:pt x="32" y="8"/>
                  </a:lnTo>
                  <a:lnTo>
                    <a:pt x="23" y="0"/>
                  </a:lnTo>
                  <a:lnTo>
                    <a:pt x="16" y="0"/>
                  </a:lnTo>
                  <a:lnTo>
                    <a:pt x="23" y="8"/>
                  </a:lnTo>
                  <a:lnTo>
                    <a:pt x="7" y="8"/>
                  </a:lnTo>
                  <a:lnTo>
                    <a:pt x="0" y="8"/>
                  </a:lnTo>
                  <a:lnTo>
                    <a:pt x="16" y="25"/>
                  </a:lnTo>
                  <a:lnTo>
                    <a:pt x="16" y="32"/>
                  </a:lnTo>
                  <a:lnTo>
                    <a:pt x="23" y="41"/>
                  </a:lnTo>
                  <a:lnTo>
                    <a:pt x="23" y="48"/>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03" name="Google Shape;1703;p75"/>
            <p:cNvSpPr/>
            <p:nvPr/>
          </p:nvSpPr>
          <p:spPr>
            <a:xfrm>
              <a:off x="5469854" y="3686751"/>
              <a:ext cx="263549" cy="177391"/>
            </a:xfrm>
            <a:custGeom>
              <a:avLst/>
              <a:gdLst/>
              <a:ahLst/>
              <a:cxnLst/>
              <a:rect l="l" t="t" r="r" b="b"/>
              <a:pathLst>
                <a:path w="98" h="73" extrusionOk="0">
                  <a:moveTo>
                    <a:pt x="0" y="72"/>
                  </a:moveTo>
                  <a:lnTo>
                    <a:pt x="8" y="66"/>
                  </a:lnTo>
                  <a:lnTo>
                    <a:pt x="17" y="49"/>
                  </a:lnTo>
                  <a:lnTo>
                    <a:pt x="8" y="41"/>
                  </a:lnTo>
                  <a:lnTo>
                    <a:pt x="8" y="16"/>
                  </a:lnTo>
                  <a:lnTo>
                    <a:pt x="17" y="16"/>
                  </a:lnTo>
                  <a:lnTo>
                    <a:pt x="17" y="9"/>
                  </a:lnTo>
                  <a:lnTo>
                    <a:pt x="42" y="0"/>
                  </a:lnTo>
                  <a:lnTo>
                    <a:pt x="48" y="9"/>
                  </a:lnTo>
                  <a:lnTo>
                    <a:pt x="73" y="0"/>
                  </a:lnTo>
                  <a:lnTo>
                    <a:pt x="97" y="0"/>
                  </a:lnTo>
                  <a:lnTo>
                    <a:pt x="82" y="9"/>
                  </a:lnTo>
                  <a:lnTo>
                    <a:pt x="73" y="41"/>
                  </a:lnTo>
                  <a:lnTo>
                    <a:pt x="48" y="56"/>
                  </a:lnTo>
                  <a:lnTo>
                    <a:pt x="42" y="56"/>
                  </a:lnTo>
                  <a:lnTo>
                    <a:pt x="17" y="72"/>
                  </a:lnTo>
                  <a:lnTo>
                    <a:pt x="0" y="72"/>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04" name="Google Shape;1704;p75"/>
            <p:cNvSpPr/>
            <p:nvPr/>
          </p:nvSpPr>
          <p:spPr>
            <a:xfrm>
              <a:off x="5449922" y="3822287"/>
              <a:ext cx="150599" cy="157459"/>
            </a:xfrm>
            <a:custGeom>
              <a:avLst/>
              <a:gdLst/>
              <a:ahLst/>
              <a:cxnLst/>
              <a:rect l="l" t="t" r="r" b="b"/>
              <a:pathLst>
                <a:path w="57" h="66" extrusionOk="0">
                  <a:moveTo>
                    <a:pt x="56" y="16"/>
                  </a:moveTo>
                  <a:lnTo>
                    <a:pt x="56" y="0"/>
                  </a:lnTo>
                  <a:lnTo>
                    <a:pt x="50" y="0"/>
                  </a:lnTo>
                  <a:lnTo>
                    <a:pt x="25" y="16"/>
                  </a:lnTo>
                  <a:lnTo>
                    <a:pt x="8" y="16"/>
                  </a:lnTo>
                  <a:lnTo>
                    <a:pt x="8" y="25"/>
                  </a:lnTo>
                  <a:lnTo>
                    <a:pt x="8" y="41"/>
                  </a:lnTo>
                  <a:lnTo>
                    <a:pt x="0" y="65"/>
                  </a:lnTo>
                  <a:lnTo>
                    <a:pt x="16" y="65"/>
                  </a:lnTo>
                  <a:lnTo>
                    <a:pt x="25" y="57"/>
                  </a:lnTo>
                  <a:lnTo>
                    <a:pt x="31" y="57"/>
                  </a:lnTo>
                  <a:lnTo>
                    <a:pt x="41" y="41"/>
                  </a:lnTo>
                  <a:lnTo>
                    <a:pt x="31" y="34"/>
                  </a:lnTo>
                  <a:lnTo>
                    <a:pt x="56" y="16"/>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05" name="Google Shape;1705;p75"/>
            <p:cNvSpPr/>
            <p:nvPr/>
          </p:nvSpPr>
          <p:spPr>
            <a:xfrm>
              <a:off x="5469855" y="3784417"/>
              <a:ext cx="48723" cy="65774"/>
            </a:xfrm>
            <a:custGeom>
              <a:avLst/>
              <a:gdLst/>
              <a:ahLst/>
              <a:cxnLst/>
              <a:rect l="l" t="t" r="r" b="b"/>
              <a:pathLst>
                <a:path w="18" h="26" extrusionOk="0">
                  <a:moveTo>
                    <a:pt x="8" y="25"/>
                  </a:moveTo>
                  <a:lnTo>
                    <a:pt x="0" y="25"/>
                  </a:lnTo>
                  <a:lnTo>
                    <a:pt x="8" y="0"/>
                  </a:lnTo>
                  <a:lnTo>
                    <a:pt x="17" y="8"/>
                  </a:lnTo>
                  <a:lnTo>
                    <a:pt x="8" y="25"/>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06" name="Google Shape;1706;p75"/>
            <p:cNvSpPr/>
            <p:nvPr/>
          </p:nvSpPr>
          <p:spPr>
            <a:xfrm>
              <a:off x="5469855" y="3784417"/>
              <a:ext cx="48723" cy="65774"/>
            </a:xfrm>
            <a:custGeom>
              <a:avLst/>
              <a:gdLst/>
              <a:ahLst/>
              <a:cxnLst/>
              <a:rect l="l" t="t" r="r" b="b"/>
              <a:pathLst>
                <a:path w="18" h="26" extrusionOk="0">
                  <a:moveTo>
                    <a:pt x="8" y="25"/>
                  </a:moveTo>
                  <a:lnTo>
                    <a:pt x="0" y="25"/>
                  </a:lnTo>
                  <a:lnTo>
                    <a:pt x="8" y="0"/>
                  </a:lnTo>
                  <a:lnTo>
                    <a:pt x="17" y="8"/>
                  </a:lnTo>
                  <a:lnTo>
                    <a:pt x="8" y="25"/>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07" name="Google Shape;1707;p75"/>
            <p:cNvSpPr/>
            <p:nvPr/>
          </p:nvSpPr>
          <p:spPr>
            <a:xfrm>
              <a:off x="5425561" y="3846204"/>
              <a:ext cx="68655" cy="133542"/>
            </a:xfrm>
            <a:custGeom>
              <a:avLst/>
              <a:gdLst/>
              <a:ahLst/>
              <a:cxnLst/>
              <a:rect l="l" t="t" r="r" b="b"/>
              <a:pathLst>
                <a:path w="26" h="56" extrusionOk="0">
                  <a:moveTo>
                    <a:pt x="17" y="6"/>
                  </a:moveTo>
                  <a:lnTo>
                    <a:pt x="17" y="15"/>
                  </a:lnTo>
                  <a:lnTo>
                    <a:pt x="17" y="31"/>
                  </a:lnTo>
                  <a:lnTo>
                    <a:pt x="9" y="55"/>
                  </a:lnTo>
                  <a:lnTo>
                    <a:pt x="0" y="24"/>
                  </a:lnTo>
                  <a:lnTo>
                    <a:pt x="9" y="15"/>
                  </a:lnTo>
                  <a:lnTo>
                    <a:pt x="17" y="0"/>
                  </a:lnTo>
                  <a:lnTo>
                    <a:pt x="25" y="0"/>
                  </a:lnTo>
                  <a:lnTo>
                    <a:pt x="17" y="6"/>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08" name="Google Shape;1708;p75"/>
            <p:cNvSpPr/>
            <p:nvPr/>
          </p:nvSpPr>
          <p:spPr>
            <a:xfrm>
              <a:off x="5425561" y="3846204"/>
              <a:ext cx="68655" cy="133542"/>
            </a:xfrm>
            <a:custGeom>
              <a:avLst/>
              <a:gdLst/>
              <a:ahLst/>
              <a:cxnLst/>
              <a:rect l="l" t="t" r="r" b="b"/>
              <a:pathLst>
                <a:path w="26" h="56" extrusionOk="0">
                  <a:moveTo>
                    <a:pt x="17" y="6"/>
                  </a:moveTo>
                  <a:lnTo>
                    <a:pt x="17" y="15"/>
                  </a:lnTo>
                  <a:lnTo>
                    <a:pt x="17" y="31"/>
                  </a:lnTo>
                  <a:lnTo>
                    <a:pt x="9" y="55"/>
                  </a:lnTo>
                  <a:lnTo>
                    <a:pt x="0" y="24"/>
                  </a:lnTo>
                  <a:lnTo>
                    <a:pt x="9" y="15"/>
                  </a:lnTo>
                  <a:lnTo>
                    <a:pt x="17" y="0"/>
                  </a:lnTo>
                  <a:lnTo>
                    <a:pt x="25" y="0"/>
                  </a:lnTo>
                  <a:lnTo>
                    <a:pt x="17" y="6"/>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09" name="Google Shape;1709;p75"/>
            <p:cNvSpPr/>
            <p:nvPr/>
          </p:nvSpPr>
          <p:spPr>
            <a:xfrm>
              <a:off x="5598308" y="3668813"/>
              <a:ext cx="327775" cy="310932"/>
            </a:xfrm>
            <a:custGeom>
              <a:avLst/>
              <a:gdLst/>
              <a:ahLst/>
              <a:cxnLst/>
              <a:rect l="l" t="t" r="r" b="b"/>
              <a:pathLst>
                <a:path w="123" h="130" extrusionOk="0">
                  <a:moveTo>
                    <a:pt x="74" y="8"/>
                  </a:moveTo>
                  <a:lnTo>
                    <a:pt x="81" y="24"/>
                  </a:lnTo>
                  <a:lnTo>
                    <a:pt x="90" y="24"/>
                  </a:lnTo>
                  <a:lnTo>
                    <a:pt x="90" y="40"/>
                  </a:lnTo>
                  <a:lnTo>
                    <a:pt x="81" y="57"/>
                  </a:lnTo>
                  <a:lnTo>
                    <a:pt x="90" y="74"/>
                  </a:lnTo>
                  <a:lnTo>
                    <a:pt x="106" y="80"/>
                  </a:lnTo>
                  <a:lnTo>
                    <a:pt x="114" y="105"/>
                  </a:lnTo>
                  <a:lnTo>
                    <a:pt x="122" y="114"/>
                  </a:lnTo>
                  <a:lnTo>
                    <a:pt x="122" y="121"/>
                  </a:lnTo>
                  <a:lnTo>
                    <a:pt x="106" y="121"/>
                  </a:lnTo>
                  <a:lnTo>
                    <a:pt x="97" y="129"/>
                  </a:lnTo>
                  <a:lnTo>
                    <a:pt x="81" y="121"/>
                  </a:lnTo>
                  <a:lnTo>
                    <a:pt x="74" y="129"/>
                  </a:lnTo>
                  <a:lnTo>
                    <a:pt x="57" y="121"/>
                  </a:lnTo>
                  <a:lnTo>
                    <a:pt x="57" y="114"/>
                  </a:lnTo>
                  <a:lnTo>
                    <a:pt x="49" y="105"/>
                  </a:lnTo>
                  <a:lnTo>
                    <a:pt x="25" y="89"/>
                  </a:lnTo>
                  <a:lnTo>
                    <a:pt x="0" y="80"/>
                  </a:lnTo>
                  <a:lnTo>
                    <a:pt x="0" y="64"/>
                  </a:lnTo>
                  <a:lnTo>
                    <a:pt x="25" y="49"/>
                  </a:lnTo>
                  <a:lnTo>
                    <a:pt x="34" y="17"/>
                  </a:lnTo>
                  <a:lnTo>
                    <a:pt x="49" y="8"/>
                  </a:lnTo>
                  <a:lnTo>
                    <a:pt x="49" y="0"/>
                  </a:lnTo>
                  <a:lnTo>
                    <a:pt x="74" y="8"/>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10" name="Google Shape;1710;p75"/>
            <p:cNvSpPr/>
            <p:nvPr/>
          </p:nvSpPr>
          <p:spPr>
            <a:xfrm>
              <a:off x="5795415" y="3959813"/>
              <a:ext cx="64228" cy="39863"/>
            </a:xfrm>
            <a:custGeom>
              <a:avLst/>
              <a:gdLst/>
              <a:ahLst/>
              <a:cxnLst/>
              <a:rect l="l" t="t" r="r" b="b"/>
              <a:pathLst>
                <a:path w="24" h="17" extrusionOk="0">
                  <a:moveTo>
                    <a:pt x="0" y="8"/>
                  </a:moveTo>
                  <a:lnTo>
                    <a:pt x="7" y="0"/>
                  </a:lnTo>
                  <a:lnTo>
                    <a:pt x="23" y="8"/>
                  </a:lnTo>
                  <a:lnTo>
                    <a:pt x="7" y="16"/>
                  </a:lnTo>
                  <a:lnTo>
                    <a:pt x="0" y="8"/>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11" name="Google Shape;1711;p75"/>
            <p:cNvSpPr/>
            <p:nvPr/>
          </p:nvSpPr>
          <p:spPr>
            <a:xfrm>
              <a:off x="5795415" y="3959813"/>
              <a:ext cx="64228" cy="39863"/>
            </a:xfrm>
            <a:custGeom>
              <a:avLst/>
              <a:gdLst/>
              <a:ahLst/>
              <a:cxnLst/>
              <a:rect l="l" t="t" r="r" b="b"/>
              <a:pathLst>
                <a:path w="24" h="17" extrusionOk="0">
                  <a:moveTo>
                    <a:pt x="0" y="8"/>
                  </a:moveTo>
                  <a:lnTo>
                    <a:pt x="7" y="0"/>
                  </a:lnTo>
                  <a:lnTo>
                    <a:pt x="23" y="8"/>
                  </a:lnTo>
                  <a:lnTo>
                    <a:pt x="7" y="16"/>
                  </a:lnTo>
                  <a:lnTo>
                    <a:pt x="0" y="8"/>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12" name="Google Shape;1712;p75"/>
            <p:cNvSpPr/>
            <p:nvPr/>
          </p:nvSpPr>
          <p:spPr>
            <a:xfrm>
              <a:off x="5857427" y="3959813"/>
              <a:ext cx="68657" cy="39863"/>
            </a:xfrm>
            <a:custGeom>
              <a:avLst/>
              <a:gdLst/>
              <a:ahLst/>
              <a:cxnLst/>
              <a:rect l="l" t="t" r="r" b="b"/>
              <a:pathLst>
                <a:path w="26" h="17" extrusionOk="0">
                  <a:moveTo>
                    <a:pt x="0" y="8"/>
                  </a:moveTo>
                  <a:lnTo>
                    <a:pt x="9" y="0"/>
                  </a:lnTo>
                  <a:lnTo>
                    <a:pt x="25" y="0"/>
                  </a:lnTo>
                  <a:lnTo>
                    <a:pt x="17" y="8"/>
                  </a:lnTo>
                  <a:lnTo>
                    <a:pt x="25" y="16"/>
                  </a:lnTo>
                  <a:lnTo>
                    <a:pt x="0" y="8"/>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13" name="Google Shape;1713;p75"/>
            <p:cNvSpPr/>
            <p:nvPr/>
          </p:nvSpPr>
          <p:spPr>
            <a:xfrm>
              <a:off x="5857427" y="3959813"/>
              <a:ext cx="68657" cy="39863"/>
            </a:xfrm>
            <a:custGeom>
              <a:avLst/>
              <a:gdLst/>
              <a:ahLst/>
              <a:cxnLst/>
              <a:rect l="l" t="t" r="r" b="b"/>
              <a:pathLst>
                <a:path w="26" h="17" extrusionOk="0">
                  <a:moveTo>
                    <a:pt x="0" y="8"/>
                  </a:moveTo>
                  <a:lnTo>
                    <a:pt x="9" y="0"/>
                  </a:lnTo>
                  <a:lnTo>
                    <a:pt x="25" y="0"/>
                  </a:lnTo>
                  <a:lnTo>
                    <a:pt x="17" y="8"/>
                  </a:lnTo>
                  <a:lnTo>
                    <a:pt x="25" y="16"/>
                  </a:lnTo>
                  <a:lnTo>
                    <a:pt x="0" y="8"/>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14" name="Google Shape;1714;p75"/>
            <p:cNvSpPr/>
            <p:nvPr/>
          </p:nvSpPr>
          <p:spPr>
            <a:xfrm>
              <a:off x="5449922" y="3862150"/>
              <a:ext cx="759642" cy="627845"/>
            </a:xfrm>
            <a:custGeom>
              <a:avLst/>
              <a:gdLst/>
              <a:ahLst/>
              <a:cxnLst/>
              <a:rect l="l" t="t" r="r" b="b"/>
              <a:pathLst>
                <a:path w="285" h="262" extrusionOk="0">
                  <a:moveTo>
                    <a:pt x="236" y="211"/>
                  </a:moveTo>
                  <a:lnTo>
                    <a:pt x="243" y="203"/>
                  </a:lnTo>
                  <a:lnTo>
                    <a:pt x="252" y="196"/>
                  </a:lnTo>
                  <a:lnTo>
                    <a:pt x="259" y="186"/>
                  </a:lnTo>
                  <a:lnTo>
                    <a:pt x="267" y="180"/>
                  </a:lnTo>
                  <a:lnTo>
                    <a:pt x="276" y="171"/>
                  </a:lnTo>
                  <a:lnTo>
                    <a:pt x="284" y="171"/>
                  </a:lnTo>
                  <a:lnTo>
                    <a:pt x="284" y="162"/>
                  </a:lnTo>
                  <a:lnTo>
                    <a:pt x="284" y="155"/>
                  </a:lnTo>
                  <a:lnTo>
                    <a:pt x="284" y="146"/>
                  </a:lnTo>
                  <a:lnTo>
                    <a:pt x="276" y="139"/>
                  </a:lnTo>
                  <a:lnTo>
                    <a:pt x="267" y="131"/>
                  </a:lnTo>
                  <a:lnTo>
                    <a:pt x="259" y="131"/>
                  </a:lnTo>
                  <a:lnTo>
                    <a:pt x="252" y="131"/>
                  </a:lnTo>
                  <a:lnTo>
                    <a:pt x="252" y="139"/>
                  </a:lnTo>
                  <a:lnTo>
                    <a:pt x="243" y="139"/>
                  </a:lnTo>
                  <a:lnTo>
                    <a:pt x="236" y="139"/>
                  </a:lnTo>
                  <a:lnTo>
                    <a:pt x="227" y="139"/>
                  </a:lnTo>
                  <a:lnTo>
                    <a:pt x="218" y="139"/>
                  </a:lnTo>
                  <a:lnTo>
                    <a:pt x="212" y="139"/>
                  </a:lnTo>
                  <a:lnTo>
                    <a:pt x="202" y="131"/>
                  </a:lnTo>
                  <a:lnTo>
                    <a:pt x="212" y="122"/>
                  </a:lnTo>
                  <a:lnTo>
                    <a:pt x="202" y="106"/>
                  </a:lnTo>
                  <a:lnTo>
                    <a:pt x="202" y="81"/>
                  </a:lnTo>
                  <a:lnTo>
                    <a:pt x="178" y="57"/>
                  </a:lnTo>
                  <a:lnTo>
                    <a:pt x="153" y="49"/>
                  </a:lnTo>
                  <a:lnTo>
                    <a:pt x="137" y="57"/>
                  </a:lnTo>
                  <a:lnTo>
                    <a:pt x="130" y="49"/>
                  </a:lnTo>
                  <a:lnTo>
                    <a:pt x="113" y="41"/>
                  </a:lnTo>
                  <a:lnTo>
                    <a:pt x="113" y="34"/>
                  </a:lnTo>
                  <a:lnTo>
                    <a:pt x="105" y="25"/>
                  </a:lnTo>
                  <a:lnTo>
                    <a:pt x="81" y="9"/>
                  </a:lnTo>
                  <a:lnTo>
                    <a:pt x="56" y="0"/>
                  </a:lnTo>
                  <a:lnTo>
                    <a:pt x="31" y="18"/>
                  </a:lnTo>
                  <a:lnTo>
                    <a:pt x="41" y="25"/>
                  </a:lnTo>
                  <a:lnTo>
                    <a:pt x="31" y="41"/>
                  </a:lnTo>
                  <a:lnTo>
                    <a:pt x="25" y="41"/>
                  </a:lnTo>
                  <a:lnTo>
                    <a:pt x="16" y="49"/>
                  </a:lnTo>
                  <a:lnTo>
                    <a:pt x="0" y="49"/>
                  </a:lnTo>
                  <a:lnTo>
                    <a:pt x="0" y="65"/>
                  </a:lnTo>
                  <a:lnTo>
                    <a:pt x="8" y="65"/>
                  </a:lnTo>
                  <a:lnTo>
                    <a:pt x="41" y="114"/>
                  </a:lnTo>
                  <a:lnTo>
                    <a:pt x="50" y="122"/>
                  </a:lnTo>
                  <a:lnTo>
                    <a:pt x="56" y="139"/>
                  </a:lnTo>
                  <a:lnTo>
                    <a:pt x="56" y="162"/>
                  </a:lnTo>
                  <a:lnTo>
                    <a:pt x="81" y="180"/>
                  </a:lnTo>
                  <a:lnTo>
                    <a:pt x="97" y="220"/>
                  </a:lnTo>
                  <a:lnTo>
                    <a:pt x="105" y="227"/>
                  </a:lnTo>
                  <a:lnTo>
                    <a:pt x="113" y="220"/>
                  </a:lnTo>
                  <a:lnTo>
                    <a:pt x="137" y="243"/>
                  </a:lnTo>
                  <a:lnTo>
                    <a:pt x="146" y="261"/>
                  </a:lnTo>
                  <a:lnTo>
                    <a:pt x="202" y="220"/>
                  </a:lnTo>
                  <a:lnTo>
                    <a:pt x="236" y="211"/>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15" name="Google Shape;1715;p75"/>
            <p:cNvSpPr/>
            <p:nvPr/>
          </p:nvSpPr>
          <p:spPr>
            <a:xfrm>
              <a:off x="5985878" y="4093353"/>
              <a:ext cx="46509" cy="63781"/>
            </a:xfrm>
            <a:custGeom>
              <a:avLst/>
              <a:gdLst/>
              <a:ahLst/>
              <a:cxnLst/>
              <a:rect l="l" t="t" r="r" b="b"/>
              <a:pathLst>
                <a:path w="17" h="26" extrusionOk="0">
                  <a:moveTo>
                    <a:pt x="10" y="25"/>
                  </a:moveTo>
                  <a:lnTo>
                    <a:pt x="0" y="9"/>
                  </a:lnTo>
                  <a:lnTo>
                    <a:pt x="10" y="0"/>
                  </a:lnTo>
                  <a:lnTo>
                    <a:pt x="16" y="0"/>
                  </a:lnTo>
                  <a:lnTo>
                    <a:pt x="10" y="25"/>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16" name="Google Shape;1716;p75"/>
            <p:cNvSpPr/>
            <p:nvPr/>
          </p:nvSpPr>
          <p:spPr>
            <a:xfrm>
              <a:off x="5985878" y="4093353"/>
              <a:ext cx="223685" cy="103644"/>
            </a:xfrm>
            <a:custGeom>
              <a:avLst/>
              <a:gdLst/>
              <a:ahLst/>
              <a:cxnLst/>
              <a:rect l="l" t="t" r="r" b="b"/>
              <a:pathLst>
                <a:path w="83" h="43" extrusionOk="0">
                  <a:moveTo>
                    <a:pt x="65" y="34"/>
                  </a:moveTo>
                  <a:lnTo>
                    <a:pt x="82" y="17"/>
                  </a:lnTo>
                  <a:lnTo>
                    <a:pt x="82" y="9"/>
                  </a:lnTo>
                  <a:lnTo>
                    <a:pt x="74" y="0"/>
                  </a:lnTo>
                  <a:lnTo>
                    <a:pt x="50" y="25"/>
                  </a:lnTo>
                  <a:lnTo>
                    <a:pt x="25" y="25"/>
                  </a:lnTo>
                  <a:lnTo>
                    <a:pt x="10" y="25"/>
                  </a:lnTo>
                  <a:lnTo>
                    <a:pt x="0" y="34"/>
                  </a:lnTo>
                  <a:lnTo>
                    <a:pt x="10" y="42"/>
                  </a:lnTo>
                  <a:lnTo>
                    <a:pt x="16" y="42"/>
                  </a:lnTo>
                  <a:lnTo>
                    <a:pt x="25" y="42"/>
                  </a:lnTo>
                  <a:lnTo>
                    <a:pt x="34" y="42"/>
                  </a:lnTo>
                  <a:lnTo>
                    <a:pt x="41" y="42"/>
                  </a:lnTo>
                  <a:lnTo>
                    <a:pt x="50" y="42"/>
                  </a:lnTo>
                  <a:lnTo>
                    <a:pt x="50" y="34"/>
                  </a:lnTo>
                  <a:lnTo>
                    <a:pt x="57" y="34"/>
                  </a:lnTo>
                  <a:lnTo>
                    <a:pt x="65" y="34"/>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17" name="Google Shape;1717;p75"/>
            <p:cNvSpPr/>
            <p:nvPr/>
          </p:nvSpPr>
          <p:spPr>
            <a:xfrm>
              <a:off x="6185201" y="4075418"/>
              <a:ext cx="44294" cy="41856"/>
            </a:xfrm>
            <a:custGeom>
              <a:avLst/>
              <a:gdLst/>
              <a:ahLst/>
              <a:cxnLst/>
              <a:rect l="l" t="t" r="r" b="b"/>
              <a:pathLst>
                <a:path w="17" h="17" extrusionOk="0">
                  <a:moveTo>
                    <a:pt x="16" y="16"/>
                  </a:moveTo>
                  <a:lnTo>
                    <a:pt x="0" y="7"/>
                  </a:lnTo>
                  <a:lnTo>
                    <a:pt x="0" y="0"/>
                  </a:lnTo>
                  <a:lnTo>
                    <a:pt x="16" y="0"/>
                  </a:lnTo>
                  <a:lnTo>
                    <a:pt x="16" y="16"/>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18" name="Google Shape;1718;p75"/>
            <p:cNvSpPr/>
            <p:nvPr/>
          </p:nvSpPr>
          <p:spPr>
            <a:xfrm>
              <a:off x="6078897" y="4135212"/>
              <a:ext cx="234759" cy="257116"/>
            </a:xfrm>
            <a:custGeom>
              <a:avLst/>
              <a:gdLst/>
              <a:ahLst/>
              <a:cxnLst/>
              <a:rect l="l" t="t" r="r" b="b"/>
              <a:pathLst>
                <a:path w="89" h="107" extrusionOk="0">
                  <a:moveTo>
                    <a:pt x="0" y="106"/>
                  </a:moveTo>
                  <a:lnTo>
                    <a:pt x="23" y="106"/>
                  </a:lnTo>
                  <a:lnTo>
                    <a:pt x="31" y="97"/>
                  </a:lnTo>
                  <a:lnTo>
                    <a:pt x="40" y="89"/>
                  </a:lnTo>
                  <a:lnTo>
                    <a:pt x="56" y="82"/>
                  </a:lnTo>
                  <a:lnTo>
                    <a:pt x="65" y="72"/>
                  </a:lnTo>
                  <a:lnTo>
                    <a:pt x="65" y="66"/>
                  </a:lnTo>
                  <a:lnTo>
                    <a:pt x="81" y="41"/>
                  </a:lnTo>
                  <a:lnTo>
                    <a:pt x="88" y="32"/>
                  </a:lnTo>
                  <a:lnTo>
                    <a:pt x="72" y="17"/>
                  </a:lnTo>
                  <a:lnTo>
                    <a:pt x="56" y="8"/>
                  </a:lnTo>
                  <a:lnTo>
                    <a:pt x="48" y="0"/>
                  </a:lnTo>
                  <a:lnTo>
                    <a:pt x="31" y="17"/>
                  </a:lnTo>
                  <a:lnTo>
                    <a:pt x="40" y="25"/>
                  </a:lnTo>
                  <a:lnTo>
                    <a:pt x="48" y="32"/>
                  </a:lnTo>
                  <a:lnTo>
                    <a:pt x="48" y="41"/>
                  </a:lnTo>
                  <a:lnTo>
                    <a:pt x="48" y="48"/>
                  </a:lnTo>
                  <a:lnTo>
                    <a:pt x="48" y="57"/>
                  </a:lnTo>
                  <a:lnTo>
                    <a:pt x="40" y="57"/>
                  </a:lnTo>
                  <a:lnTo>
                    <a:pt x="31" y="66"/>
                  </a:lnTo>
                  <a:lnTo>
                    <a:pt x="23" y="72"/>
                  </a:lnTo>
                  <a:lnTo>
                    <a:pt x="16" y="82"/>
                  </a:lnTo>
                  <a:lnTo>
                    <a:pt x="7" y="89"/>
                  </a:lnTo>
                  <a:lnTo>
                    <a:pt x="0" y="97"/>
                  </a:lnTo>
                  <a:lnTo>
                    <a:pt x="0" y="106"/>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19" name="Google Shape;1719;p75"/>
            <p:cNvSpPr/>
            <p:nvPr/>
          </p:nvSpPr>
          <p:spPr>
            <a:xfrm>
              <a:off x="5726760" y="4368411"/>
              <a:ext cx="354353" cy="157459"/>
            </a:xfrm>
            <a:custGeom>
              <a:avLst/>
              <a:gdLst/>
              <a:ahLst/>
              <a:cxnLst/>
              <a:rect l="l" t="t" r="r" b="b"/>
              <a:pathLst>
                <a:path w="132" h="66" extrusionOk="0">
                  <a:moveTo>
                    <a:pt x="0" y="16"/>
                  </a:moveTo>
                  <a:lnTo>
                    <a:pt x="8" y="9"/>
                  </a:lnTo>
                  <a:lnTo>
                    <a:pt x="32" y="32"/>
                  </a:lnTo>
                  <a:lnTo>
                    <a:pt x="41" y="50"/>
                  </a:lnTo>
                  <a:lnTo>
                    <a:pt x="97" y="9"/>
                  </a:lnTo>
                  <a:lnTo>
                    <a:pt x="131" y="0"/>
                  </a:lnTo>
                  <a:lnTo>
                    <a:pt x="131" y="9"/>
                  </a:lnTo>
                  <a:lnTo>
                    <a:pt x="122" y="16"/>
                  </a:lnTo>
                  <a:lnTo>
                    <a:pt x="122" y="25"/>
                  </a:lnTo>
                  <a:lnTo>
                    <a:pt x="90" y="32"/>
                  </a:lnTo>
                  <a:lnTo>
                    <a:pt x="57" y="57"/>
                  </a:lnTo>
                  <a:lnTo>
                    <a:pt x="41" y="57"/>
                  </a:lnTo>
                  <a:lnTo>
                    <a:pt x="25" y="65"/>
                  </a:lnTo>
                  <a:lnTo>
                    <a:pt x="8" y="65"/>
                  </a:lnTo>
                  <a:lnTo>
                    <a:pt x="0" y="16"/>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20" name="Google Shape;1720;p75"/>
            <p:cNvSpPr/>
            <p:nvPr/>
          </p:nvSpPr>
          <p:spPr>
            <a:xfrm>
              <a:off x="4521965" y="3686751"/>
              <a:ext cx="126237" cy="257117"/>
            </a:xfrm>
            <a:custGeom>
              <a:avLst/>
              <a:gdLst/>
              <a:ahLst/>
              <a:cxnLst/>
              <a:rect l="l" t="t" r="r" b="b"/>
              <a:pathLst>
                <a:path w="48" h="107" extrusionOk="0">
                  <a:moveTo>
                    <a:pt x="47" y="66"/>
                  </a:moveTo>
                  <a:lnTo>
                    <a:pt x="47" y="72"/>
                  </a:lnTo>
                  <a:lnTo>
                    <a:pt x="31" y="90"/>
                  </a:lnTo>
                  <a:lnTo>
                    <a:pt x="31" y="97"/>
                  </a:lnTo>
                  <a:lnTo>
                    <a:pt x="25" y="106"/>
                  </a:lnTo>
                  <a:lnTo>
                    <a:pt x="25" y="81"/>
                  </a:lnTo>
                  <a:lnTo>
                    <a:pt x="6" y="72"/>
                  </a:lnTo>
                  <a:lnTo>
                    <a:pt x="0" y="56"/>
                  </a:lnTo>
                  <a:lnTo>
                    <a:pt x="15" y="41"/>
                  </a:lnTo>
                  <a:lnTo>
                    <a:pt x="6" y="9"/>
                  </a:lnTo>
                  <a:lnTo>
                    <a:pt x="15" y="0"/>
                  </a:lnTo>
                  <a:lnTo>
                    <a:pt x="31" y="0"/>
                  </a:lnTo>
                  <a:lnTo>
                    <a:pt x="40" y="9"/>
                  </a:lnTo>
                  <a:lnTo>
                    <a:pt x="47" y="0"/>
                  </a:lnTo>
                  <a:lnTo>
                    <a:pt x="40" y="16"/>
                  </a:lnTo>
                  <a:lnTo>
                    <a:pt x="47" y="32"/>
                  </a:lnTo>
                  <a:lnTo>
                    <a:pt x="31" y="49"/>
                  </a:lnTo>
                  <a:lnTo>
                    <a:pt x="31" y="56"/>
                  </a:lnTo>
                  <a:lnTo>
                    <a:pt x="47" y="56"/>
                  </a:lnTo>
                  <a:lnTo>
                    <a:pt x="47" y="66"/>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21" name="Google Shape;1721;p75"/>
            <p:cNvSpPr/>
            <p:nvPr/>
          </p:nvSpPr>
          <p:spPr>
            <a:xfrm>
              <a:off x="5405628" y="4346487"/>
              <a:ext cx="498307" cy="450453"/>
            </a:xfrm>
            <a:custGeom>
              <a:avLst/>
              <a:gdLst/>
              <a:ahLst/>
              <a:cxnLst/>
              <a:rect l="l" t="t" r="r" b="b"/>
              <a:pathLst>
                <a:path w="187" h="187" extrusionOk="0">
                  <a:moveTo>
                    <a:pt x="121" y="73"/>
                  </a:moveTo>
                  <a:lnTo>
                    <a:pt x="113" y="73"/>
                  </a:lnTo>
                  <a:lnTo>
                    <a:pt x="113" y="90"/>
                  </a:lnTo>
                  <a:lnTo>
                    <a:pt x="113" y="98"/>
                  </a:lnTo>
                  <a:lnTo>
                    <a:pt x="121" y="98"/>
                  </a:lnTo>
                  <a:lnTo>
                    <a:pt x="121" y="105"/>
                  </a:lnTo>
                  <a:lnTo>
                    <a:pt x="138" y="121"/>
                  </a:lnTo>
                  <a:lnTo>
                    <a:pt x="178" y="130"/>
                  </a:lnTo>
                  <a:lnTo>
                    <a:pt x="186" y="130"/>
                  </a:lnTo>
                  <a:lnTo>
                    <a:pt x="153" y="170"/>
                  </a:lnTo>
                  <a:lnTo>
                    <a:pt x="129" y="170"/>
                  </a:lnTo>
                  <a:lnTo>
                    <a:pt x="113" y="186"/>
                  </a:lnTo>
                  <a:lnTo>
                    <a:pt x="97" y="179"/>
                  </a:lnTo>
                  <a:lnTo>
                    <a:pt x="72" y="186"/>
                  </a:lnTo>
                  <a:lnTo>
                    <a:pt x="32" y="179"/>
                  </a:lnTo>
                  <a:lnTo>
                    <a:pt x="32" y="163"/>
                  </a:lnTo>
                  <a:lnTo>
                    <a:pt x="24" y="163"/>
                  </a:lnTo>
                  <a:lnTo>
                    <a:pt x="7" y="139"/>
                  </a:lnTo>
                  <a:lnTo>
                    <a:pt x="0" y="130"/>
                  </a:lnTo>
                  <a:lnTo>
                    <a:pt x="7" y="121"/>
                  </a:lnTo>
                  <a:lnTo>
                    <a:pt x="16" y="98"/>
                  </a:lnTo>
                  <a:lnTo>
                    <a:pt x="41" y="65"/>
                  </a:lnTo>
                  <a:lnTo>
                    <a:pt x="47" y="17"/>
                  </a:lnTo>
                  <a:lnTo>
                    <a:pt x="66" y="8"/>
                  </a:lnTo>
                  <a:lnTo>
                    <a:pt x="66" y="0"/>
                  </a:lnTo>
                  <a:lnTo>
                    <a:pt x="81" y="33"/>
                  </a:lnTo>
                  <a:lnTo>
                    <a:pt x="97" y="48"/>
                  </a:lnTo>
                  <a:lnTo>
                    <a:pt x="121" y="73"/>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22" name="Google Shape;1722;p75"/>
            <p:cNvSpPr/>
            <p:nvPr/>
          </p:nvSpPr>
          <p:spPr>
            <a:xfrm>
              <a:off x="5706828" y="4521883"/>
              <a:ext cx="46509" cy="63781"/>
            </a:xfrm>
            <a:custGeom>
              <a:avLst/>
              <a:gdLst/>
              <a:ahLst/>
              <a:cxnLst/>
              <a:rect l="l" t="t" r="r" b="b"/>
              <a:pathLst>
                <a:path w="17" h="26" extrusionOk="0">
                  <a:moveTo>
                    <a:pt x="8" y="25"/>
                  </a:moveTo>
                  <a:lnTo>
                    <a:pt x="0" y="25"/>
                  </a:lnTo>
                  <a:lnTo>
                    <a:pt x="0" y="17"/>
                  </a:lnTo>
                  <a:lnTo>
                    <a:pt x="0" y="0"/>
                  </a:lnTo>
                  <a:lnTo>
                    <a:pt x="8" y="0"/>
                  </a:lnTo>
                  <a:lnTo>
                    <a:pt x="16" y="0"/>
                  </a:lnTo>
                  <a:lnTo>
                    <a:pt x="16" y="7"/>
                  </a:lnTo>
                  <a:lnTo>
                    <a:pt x="8" y="7"/>
                  </a:lnTo>
                  <a:lnTo>
                    <a:pt x="16" y="17"/>
                  </a:lnTo>
                  <a:lnTo>
                    <a:pt x="8" y="25"/>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23" name="Google Shape;1723;p75"/>
            <p:cNvSpPr/>
            <p:nvPr/>
          </p:nvSpPr>
          <p:spPr>
            <a:xfrm>
              <a:off x="5706828" y="4521883"/>
              <a:ext cx="46509" cy="63781"/>
            </a:xfrm>
            <a:custGeom>
              <a:avLst/>
              <a:gdLst/>
              <a:ahLst/>
              <a:cxnLst/>
              <a:rect l="l" t="t" r="r" b="b"/>
              <a:pathLst>
                <a:path w="17" h="26" extrusionOk="0">
                  <a:moveTo>
                    <a:pt x="8" y="25"/>
                  </a:moveTo>
                  <a:lnTo>
                    <a:pt x="0" y="25"/>
                  </a:lnTo>
                  <a:lnTo>
                    <a:pt x="0" y="17"/>
                  </a:lnTo>
                  <a:lnTo>
                    <a:pt x="0" y="0"/>
                  </a:lnTo>
                  <a:lnTo>
                    <a:pt x="8" y="0"/>
                  </a:lnTo>
                  <a:lnTo>
                    <a:pt x="16" y="0"/>
                  </a:lnTo>
                  <a:lnTo>
                    <a:pt x="16" y="7"/>
                  </a:lnTo>
                  <a:lnTo>
                    <a:pt x="8" y="7"/>
                  </a:lnTo>
                  <a:lnTo>
                    <a:pt x="16" y="17"/>
                  </a:lnTo>
                  <a:lnTo>
                    <a:pt x="8" y="25"/>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24" name="Google Shape;1724;p75"/>
            <p:cNvSpPr/>
            <p:nvPr/>
          </p:nvSpPr>
          <p:spPr>
            <a:xfrm>
              <a:off x="5664750" y="4539822"/>
              <a:ext cx="349922" cy="412584"/>
            </a:xfrm>
            <a:custGeom>
              <a:avLst/>
              <a:gdLst/>
              <a:ahLst/>
              <a:cxnLst/>
              <a:rect l="l" t="t" r="r" b="b"/>
              <a:pathLst>
                <a:path w="132" h="172" extrusionOk="0">
                  <a:moveTo>
                    <a:pt x="16" y="106"/>
                  </a:moveTo>
                  <a:lnTo>
                    <a:pt x="0" y="124"/>
                  </a:lnTo>
                  <a:lnTo>
                    <a:pt x="0" y="164"/>
                  </a:lnTo>
                  <a:lnTo>
                    <a:pt x="9" y="171"/>
                  </a:lnTo>
                  <a:lnTo>
                    <a:pt x="32" y="147"/>
                  </a:lnTo>
                  <a:lnTo>
                    <a:pt x="65" y="124"/>
                  </a:lnTo>
                  <a:lnTo>
                    <a:pt x="89" y="99"/>
                  </a:lnTo>
                  <a:lnTo>
                    <a:pt x="106" y="83"/>
                  </a:lnTo>
                  <a:lnTo>
                    <a:pt x="131" y="18"/>
                  </a:lnTo>
                  <a:lnTo>
                    <a:pt x="131" y="0"/>
                  </a:lnTo>
                  <a:lnTo>
                    <a:pt x="121" y="0"/>
                  </a:lnTo>
                  <a:lnTo>
                    <a:pt x="106" y="10"/>
                  </a:lnTo>
                  <a:lnTo>
                    <a:pt x="49" y="25"/>
                  </a:lnTo>
                  <a:lnTo>
                    <a:pt x="41" y="18"/>
                  </a:lnTo>
                  <a:lnTo>
                    <a:pt x="32" y="10"/>
                  </a:lnTo>
                  <a:lnTo>
                    <a:pt x="24" y="18"/>
                  </a:lnTo>
                  <a:lnTo>
                    <a:pt x="24" y="25"/>
                  </a:lnTo>
                  <a:lnTo>
                    <a:pt x="41" y="41"/>
                  </a:lnTo>
                  <a:lnTo>
                    <a:pt x="81" y="50"/>
                  </a:lnTo>
                  <a:lnTo>
                    <a:pt x="89" y="50"/>
                  </a:lnTo>
                  <a:lnTo>
                    <a:pt x="56" y="90"/>
                  </a:lnTo>
                  <a:lnTo>
                    <a:pt x="32" y="90"/>
                  </a:lnTo>
                  <a:lnTo>
                    <a:pt x="16" y="106"/>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25" name="Google Shape;1725;p75"/>
            <p:cNvSpPr/>
            <p:nvPr/>
          </p:nvSpPr>
          <p:spPr>
            <a:xfrm>
              <a:off x="3693668" y="4037546"/>
              <a:ext cx="414148" cy="408598"/>
            </a:xfrm>
            <a:custGeom>
              <a:avLst/>
              <a:gdLst/>
              <a:ahLst/>
              <a:cxnLst/>
              <a:rect l="l" t="t" r="r" b="b"/>
              <a:pathLst>
                <a:path w="155" h="170" extrusionOk="0">
                  <a:moveTo>
                    <a:pt x="0" y="88"/>
                  </a:moveTo>
                  <a:lnTo>
                    <a:pt x="9" y="81"/>
                  </a:lnTo>
                  <a:lnTo>
                    <a:pt x="49" y="81"/>
                  </a:lnTo>
                  <a:lnTo>
                    <a:pt x="49" y="65"/>
                  </a:lnTo>
                  <a:lnTo>
                    <a:pt x="65" y="57"/>
                  </a:lnTo>
                  <a:lnTo>
                    <a:pt x="65" y="16"/>
                  </a:lnTo>
                  <a:lnTo>
                    <a:pt x="106" y="16"/>
                  </a:lnTo>
                  <a:lnTo>
                    <a:pt x="106" y="0"/>
                  </a:lnTo>
                  <a:lnTo>
                    <a:pt x="154" y="32"/>
                  </a:lnTo>
                  <a:lnTo>
                    <a:pt x="130" y="32"/>
                  </a:lnTo>
                  <a:lnTo>
                    <a:pt x="148" y="162"/>
                  </a:lnTo>
                  <a:lnTo>
                    <a:pt x="89" y="162"/>
                  </a:lnTo>
                  <a:lnTo>
                    <a:pt x="81" y="169"/>
                  </a:lnTo>
                  <a:lnTo>
                    <a:pt x="74" y="162"/>
                  </a:lnTo>
                  <a:lnTo>
                    <a:pt x="58" y="169"/>
                  </a:lnTo>
                  <a:lnTo>
                    <a:pt x="49" y="153"/>
                  </a:lnTo>
                  <a:lnTo>
                    <a:pt x="24" y="146"/>
                  </a:lnTo>
                  <a:lnTo>
                    <a:pt x="9" y="146"/>
                  </a:lnTo>
                  <a:lnTo>
                    <a:pt x="0" y="153"/>
                  </a:lnTo>
                  <a:lnTo>
                    <a:pt x="9" y="122"/>
                  </a:lnTo>
                  <a:lnTo>
                    <a:pt x="0" y="112"/>
                  </a:lnTo>
                  <a:lnTo>
                    <a:pt x="9" y="97"/>
                  </a:lnTo>
                  <a:lnTo>
                    <a:pt x="0" y="88"/>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26" name="Google Shape;1726;p75"/>
            <p:cNvSpPr/>
            <p:nvPr/>
          </p:nvSpPr>
          <p:spPr>
            <a:xfrm>
              <a:off x="3673736" y="4390335"/>
              <a:ext cx="219256" cy="135535"/>
            </a:xfrm>
            <a:custGeom>
              <a:avLst/>
              <a:gdLst/>
              <a:ahLst/>
              <a:cxnLst/>
              <a:rect l="l" t="t" r="r" b="b"/>
              <a:pathLst>
                <a:path w="83" h="57" extrusionOk="0">
                  <a:moveTo>
                    <a:pt x="8" y="48"/>
                  </a:moveTo>
                  <a:lnTo>
                    <a:pt x="17" y="48"/>
                  </a:lnTo>
                  <a:lnTo>
                    <a:pt x="32" y="41"/>
                  </a:lnTo>
                  <a:lnTo>
                    <a:pt x="42" y="48"/>
                  </a:lnTo>
                  <a:lnTo>
                    <a:pt x="48" y="41"/>
                  </a:lnTo>
                  <a:lnTo>
                    <a:pt x="32" y="41"/>
                  </a:lnTo>
                  <a:lnTo>
                    <a:pt x="8" y="41"/>
                  </a:lnTo>
                  <a:lnTo>
                    <a:pt x="0" y="23"/>
                  </a:lnTo>
                  <a:lnTo>
                    <a:pt x="8" y="7"/>
                  </a:lnTo>
                  <a:lnTo>
                    <a:pt x="17" y="0"/>
                  </a:lnTo>
                  <a:lnTo>
                    <a:pt x="32" y="0"/>
                  </a:lnTo>
                  <a:lnTo>
                    <a:pt x="57" y="7"/>
                  </a:lnTo>
                  <a:lnTo>
                    <a:pt x="66" y="23"/>
                  </a:lnTo>
                  <a:lnTo>
                    <a:pt x="82" y="56"/>
                  </a:lnTo>
                  <a:lnTo>
                    <a:pt x="48" y="56"/>
                  </a:lnTo>
                  <a:lnTo>
                    <a:pt x="8" y="56"/>
                  </a:lnTo>
                  <a:lnTo>
                    <a:pt x="8" y="48"/>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27" name="Google Shape;1727;p75"/>
            <p:cNvSpPr/>
            <p:nvPr/>
          </p:nvSpPr>
          <p:spPr>
            <a:xfrm>
              <a:off x="3693669" y="4487999"/>
              <a:ext cx="108519" cy="39863"/>
            </a:xfrm>
            <a:custGeom>
              <a:avLst/>
              <a:gdLst/>
              <a:ahLst/>
              <a:cxnLst/>
              <a:rect l="l" t="t" r="r" b="b"/>
              <a:pathLst>
                <a:path w="41" h="17" extrusionOk="0">
                  <a:moveTo>
                    <a:pt x="0" y="16"/>
                  </a:moveTo>
                  <a:lnTo>
                    <a:pt x="9" y="16"/>
                  </a:lnTo>
                  <a:lnTo>
                    <a:pt x="24" y="0"/>
                  </a:lnTo>
                  <a:lnTo>
                    <a:pt x="34" y="16"/>
                  </a:lnTo>
                  <a:lnTo>
                    <a:pt x="40" y="0"/>
                  </a:lnTo>
                  <a:lnTo>
                    <a:pt x="24" y="0"/>
                  </a:lnTo>
                  <a:lnTo>
                    <a:pt x="0" y="0"/>
                  </a:lnTo>
                  <a:lnTo>
                    <a:pt x="0" y="16"/>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28" name="Google Shape;1728;p75"/>
            <p:cNvSpPr/>
            <p:nvPr/>
          </p:nvSpPr>
          <p:spPr>
            <a:xfrm>
              <a:off x="3693669" y="4521883"/>
              <a:ext cx="108519" cy="63781"/>
            </a:xfrm>
            <a:custGeom>
              <a:avLst/>
              <a:gdLst/>
              <a:ahLst/>
              <a:cxnLst/>
              <a:rect l="l" t="t" r="r" b="b"/>
              <a:pathLst>
                <a:path w="41" h="26" extrusionOk="0">
                  <a:moveTo>
                    <a:pt x="24" y="25"/>
                  </a:moveTo>
                  <a:lnTo>
                    <a:pt x="40" y="7"/>
                  </a:lnTo>
                  <a:lnTo>
                    <a:pt x="40" y="0"/>
                  </a:lnTo>
                  <a:lnTo>
                    <a:pt x="0" y="0"/>
                  </a:lnTo>
                  <a:lnTo>
                    <a:pt x="17" y="7"/>
                  </a:lnTo>
                  <a:lnTo>
                    <a:pt x="17" y="17"/>
                  </a:lnTo>
                  <a:lnTo>
                    <a:pt x="24" y="25"/>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29" name="Google Shape;1729;p75"/>
            <p:cNvSpPr/>
            <p:nvPr/>
          </p:nvSpPr>
          <p:spPr>
            <a:xfrm>
              <a:off x="3757894" y="4521885"/>
              <a:ext cx="243617" cy="163438"/>
            </a:xfrm>
            <a:custGeom>
              <a:avLst/>
              <a:gdLst/>
              <a:ahLst/>
              <a:cxnLst/>
              <a:rect l="l" t="t" r="r" b="b"/>
              <a:pathLst>
                <a:path w="91" h="67" extrusionOk="0">
                  <a:moveTo>
                    <a:pt x="82" y="66"/>
                  </a:moveTo>
                  <a:lnTo>
                    <a:pt x="90" y="66"/>
                  </a:lnTo>
                  <a:lnTo>
                    <a:pt x="90" y="57"/>
                  </a:lnTo>
                  <a:lnTo>
                    <a:pt x="90" y="48"/>
                  </a:lnTo>
                  <a:lnTo>
                    <a:pt x="90" y="41"/>
                  </a:lnTo>
                  <a:lnTo>
                    <a:pt x="90" y="32"/>
                  </a:lnTo>
                  <a:lnTo>
                    <a:pt x="75" y="0"/>
                  </a:lnTo>
                  <a:lnTo>
                    <a:pt x="57" y="7"/>
                  </a:lnTo>
                  <a:lnTo>
                    <a:pt x="41" y="7"/>
                  </a:lnTo>
                  <a:lnTo>
                    <a:pt x="50" y="0"/>
                  </a:lnTo>
                  <a:lnTo>
                    <a:pt x="16" y="0"/>
                  </a:lnTo>
                  <a:lnTo>
                    <a:pt x="16" y="7"/>
                  </a:lnTo>
                  <a:lnTo>
                    <a:pt x="0" y="25"/>
                  </a:lnTo>
                  <a:lnTo>
                    <a:pt x="25" y="41"/>
                  </a:lnTo>
                  <a:lnTo>
                    <a:pt x="34" y="32"/>
                  </a:lnTo>
                  <a:lnTo>
                    <a:pt x="41" y="32"/>
                  </a:lnTo>
                  <a:lnTo>
                    <a:pt x="57" y="48"/>
                  </a:lnTo>
                  <a:lnTo>
                    <a:pt x="57" y="57"/>
                  </a:lnTo>
                  <a:lnTo>
                    <a:pt x="65" y="48"/>
                  </a:lnTo>
                  <a:lnTo>
                    <a:pt x="75" y="66"/>
                  </a:lnTo>
                  <a:lnTo>
                    <a:pt x="82" y="66"/>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30" name="Google Shape;1730;p75"/>
            <p:cNvSpPr/>
            <p:nvPr/>
          </p:nvSpPr>
          <p:spPr>
            <a:xfrm>
              <a:off x="3824334" y="4599617"/>
              <a:ext cx="88589" cy="99658"/>
            </a:xfrm>
            <a:custGeom>
              <a:avLst/>
              <a:gdLst/>
              <a:ahLst/>
              <a:cxnLst/>
              <a:rect l="l" t="t" r="r" b="b"/>
              <a:pathLst>
                <a:path w="33" h="41" extrusionOk="0">
                  <a:moveTo>
                    <a:pt x="0" y="9"/>
                  </a:moveTo>
                  <a:lnTo>
                    <a:pt x="9" y="0"/>
                  </a:lnTo>
                  <a:lnTo>
                    <a:pt x="16" y="0"/>
                  </a:lnTo>
                  <a:lnTo>
                    <a:pt x="32" y="16"/>
                  </a:lnTo>
                  <a:lnTo>
                    <a:pt x="32" y="25"/>
                  </a:lnTo>
                  <a:lnTo>
                    <a:pt x="16" y="40"/>
                  </a:lnTo>
                  <a:lnTo>
                    <a:pt x="9" y="34"/>
                  </a:lnTo>
                  <a:lnTo>
                    <a:pt x="0" y="34"/>
                  </a:lnTo>
                  <a:lnTo>
                    <a:pt x="0" y="9"/>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31" name="Google Shape;1731;p75"/>
            <p:cNvSpPr/>
            <p:nvPr/>
          </p:nvSpPr>
          <p:spPr>
            <a:xfrm>
              <a:off x="3866414" y="4637487"/>
              <a:ext cx="159457" cy="141514"/>
            </a:xfrm>
            <a:custGeom>
              <a:avLst/>
              <a:gdLst/>
              <a:ahLst/>
              <a:cxnLst/>
              <a:rect l="l" t="t" r="r" b="b"/>
              <a:pathLst>
                <a:path w="59" h="59" extrusionOk="0">
                  <a:moveTo>
                    <a:pt x="58" y="58"/>
                  </a:moveTo>
                  <a:lnTo>
                    <a:pt x="58" y="42"/>
                  </a:lnTo>
                  <a:lnTo>
                    <a:pt x="41" y="33"/>
                  </a:lnTo>
                  <a:lnTo>
                    <a:pt x="41" y="18"/>
                  </a:lnTo>
                  <a:lnTo>
                    <a:pt x="34" y="18"/>
                  </a:lnTo>
                  <a:lnTo>
                    <a:pt x="24" y="0"/>
                  </a:lnTo>
                  <a:lnTo>
                    <a:pt x="16" y="9"/>
                  </a:lnTo>
                  <a:lnTo>
                    <a:pt x="0" y="24"/>
                  </a:lnTo>
                  <a:lnTo>
                    <a:pt x="41" y="58"/>
                  </a:lnTo>
                  <a:lnTo>
                    <a:pt x="58" y="58"/>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32" name="Google Shape;1732;p75"/>
            <p:cNvSpPr/>
            <p:nvPr/>
          </p:nvSpPr>
          <p:spPr>
            <a:xfrm>
              <a:off x="4256201" y="4563740"/>
              <a:ext cx="70870" cy="155466"/>
            </a:xfrm>
            <a:custGeom>
              <a:avLst/>
              <a:gdLst/>
              <a:ahLst/>
              <a:cxnLst/>
              <a:rect l="l" t="t" r="r" b="b"/>
              <a:pathLst>
                <a:path w="26" h="65" extrusionOk="0">
                  <a:moveTo>
                    <a:pt x="17" y="0"/>
                  </a:moveTo>
                  <a:lnTo>
                    <a:pt x="0" y="0"/>
                  </a:lnTo>
                  <a:lnTo>
                    <a:pt x="9" y="31"/>
                  </a:lnTo>
                  <a:lnTo>
                    <a:pt x="17" y="55"/>
                  </a:lnTo>
                  <a:lnTo>
                    <a:pt x="17" y="64"/>
                  </a:lnTo>
                  <a:lnTo>
                    <a:pt x="25" y="64"/>
                  </a:lnTo>
                  <a:lnTo>
                    <a:pt x="25" y="31"/>
                  </a:lnTo>
                  <a:lnTo>
                    <a:pt x="25" y="15"/>
                  </a:lnTo>
                  <a:lnTo>
                    <a:pt x="17" y="8"/>
                  </a:lnTo>
                  <a:lnTo>
                    <a:pt x="17" y="0"/>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33" name="Google Shape;1733;p75"/>
            <p:cNvSpPr/>
            <p:nvPr/>
          </p:nvSpPr>
          <p:spPr>
            <a:xfrm>
              <a:off x="4588406" y="4836802"/>
              <a:ext cx="59797" cy="39863"/>
            </a:xfrm>
            <a:custGeom>
              <a:avLst/>
              <a:gdLst/>
              <a:ahLst/>
              <a:cxnLst/>
              <a:rect l="l" t="t" r="r" b="b"/>
              <a:pathLst>
                <a:path w="23" h="17" extrusionOk="0">
                  <a:moveTo>
                    <a:pt x="22" y="0"/>
                  </a:moveTo>
                  <a:lnTo>
                    <a:pt x="22" y="16"/>
                  </a:lnTo>
                  <a:lnTo>
                    <a:pt x="6" y="16"/>
                  </a:lnTo>
                  <a:lnTo>
                    <a:pt x="0" y="16"/>
                  </a:lnTo>
                  <a:lnTo>
                    <a:pt x="6" y="0"/>
                  </a:lnTo>
                  <a:lnTo>
                    <a:pt x="22" y="0"/>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34" name="Google Shape;1734;p75"/>
            <p:cNvSpPr/>
            <p:nvPr/>
          </p:nvSpPr>
          <p:spPr>
            <a:xfrm>
              <a:off x="4645989" y="4794945"/>
              <a:ext cx="263549" cy="275056"/>
            </a:xfrm>
            <a:custGeom>
              <a:avLst/>
              <a:gdLst/>
              <a:ahLst/>
              <a:cxnLst/>
              <a:rect l="l" t="t" r="r" b="b"/>
              <a:pathLst>
                <a:path w="99" h="115" extrusionOk="0">
                  <a:moveTo>
                    <a:pt x="65" y="9"/>
                  </a:moveTo>
                  <a:lnTo>
                    <a:pt x="65" y="24"/>
                  </a:lnTo>
                  <a:lnTo>
                    <a:pt x="25" y="18"/>
                  </a:lnTo>
                  <a:lnTo>
                    <a:pt x="25" y="33"/>
                  </a:lnTo>
                  <a:lnTo>
                    <a:pt x="33" y="24"/>
                  </a:lnTo>
                  <a:lnTo>
                    <a:pt x="41" y="33"/>
                  </a:lnTo>
                  <a:lnTo>
                    <a:pt x="41" y="41"/>
                  </a:lnTo>
                  <a:lnTo>
                    <a:pt x="41" y="74"/>
                  </a:lnTo>
                  <a:lnTo>
                    <a:pt x="18" y="74"/>
                  </a:lnTo>
                  <a:lnTo>
                    <a:pt x="9" y="81"/>
                  </a:lnTo>
                  <a:lnTo>
                    <a:pt x="9" y="90"/>
                  </a:lnTo>
                  <a:lnTo>
                    <a:pt x="0" y="90"/>
                  </a:lnTo>
                  <a:lnTo>
                    <a:pt x="0" y="98"/>
                  </a:lnTo>
                  <a:lnTo>
                    <a:pt x="18" y="114"/>
                  </a:lnTo>
                  <a:lnTo>
                    <a:pt x="18" y="106"/>
                  </a:lnTo>
                  <a:lnTo>
                    <a:pt x="25" y="106"/>
                  </a:lnTo>
                  <a:lnTo>
                    <a:pt x="41" y="106"/>
                  </a:lnTo>
                  <a:lnTo>
                    <a:pt x="58" y="98"/>
                  </a:lnTo>
                  <a:lnTo>
                    <a:pt x="65" y="74"/>
                  </a:lnTo>
                  <a:lnTo>
                    <a:pt x="81" y="58"/>
                  </a:lnTo>
                  <a:lnTo>
                    <a:pt x="98" y="0"/>
                  </a:lnTo>
                  <a:lnTo>
                    <a:pt x="75" y="9"/>
                  </a:lnTo>
                  <a:lnTo>
                    <a:pt x="65" y="9"/>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35" name="Google Shape;1735;p75"/>
            <p:cNvSpPr/>
            <p:nvPr/>
          </p:nvSpPr>
          <p:spPr>
            <a:xfrm>
              <a:off x="5250599" y="4934464"/>
              <a:ext cx="68657" cy="57802"/>
            </a:xfrm>
            <a:custGeom>
              <a:avLst/>
              <a:gdLst/>
              <a:ahLst/>
              <a:cxnLst/>
              <a:rect l="l" t="t" r="r" b="b"/>
              <a:pathLst>
                <a:path w="26" h="24" extrusionOk="0">
                  <a:moveTo>
                    <a:pt x="25" y="23"/>
                  </a:moveTo>
                  <a:lnTo>
                    <a:pt x="9" y="23"/>
                  </a:lnTo>
                  <a:lnTo>
                    <a:pt x="0" y="23"/>
                  </a:lnTo>
                  <a:lnTo>
                    <a:pt x="9" y="7"/>
                  </a:lnTo>
                  <a:lnTo>
                    <a:pt x="25" y="0"/>
                  </a:lnTo>
                  <a:lnTo>
                    <a:pt x="25" y="16"/>
                  </a:lnTo>
                  <a:lnTo>
                    <a:pt x="25" y="23"/>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36" name="Google Shape;1736;p75"/>
            <p:cNvSpPr/>
            <p:nvPr/>
          </p:nvSpPr>
          <p:spPr>
            <a:xfrm>
              <a:off x="5274962" y="4988283"/>
              <a:ext cx="44294" cy="61788"/>
            </a:xfrm>
            <a:custGeom>
              <a:avLst/>
              <a:gdLst/>
              <a:ahLst/>
              <a:cxnLst/>
              <a:rect l="l" t="t" r="r" b="b"/>
              <a:pathLst>
                <a:path w="17" h="26" extrusionOk="0">
                  <a:moveTo>
                    <a:pt x="16" y="0"/>
                  </a:moveTo>
                  <a:lnTo>
                    <a:pt x="16" y="9"/>
                  </a:lnTo>
                  <a:lnTo>
                    <a:pt x="0" y="25"/>
                  </a:lnTo>
                  <a:lnTo>
                    <a:pt x="0" y="9"/>
                  </a:lnTo>
                  <a:lnTo>
                    <a:pt x="0" y="0"/>
                  </a:lnTo>
                  <a:lnTo>
                    <a:pt x="16" y="0"/>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37" name="Google Shape;1737;p75"/>
            <p:cNvSpPr/>
            <p:nvPr/>
          </p:nvSpPr>
          <p:spPr>
            <a:xfrm>
              <a:off x="4670350" y="5434749"/>
              <a:ext cx="458443" cy="392650"/>
            </a:xfrm>
            <a:custGeom>
              <a:avLst/>
              <a:gdLst/>
              <a:ahLst/>
              <a:cxnLst/>
              <a:rect l="l" t="t" r="r" b="b"/>
              <a:pathLst>
                <a:path w="172" h="163" extrusionOk="0">
                  <a:moveTo>
                    <a:pt x="56" y="162"/>
                  </a:moveTo>
                  <a:lnTo>
                    <a:pt x="49" y="146"/>
                  </a:lnTo>
                  <a:lnTo>
                    <a:pt x="32" y="99"/>
                  </a:lnTo>
                  <a:lnTo>
                    <a:pt x="32" y="75"/>
                  </a:lnTo>
                  <a:lnTo>
                    <a:pt x="0" y="9"/>
                  </a:lnTo>
                  <a:lnTo>
                    <a:pt x="0" y="0"/>
                  </a:lnTo>
                  <a:lnTo>
                    <a:pt x="16" y="0"/>
                  </a:lnTo>
                  <a:lnTo>
                    <a:pt x="32" y="0"/>
                  </a:lnTo>
                  <a:lnTo>
                    <a:pt x="81" y="9"/>
                  </a:lnTo>
                  <a:lnTo>
                    <a:pt x="97" y="9"/>
                  </a:lnTo>
                  <a:lnTo>
                    <a:pt x="130" y="16"/>
                  </a:lnTo>
                  <a:lnTo>
                    <a:pt x="146" y="9"/>
                  </a:lnTo>
                  <a:lnTo>
                    <a:pt x="153" y="0"/>
                  </a:lnTo>
                  <a:lnTo>
                    <a:pt x="171" y="9"/>
                  </a:lnTo>
                  <a:lnTo>
                    <a:pt x="153" y="25"/>
                  </a:lnTo>
                  <a:lnTo>
                    <a:pt x="146" y="16"/>
                  </a:lnTo>
                  <a:lnTo>
                    <a:pt x="121" y="16"/>
                  </a:lnTo>
                  <a:lnTo>
                    <a:pt x="112" y="65"/>
                  </a:lnTo>
                  <a:lnTo>
                    <a:pt x="106" y="75"/>
                  </a:lnTo>
                  <a:lnTo>
                    <a:pt x="106" y="106"/>
                  </a:lnTo>
                  <a:lnTo>
                    <a:pt x="106" y="155"/>
                  </a:lnTo>
                  <a:lnTo>
                    <a:pt x="89" y="162"/>
                  </a:lnTo>
                  <a:lnTo>
                    <a:pt x="72" y="162"/>
                  </a:lnTo>
                  <a:lnTo>
                    <a:pt x="66" y="155"/>
                  </a:lnTo>
                  <a:lnTo>
                    <a:pt x="56" y="162"/>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38" name="Google Shape;1738;p75"/>
            <p:cNvSpPr/>
            <p:nvPr/>
          </p:nvSpPr>
          <p:spPr>
            <a:xfrm>
              <a:off x="4670350" y="5083954"/>
              <a:ext cx="429652" cy="392650"/>
            </a:xfrm>
            <a:custGeom>
              <a:avLst/>
              <a:gdLst/>
              <a:ahLst/>
              <a:cxnLst/>
              <a:rect l="l" t="t" r="r" b="b"/>
              <a:pathLst>
                <a:path w="162" h="163" extrusionOk="0">
                  <a:moveTo>
                    <a:pt x="0" y="146"/>
                  </a:moveTo>
                  <a:lnTo>
                    <a:pt x="16" y="146"/>
                  </a:lnTo>
                  <a:lnTo>
                    <a:pt x="32" y="146"/>
                  </a:lnTo>
                  <a:lnTo>
                    <a:pt x="81" y="155"/>
                  </a:lnTo>
                  <a:lnTo>
                    <a:pt x="97" y="155"/>
                  </a:lnTo>
                  <a:lnTo>
                    <a:pt x="130" y="162"/>
                  </a:lnTo>
                  <a:lnTo>
                    <a:pt x="146" y="155"/>
                  </a:lnTo>
                  <a:lnTo>
                    <a:pt x="130" y="139"/>
                  </a:lnTo>
                  <a:lnTo>
                    <a:pt x="130" y="99"/>
                  </a:lnTo>
                  <a:lnTo>
                    <a:pt x="161" y="90"/>
                  </a:lnTo>
                  <a:lnTo>
                    <a:pt x="153" y="65"/>
                  </a:lnTo>
                  <a:lnTo>
                    <a:pt x="130" y="74"/>
                  </a:lnTo>
                  <a:lnTo>
                    <a:pt x="130" y="65"/>
                  </a:lnTo>
                  <a:lnTo>
                    <a:pt x="137" y="59"/>
                  </a:lnTo>
                  <a:lnTo>
                    <a:pt x="130" y="50"/>
                  </a:lnTo>
                  <a:lnTo>
                    <a:pt x="130" y="25"/>
                  </a:lnTo>
                  <a:lnTo>
                    <a:pt x="112" y="17"/>
                  </a:lnTo>
                  <a:lnTo>
                    <a:pt x="97" y="17"/>
                  </a:lnTo>
                  <a:lnTo>
                    <a:pt x="97" y="25"/>
                  </a:lnTo>
                  <a:lnTo>
                    <a:pt x="81" y="34"/>
                  </a:lnTo>
                  <a:lnTo>
                    <a:pt x="66" y="17"/>
                  </a:lnTo>
                  <a:lnTo>
                    <a:pt x="66" y="0"/>
                  </a:lnTo>
                  <a:lnTo>
                    <a:pt x="56" y="0"/>
                  </a:lnTo>
                  <a:lnTo>
                    <a:pt x="24" y="0"/>
                  </a:lnTo>
                  <a:lnTo>
                    <a:pt x="9" y="9"/>
                  </a:lnTo>
                  <a:lnTo>
                    <a:pt x="16" y="34"/>
                  </a:lnTo>
                  <a:lnTo>
                    <a:pt x="16" y="40"/>
                  </a:lnTo>
                  <a:lnTo>
                    <a:pt x="24" y="74"/>
                  </a:lnTo>
                  <a:lnTo>
                    <a:pt x="24" y="90"/>
                  </a:lnTo>
                  <a:lnTo>
                    <a:pt x="9" y="99"/>
                  </a:lnTo>
                  <a:lnTo>
                    <a:pt x="0" y="131"/>
                  </a:lnTo>
                  <a:lnTo>
                    <a:pt x="0" y="146"/>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39" name="Google Shape;1739;p75"/>
            <p:cNvSpPr/>
            <p:nvPr/>
          </p:nvSpPr>
          <p:spPr>
            <a:xfrm>
              <a:off x="4694711" y="5048078"/>
              <a:ext cx="44294" cy="41856"/>
            </a:xfrm>
            <a:custGeom>
              <a:avLst/>
              <a:gdLst/>
              <a:ahLst/>
              <a:cxnLst/>
              <a:rect l="l" t="t" r="r" b="b"/>
              <a:pathLst>
                <a:path w="17" h="17" extrusionOk="0">
                  <a:moveTo>
                    <a:pt x="16" y="0"/>
                  </a:moveTo>
                  <a:lnTo>
                    <a:pt x="0" y="16"/>
                  </a:lnTo>
                  <a:lnTo>
                    <a:pt x="0" y="8"/>
                  </a:lnTo>
                  <a:lnTo>
                    <a:pt x="0" y="0"/>
                  </a:lnTo>
                  <a:lnTo>
                    <a:pt x="16" y="0"/>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40" name="Google Shape;1740;p75"/>
            <p:cNvSpPr/>
            <p:nvPr/>
          </p:nvSpPr>
          <p:spPr>
            <a:xfrm>
              <a:off x="4694711" y="5048078"/>
              <a:ext cx="44294" cy="41856"/>
            </a:xfrm>
            <a:custGeom>
              <a:avLst/>
              <a:gdLst/>
              <a:ahLst/>
              <a:cxnLst/>
              <a:rect l="l" t="t" r="r" b="b"/>
              <a:pathLst>
                <a:path w="17" h="17" extrusionOk="0">
                  <a:moveTo>
                    <a:pt x="16" y="0"/>
                  </a:moveTo>
                  <a:lnTo>
                    <a:pt x="0" y="16"/>
                  </a:lnTo>
                  <a:lnTo>
                    <a:pt x="0" y="8"/>
                  </a:lnTo>
                  <a:lnTo>
                    <a:pt x="0" y="0"/>
                  </a:lnTo>
                  <a:lnTo>
                    <a:pt x="16" y="0"/>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41" name="Google Shape;1741;p75"/>
            <p:cNvSpPr/>
            <p:nvPr/>
          </p:nvSpPr>
          <p:spPr>
            <a:xfrm>
              <a:off x="4820950" y="5590214"/>
              <a:ext cx="564748" cy="452446"/>
            </a:xfrm>
            <a:custGeom>
              <a:avLst/>
              <a:gdLst/>
              <a:ahLst/>
              <a:cxnLst/>
              <a:rect l="l" t="t" r="r" b="b"/>
              <a:pathLst>
                <a:path w="213" h="188" extrusionOk="0">
                  <a:moveTo>
                    <a:pt x="196" y="10"/>
                  </a:moveTo>
                  <a:lnTo>
                    <a:pt x="202" y="57"/>
                  </a:lnTo>
                  <a:lnTo>
                    <a:pt x="196" y="57"/>
                  </a:lnTo>
                  <a:lnTo>
                    <a:pt x="187" y="65"/>
                  </a:lnTo>
                  <a:lnTo>
                    <a:pt x="196" y="74"/>
                  </a:lnTo>
                  <a:lnTo>
                    <a:pt x="202" y="65"/>
                  </a:lnTo>
                  <a:lnTo>
                    <a:pt x="212" y="65"/>
                  </a:lnTo>
                  <a:lnTo>
                    <a:pt x="212" y="74"/>
                  </a:lnTo>
                  <a:lnTo>
                    <a:pt x="212" y="97"/>
                  </a:lnTo>
                  <a:lnTo>
                    <a:pt x="196" y="105"/>
                  </a:lnTo>
                  <a:lnTo>
                    <a:pt x="180" y="130"/>
                  </a:lnTo>
                  <a:lnTo>
                    <a:pt x="155" y="153"/>
                  </a:lnTo>
                  <a:lnTo>
                    <a:pt x="139" y="171"/>
                  </a:lnTo>
                  <a:lnTo>
                    <a:pt x="115" y="178"/>
                  </a:lnTo>
                  <a:lnTo>
                    <a:pt x="97" y="178"/>
                  </a:lnTo>
                  <a:lnTo>
                    <a:pt x="74" y="178"/>
                  </a:lnTo>
                  <a:lnTo>
                    <a:pt x="50" y="187"/>
                  </a:lnTo>
                  <a:lnTo>
                    <a:pt x="41" y="187"/>
                  </a:lnTo>
                  <a:lnTo>
                    <a:pt x="33" y="178"/>
                  </a:lnTo>
                  <a:lnTo>
                    <a:pt x="25" y="153"/>
                  </a:lnTo>
                  <a:lnTo>
                    <a:pt x="25" y="147"/>
                  </a:lnTo>
                  <a:lnTo>
                    <a:pt x="10" y="97"/>
                  </a:lnTo>
                  <a:lnTo>
                    <a:pt x="0" y="97"/>
                  </a:lnTo>
                  <a:lnTo>
                    <a:pt x="10" y="90"/>
                  </a:lnTo>
                  <a:lnTo>
                    <a:pt x="16" y="97"/>
                  </a:lnTo>
                  <a:lnTo>
                    <a:pt x="33" y="97"/>
                  </a:lnTo>
                  <a:lnTo>
                    <a:pt x="50" y="90"/>
                  </a:lnTo>
                  <a:lnTo>
                    <a:pt x="50" y="41"/>
                  </a:lnTo>
                  <a:lnTo>
                    <a:pt x="56" y="50"/>
                  </a:lnTo>
                  <a:lnTo>
                    <a:pt x="56" y="65"/>
                  </a:lnTo>
                  <a:lnTo>
                    <a:pt x="74" y="65"/>
                  </a:lnTo>
                  <a:lnTo>
                    <a:pt x="97" y="50"/>
                  </a:lnTo>
                  <a:lnTo>
                    <a:pt x="105" y="57"/>
                  </a:lnTo>
                  <a:lnTo>
                    <a:pt x="115" y="50"/>
                  </a:lnTo>
                  <a:lnTo>
                    <a:pt x="147" y="16"/>
                  </a:lnTo>
                  <a:lnTo>
                    <a:pt x="171" y="0"/>
                  </a:lnTo>
                  <a:lnTo>
                    <a:pt x="187" y="10"/>
                  </a:lnTo>
                  <a:lnTo>
                    <a:pt x="196" y="10"/>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42" name="Google Shape;1742;p75"/>
            <p:cNvSpPr/>
            <p:nvPr/>
          </p:nvSpPr>
          <p:spPr>
            <a:xfrm>
              <a:off x="4951616" y="5454680"/>
              <a:ext cx="325560" cy="294987"/>
            </a:xfrm>
            <a:custGeom>
              <a:avLst/>
              <a:gdLst/>
              <a:ahLst/>
              <a:cxnLst/>
              <a:rect l="l" t="t" r="r" b="b"/>
              <a:pathLst>
                <a:path w="122" h="122" extrusionOk="0">
                  <a:moveTo>
                    <a:pt x="0" y="97"/>
                  </a:moveTo>
                  <a:lnTo>
                    <a:pt x="6" y="106"/>
                  </a:lnTo>
                  <a:lnTo>
                    <a:pt x="6" y="121"/>
                  </a:lnTo>
                  <a:lnTo>
                    <a:pt x="24" y="121"/>
                  </a:lnTo>
                  <a:lnTo>
                    <a:pt x="47" y="106"/>
                  </a:lnTo>
                  <a:lnTo>
                    <a:pt x="55" y="113"/>
                  </a:lnTo>
                  <a:lnTo>
                    <a:pt x="65" y="106"/>
                  </a:lnTo>
                  <a:lnTo>
                    <a:pt x="97" y="72"/>
                  </a:lnTo>
                  <a:lnTo>
                    <a:pt x="121" y="56"/>
                  </a:lnTo>
                  <a:lnTo>
                    <a:pt x="105" y="56"/>
                  </a:lnTo>
                  <a:lnTo>
                    <a:pt x="97" y="41"/>
                  </a:lnTo>
                  <a:lnTo>
                    <a:pt x="80" y="24"/>
                  </a:lnTo>
                  <a:lnTo>
                    <a:pt x="65" y="0"/>
                  </a:lnTo>
                  <a:lnTo>
                    <a:pt x="47" y="16"/>
                  </a:lnTo>
                  <a:lnTo>
                    <a:pt x="40" y="7"/>
                  </a:lnTo>
                  <a:lnTo>
                    <a:pt x="15" y="7"/>
                  </a:lnTo>
                  <a:lnTo>
                    <a:pt x="6" y="56"/>
                  </a:lnTo>
                  <a:lnTo>
                    <a:pt x="0" y="66"/>
                  </a:lnTo>
                  <a:lnTo>
                    <a:pt x="0" y="97"/>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43" name="Google Shape;1743;p75"/>
            <p:cNvSpPr/>
            <p:nvPr/>
          </p:nvSpPr>
          <p:spPr>
            <a:xfrm>
              <a:off x="5126578" y="5398872"/>
              <a:ext cx="281267" cy="219247"/>
            </a:xfrm>
            <a:custGeom>
              <a:avLst/>
              <a:gdLst/>
              <a:ahLst/>
              <a:cxnLst/>
              <a:rect l="l" t="t" r="r" b="b"/>
              <a:pathLst>
                <a:path w="106" h="91" extrusionOk="0">
                  <a:moveTo>
                    <a:pt x="65" y="0"/>
                  </a:moveTo>
                  <a:lnTo>
                    <a:pt x="47" y="0"/>
                  </a:lnTo>
                  <a:lnTo>
                    <a:pt x="47" y="8"/>
                  </a:lnTo>
                  <a:lnTo>
                    <a:pt x="24" y="24"/>
                  </a:lnTo>
                  <a:lnTo>
                    <a:pt x="0" y="24"/>
                  </a:lnTo>
                  <a:lnTo>
                    <a:pt x="15" y="48"/>
                  </a:lnTo>
                  <a:lnTo>
                    <a:pt x="32" y="65"/>
                  </a:lnTo>
                  <a:lnTo>
                    <a:pt x="40" y="80"/>
                  </a:lnTo>
                  <a:lnTo>
                    <a:pt x="56" y="80"/>
                  </a:lnTo>
                  <a:lnTo>
                    <a:pt x="72" y="90"/>
                  </a:lnTo>
                  <a:lnTo>
                    <a:pt x="81" y="90"/>
                  </a:lnTo>
                  <a:lnTo>
                    <a:pt x="97" y="56"/>
                  </a:lnTo>
                  <a:lnTo>
                    <a:pt x="105" y="24"/>
                  </a:lnTo>
                  <a:lnTo>
                    <a:pt x="97" y="8"/>
                  </a:lnTo>
                  <a:lnTo>
                    <a:pt x="81" y="0"/>
                  </a:lnTo>
                  <a:lnTo>
                    <a:pt x="65" y="0"/>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44" name="Google Shape;1744;p75"/>
            <p:cNvSpPr/>
            <p:nvPr/>
          </p:nvSpPr>
          <p:spPr>
            <a:xfrm>
              <a:off x="5299324" y="5227462"/>
              <a:ext cx="367638" cy="522206"/>
            </a:xfrm>
            <a:custGeom>
              <a:avLst/>
              <a:gdLst/>
              <a:ahLst/>
              <a:cxnLst/>
              <a:rect l="l" t="t" r="r" b="b"/>
              <a:pathLst>
                <a:path w="138" h="218" extrusionOk="0">
                  <a:moveTo>
                    <a:pt x="32" y="217"/>
                  </a:moveTo>
                  <a:lnTo>
                    <a:pt x="32" y="209"/>
                  </a:lnTo>
                  <a:lnTo>
                    <a:pt x="32" y="202"/>
                  </a:lnTo>
                  <a:lnTo>
                    <a:pt x="64" y="193"/>
                  </a:lnTo>
                  <a:lnTo>
                    <a:pt x="72" y="186"/>
                  </a:lnTo>
                  <a:lnTo>
                    <a:pt x="72" y="162"/>
                  </a:lnTo>
                  <a:lnTo>
                    <a:pt x="56" y="128"/>
                  </a:lnTo>
                  <a:lnTo>
                    <a:pt x="87" y="96"/>
                  </a:lnTo>
                  <a:lnTo>
                    <a:pt x="112" y="87"/>
                  </a:lnTo>
                  <a:lnTo>
                    <a:pt x="137" y="63"/>
                  </a:lnTo>
                  <a:lnTo>
                    <a:pt x="129" y="0"/>
                  </a:lnTo>
                  <a:lnTo>
                    <a:pt x="112" y="15"/>
                  </a:lnTo>
                  <a:lnTo>
                    <a:pt x="81" y="15"/>
                  </a:lnTo>
                  <a:lnTo>
                    <a:pt x="64" y="15"/>
                  </a:lnTo>
                  <a:lnTo>
                    <a:pt x="56" y="23"/>
                  </a:lnTo>
                  <a:lnTo>
                    <a:pt x="64" y="40"/>
                  </a:lnTo>
                  <a:lnTo>
                    <a:pt x="72" y="55"/>
                  </a:lnTo>
                  <a:lnTo>
                    <a:pt x="72" y="72"/>
                  </a:lnTo>
                  <a:lnTo>
                    <a:pt x="64" y="87"/>
                  </a:lnTo>
                  <a:lnTo>
                    <a:pt x="56" y="72"/>
                  </a:lnTo>
                  <a:lnTo>
                    <a:pt x="56" y="55"/>
                  </a:lnTo>
                  <a:lnTo>
                    <a:pt x="47" y="55"/>
                  </a:lnTo>
                  <a:lnTo>
                    <a:pt x="40" y="47"/>
                  </a:lnTo>
                  <a:lnTo>
                    <a:pt x="0" y="63"/>
                  </a:lnTo>
                  <a:lnTo>
                    <a:pt x="0" y="72"/>
                  </a:lnTo>
                  <a:lnTo>
                    <a:pt x="16" y="72"/>
                  </a:lnTo>
                  <a:lnTo>
                    <a:pt x="32" y="80"/>
                  </a:lnTo>
                  <a:lnTo>
                    <a:pt x="40" y="96"/>
                  </a:lnTo>
                  <a:lnTo>
                    <a:pt x="32" y="128"/>
                  </a:lnTo>
                  <a:lnTo>
                    <a:pt x="16" y="162"/>
                  </a:lnTo>
                  <a:lnTo>
                    <a:pt x="22" y="209"/>
                  </a:lnTo>
                  <a:lnTo>
                    <a:pt x="22" y="217"/>
                  </a:lnTo>
                  <a:lnTo>
                    <a:pt x="32" y="217"/>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45" name="Google Shape;1745;p75"/>
            <p:cNvSpPr/>
            <p:nvPr/>
          </p:nvSpPr>
          <p:spPr>
            <a:xfrm>
              <a:off x="5317040" y="5727743"/>
              <a:ext cx="46509" cy="43849"/>
            </a:xfrm>
            <a:custGeom>
              <a:avLst/>
              <a:gdLst/>
              <a:ahLst/>
              <a:cxnLst/>
              <a:rect l="l" t="t" r="r" b="b"/>
              <a:pathLst>
                <a:path w="17" h="18" extrusionOk="0">
                  <a:moveTo>
                    <a:pt x="16" y="8"/>
                  </a:moveTo>
                  <a:lnTo>
                    <a:pt x="16" y="0"/>
                  </a:lnTo>
                  <a:lnTo>
                    <a:pt x="9" y="0"/>
                  </a:lnTo>
                  <a:lnTo>
                    <a:pt x="0" y="8"/>
                  </a:lnTo>
                  <a:lnTo>
                    <a:pt x="9" y="17"/>
                  </a:lnTo>
                  <a:lnTo>
                    <a:pt x="16" y="8"/>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46" name="Google Shape;1746;p75"/>
            <p:cNvSpPr/>
            <p:nvPr/>
          </p:nvSpPr>
          <p:spPr>
            <a:xfrm>
              <a:off x="5317040" y="5727743"/>
              <a:ext cx="46509" cy="43849"/>
            </a:xfrm>
            <a:custGeom>
              <a:avLst/>
              <a:gdLst/>
              <a:ahLst/>
              <a:cxnLst/>
              <a:rect l="l" t="t" r="r" b="b"/>
              <a:pathLst>
                <a:path w="17" h="18" extrusionOk="0">
                  <a:moveTo>
                    <a:pt x="16" y="8"/>
                  </a:moveTo>
                  <a:lnTo>
                    <a:pt x="16" y="0"/>
                  </a:lnTo>
                  <a:lnTo>
                    <a:pt x="9" y="0"/>
                  </a:lnTo>
                  <a:lnTo>
                    <a:pt x="0" y="8"/>
                  </a:lnTo>
                  <a:lnTo>
                    <a:pt x="9" y="17"/>
                  </a:lnTo>
                  <a:lnTo>
                    <a:pt x="16" y="8"/>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47" name="Google Shape;1747;p75"/>
            <p:cNvSpPr/>
            <p:nvPr/>
          </p:nvSpPr>
          <p:spPr>
            <a:xfrm>
              <a:off x="5751122" y="5281272"/>
              <a:ext cx="236972" cy="430521"/>
            </a:xfrm>
            <a:custGeom>
              <a:avLst/>
              <a:gdLst/>
              <a:ahLst/>
              <a:cxnLst/>
              <a:rect l="l" t="t" r="r" b="b"/>
              <a:pathLst>
                <a:path w="90" h="180" extrusionOk="0">
                  <a:moveTo>
                    <a:pt x="0" y="129"/>
                  </a:moveTo>
                  <a:lnTo>
                    <a:pt x="9" y="163"/>
                  </a:lnTo>
                  <a:lnTo>
                    <a:pt x="17" y="179"/>
                  </a:lnTo>
                  <a:lnTo>
                    <a:pt x="40" y="179"/>
                  </a:lnTo>
                  <a:lnTo>
                    <a:pt x="49" y="170"/>
                  </a:lnTo>
                  <a:lnTo>
                    <a:pt x="74" y="80"/>
                  </a:lnTo>
                  <a:lnTo>
                    <a:pt x="82" y="40"/>
                  </a:lnTo>
                  <a:lnTo>
                    <a:pt x="89" y="49"/>
                  </a:lnTo>
                  <a:lnTo>
                    <a:pt x="89" y="40"/>
                  </a:lnTo>
                  <a:lnTo>
                    <a:pt x="82" y="8"/>
                  </a:lnTo>
                  <a:lnTo>
                    <a:pt x="74" y="0"/>
                  </a:lnTo>
                  <a:lnTo>
                    <a:pt x="65" y="17"/>
                  </a:lnTo>
                  <a:lnTo>
                    <a:pt x="57" y="17"/>
                  </a:lnTo>
                  <a:lnTo>
                    <a:pt x="57" y="32"/>
                  </a:lnTo>
                  <a:lnTo>
                    <a:pt x="17" y="57"/>
                  </a:lnTo>
                  <a:lnTo>
                    <a:pt x="9" y="73"/>
                  </a:lnTo>
                  <a:lnTo>
                    <a:pt x="17" y="105"/>
                  </a:lnTo>
                  <a:lnTo>
                    <a:pt x="0" y="129"/>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48" name="Google Shape;1748;p75"/>
            <p:cNvSpPr/>
            <p:nvPr/>
          </p:nvSpPr>
          <p:spPr>
            <a:xfrm>
              <a:off x="5356906" y="3744551"/>
              <a:ext cx="95233" cy="43849"/>
            </a:xfrm>
            <a:custGeom>
              <a:avLst/>
              <a:gdLst/>
              <a:ahLst/>
              <a:cxnLst/>
              <a:rect l="l" t="t" r="r" b="b"/>
              <a:pathLst>
                <a:path w="35" h="18" extrusionOk="0">
                  <a:moveTo>
                    <a:pt x="0" y="8"/>
                  </a:moveTo>
                  <a:lnTo>
                    <a:pt x="10" y="17"/>
                  </a:lnTo>
                  <a:lnTo>
                    <a:pt x="18" y="17"/>
                  </a:lnTo>
                  <a:lnTo>
                    <a:pt x="25" y="8"/>
                  </a:lnTo>
                  <a:lnTo>
                    <a:pt x="34" y="0"/>
                  </a:lnTo>
                  <a:lnTo>
                    <a:pt x="0" y="8"/>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49" name="Google Shape;1749;p75"/>
            <p:cNvSpPr/>
            <p:nvPr/>
          </p:nvSpPr>
          <p:spPr>
            <a:xfrm>
              <a:off x="5190804" y="5807466"/>
              <a:ext cx="86372" cy="77733"/>
            </a:xfrm>
            <a:custGeom>
              <a:avLst/>
              <a:gdLst/>
              <a:ahLst/>
              <a:cxnLst/>
              <a:rect l="l" t="t" r="r" b="b"/>
              <a:pathLst>
                <a:path w="33" h="33" extrusionOk="0">
                  <a:moveTo>
                    <a:pt x="32" y="15"/>
                  </a:moveTo>
                  <a:lnTo>
                    <a:pt x="23" y="25"/>
                  </a:lnTo>
                  <a:lnTo>
                    <a:pt x="8" y="32"/>
                  </a:lnTo>
                  <a:lnTo>
                    <a:pt x="0" y="25"/>
                  </a:lnTo>
                  <a:lnTo>
                    <a:pt x="16" y="0"/>
                  </a:lnTo>
                  <a:lnTo>
                    <a:pt x="23" y="7"/>
                  </a:lnTo>
                  <a:lnTo>
                    <a:pt x="32" y="15"/>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50" name="Google Shape;1750;p75"/>
            <p:cNvSpPr/>
            <p:nvPr/>
          </p:nvSpPr>
          <p:spPr>
            <a:xfrm>
              <a:off x="4732360" y="4173079"/>
              <a:ext cx="347708" cy="508254"/>
            </a:xfrm>
            <a:custGeom>
              <a:avLst/>
              <a:gdLst/>
              <a:ahLst/>
              <a:cxnLst/>
              <a:rect l="l" t="t" r="r" b="b"/>
              <a:pathLst>
                <a:path w="130" h="212" extrusionOk="0">
                  <a:moveTo>
                    <a:pt x="17" y="8"/>
                  </a:moveTo>
                  <a:lnTo>
                    <a:pt x="17" y="24"/>
                  </a:lnTo>
                  <a:lnTo>
                    <a:pt x="32" y="40"/>
                  </a:lnTo>
                  <a:lnTo>
                    <a:pt x="25" y="89"/>
                  </a:lnTo>
                  <a:lnTo>
                    <a:pt x="0" y="120"/>
                  </a:lnTo>
                  <a:lnTo>
                    <a:pt x="0" y="130"/>
                  </a:lnTo>
                  <a:lnTo>
                    <a:pt x="8" y="137"/>
                  </a:lnTo>
                  <a:lnTo>
                    <a:pt x="8" y="145"/>
                  </a:lnTo>
                  <a:lnTo>
                    <a:pt x="25" y="177"/>
                  </a:lnTo>
                  <a:lnTo>
                    <a:pt x="8" y="177"/>
                  </a:lnTo>
                  <a:lnTo>
                    <a:pt x="8" y="186"/>
                  </a:lnTo>
                  <a:lnTo>
                    <a:pt x="17" y="193"/>
                  </a:lnTo>
                  <a:lnTo>
                    <a:pt x="25" y="211"/>
                  </a:lnTo>
                  <a:lnTo>
                    <a:pt x="65" y="202"/>
                  </a:lnTo>
                  <a:lnTo>
                    <a:pt x="73" y="193"/>
                  </a:lnTo>
                  <a:lnTo>
                    <a:pt x="65" y="193"/>
                  </a:lnTo>
                  <a:lnTo>
                    <a:pt x="88" y="186"/>
                  </a:lnTo>
                  <a:lnTo>
                    <a:pt x="106" y="170"/>
                  </a:lnTo>
                  <a:lnTo>
                    <a:pt x="113" y="162"/>
                  </a:lnTo>
                  <a:lnTo>
                    <a:pt x="122" y="162"/>
                  </a:lnTo>
                  <a:lnTo>
                    <a:pt x="106" y="137"/>
                  </a:lnTo>
                  <a:lnTo>
                    <a:pt x="122" y="105"/>
                  </a:lnTo>
                  <a:lnTo>
                    <a:pt x="129" y="105"/>
                  </a:lnTo>
                  <a:lnTo>
                    <a:pt x="129" y="96"/>
                  </a:lnTo>
                  <a:lnTo>
                    <a:pt x="129" y="55"/>
                  </a:lnTo>
                  <a:lnTo>
                    <a:pt x="32" y="0"/>
                  </a:lnTo>
                  <a:lnTo>
                    <a:pt x="17" y="8"/>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51" name="Google Shape;1751;p75"/>
            <p:cNvSpPr/>
            <p:nvPr/>
          </p:nvSpPr>
          <p:spPr>
            <a:xfrm>
              <a:off x="4085672" y="4436175"/>
              <a:ext cx="261333" cy="179384"/>
            </a:xfrm>
            <a:custGeom>
              <a:avLst/>
              <a:gdLst/>
              <a:ahLst/>
              <a:cxnLst/>
              <a:rect l="l" t="t" r="r" b="b"/>
              <a:pathLst>
                <a:path w="98" h="75" extrusionOk="0">
                  <a:moveTo>
                    <a:pt x="0" y="58"/>
                  </a:moveTo>
                  <a:lnTo>
                    <a:pt x="6" y="50"/>
                  </a:lnTo>
                  <a:lnTo>
                    <a:pt x="23" y="25"/>
                  </a:lnTo>
                  <a:lnTo>
                    <a:pt x="40" y="18"/>
                  </a:lnTo>
                  <a:lnTo>
                    <a:pt x="56" y="0"/>
                  </a:lnTo>
                  <a:lnTo>
                    <a:pt x="72" y="0"/>
                  </a:lnTo>
                  <a:lnTo>
                    <a:pt x="72" y="18"/>
                  </a:lnTo>
                  <a:lnTo>
                    <a:pt x="88" y="33"/>
                  </a:lnTo>
                  <a:lnTo>
                    <a:pt x="97" y="33"/>
                  </a:lnTo>
                  <a:lnTo>
                    <a:pt x="97" y="40"/>
                  </a:lnTo>
                  <a:lnTo>
                    <a:pt x="80" y="50"/>
                  </a:lnTo>
                  <a:lnTo>
                    <a:pt x="63" y="50"/>
                  </a:lnTo>
                  <a:lnTo>
                    <a:pt x="31" y="50"/>
                  </a:lnTo>
                  <a:lnTo>
                    <a:pt x="31" y="58"/>
                  </a:lnTo>
                  <a:lnTo>
                    <a:pt x="31" y="74"/>
                  </a:lnTo>
                  <a:lnTo>
                    <a:pt x="23" y="65"/>
                  </a:lnTo>
                  <a:lnTo>
                    <a:pt x="6" y="65"/>
                  </a:lnTo>
                  <a:lnTo>
                    <a:pt x="0" y="58"/>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52" name="Google Shape;1752;p75"/>
            <p:cNvSpPr/>
            <p:nvPr/>
          </p:nvSpPr>
          <p:spPr>
            <a:xfrm>
              <a:off x="4300496" y="4515903"/>
              <a:ext cx="86372" cy="197322"/>
            </a:xfrm>
            <a:custGeom>
              <a:avLst/>
              <a:gdLst/>
              <a:ahLst/>
              <a:cxnLst/>
              <a:rect l="l" t="t" r="r" b="b"/>
              <a:pathLst>
                <a:path w="33" h="82" extrusionOk="0">
                  <a:moveTo>
                    <a:pt x="17" y="7"/>
                  </a:moveTo>
                  <a:lnTo>
                    <a:pt x="0" y="17"/>
                  </a:lnTo>
                  <a:lnTo>
                    <a:pt x="0" y="25"/>
                  </a:lnTo>
                  <a:lnTo>
                    <a:pt x="8" y="32"/>
                  </a:lnTo>
                  <a:lnTo>
                    <a:pt x="8" y="48"/>
                  </a:lnTo>
                  <a:lnTo>
                    <a:pt x="8" y="81"/>
                  </a:lnTo>
                  <a:lnTo>
                    <a:pt x="23" y="81"/>
                  </a:lnTo>
                  <a:lnTo>
                    <a:pt x="23" y="57"/>
                  </a:lnTo>
                  <a:lnTo>
                    <a:pt x="32" y="25"/>
                  </a:lnTo>
                  <a:lnTo>
                    <a:pt x="32" y="7"/>
                  </a:lnTo>
                  <a:lnTo>
                    <a:pt x="23" y="0"/>
                  </a:lnTo>
                  <a:lnTo>
                    <a:pt x="17" y="0"/>
                  </a:lnTo>
                  <a:lnTo>
                    <a:pt x="17" y="7"/>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53" name="Google Shape;1753;p75"/>
            <p:cNvSpPr/>
            <p:nvPr/>
          </p:nvSpPr>
          <p:spPr>
            <a:xfrm>
              <a:off x="3824335" y="3744551"/>
              <a:ext cx="416363" cy="294987"/>
            </a:xfrm>
            <a:custGeom>
              <a:avLst/>
              <a:gdLst/>
              <a:ahLst/>
              <a:cxnLst/>
              <a:rect l="l" t="t" r="r" b="b"/>
              <a:pathLst>
                <a:path w="156" h="123" extrusionOk="0">
                  <a:moveTo>
                    <a:pt x="139" y="8"/>
                  </a:moveTo>
                  <a:lnTo>
                    <a:pt x="147" y="8"/>
                  </a:lnTo>
                  <a:lnTo>
                    <a:pt x="155" y="48"/>
                  </a:lnTo>
                  <a:lnTo>
                    <a:pt x="122" y="57"/>
                  </a:lnTo>
                  <a:lnTo>
                    <a:pt x="122" y="66"/>
                  </a:lnTo>
                  <a:lnTo>
                    <a:pt x="99" y="82"/>
                  </a:lnTo>
                  <a:lnTo>
                    <a:pt x="65" y="97"/>
                  </a:lnTo>
                  <a:lnTo>
                    <a:pt x="57" y="105"/>
                  </a:lnTo>
                  <a:lnTo>
                    <a:pt x="57" y="122"/>
                  </a:lnTo>
                  <a:lnTo>
                    <a:pt x="0" y="113"/>
                  </a:lnTo>
                  <a:lnTo>
                    <a:pt x="16" y="113"/>
                  </a:lnTo>
                  <a:lnTo>
                    <a:pt x="32" y="97"/>
                  </a:lnTo>
                  <a:lnTo>
                    <a:pt x="40" y="82"/>
                  </a:lnTo>
                  <a:lnTo>
                    <a:pt x="40" y="66"/>
                  </a:lnTo>
                  <a:lnTo>
                    <a:pt x="50" y="48"/>
                  </a:lnTo>
                  <a:lnTo>
                    <a:pt x="57" y="32"/>
                  </a:lnTo>
                  <a:lnTo>
                    <a:pt x="81" y="25"/>
                  </a:lnTo>
                  <a:lnTo>
                    <a:pt x="90" y="0"/>
                  </a:lnTo>
                  <a:lnTo>
                    <a:pt x="99" y="0"/>
                  </a:lnTo>
                  <a:lnTo>
                    <a:pt x="105" y="8"/>
                  </a:lnTo>
                  <a:lnTo>
                    <a:pt x="130" y="8"/>
                  </a:lnTo>
                  <a:lnTo>
                    <a:pt x="139" y="8"/>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54" name="Google Shape;1754;p75"/>
            <p:cNvSpPr/>
            <p:nvPr/>
          </p:nvSpPr>
          <p:spPr>
            <a:xfrm>
              <a:off x="3693668" y="4015622"/>
              <a:ext cx="285696" cy="235193"/>
            </a:xfrm>
            <a:custGeom>
              <a:avLst/>
              <a:gdLst/>
              <a:ahLst/>
              <a:cxnLst/>
              <a:rect l="l" t="t" r="r" b="b"/>
              <a:pathLst>
                <a:path w="107" h="98" extrusionOk="0">
                  <a:moveTo>
                    <a:pt x="0" y="97"/>
                  </a:moveTo>
                  <a:lnTo>
                    <a:pt x="9" y="90"/>
                  </a:lnTo>
                  <a:lnTo>
                    <a:pt x="49" y="90"/>
                  </a:lnTo>
                  <a:lnTo>
                    <a:pt x="49" y="74"/>
                  </a:lnTo>
                  <a:lnTo>
                    <a:pt x="65" y="66"/>
                  </a:lnTo>
                  <a:lnTo>
                    <a:pt x="65" y="25"/>
                  </a:lnTo>
                  <a:lnTo>
                    <a:pt x="106" y="25"/>
                  </a:lnTo>
                  <a:lnTo>
                    <a:pt x="106" y="9"/>
                  </a:lnTo>
                  <a:lnTo>
                    <a:pt x="49" y="0"/>
                  </a:lnTo>
                  <a:lnTo>
                    <a:pt x="40" y="16"/>
                  </a:lnTo>
                  <a:lnTo>
                    <a:pt x="34" y="25"/>
                  </a:lnTo>
                  <a:lnTo>
                    <a:pt x="24" y="49"/>
                  </a:lnTo>
                  <a:lnTo>
                    <a:pt x="0" y="81"/>
                  </a:lnTo>
                  <a:lnTo>
                    <a:pt x="0" y="97"/>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55" name="Google Shape;1755;p75"/>
            <p:cNvSpPr/>
            <p:nvPr/>
          </p:nvSpPr>
          <p:spPr>
            <a:xfrm flipH="1">
              <a:off x="3824334" y="4017976"/>
              <a:ext cx="152813" cy="57401"/>
            </a:xfrm>
            <a:prstGeom prst="rect">
              <a:avLst/>
            </a:pr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137"/>
                <a:buFont typeface="Arial"/>
                <a:buNone/>
              </a:pPr>
              <a:endParaRPr sz="1137" b="0" i="0" u="none" strike="noStrike" cap="none">
                <a:solidFill>
                  <a:schemeClr val="dk1"/>
                </a:solidFill>
                <a:latin typeface="Arial"/>
                <a:ea typeface="Arial"/>
                <a:cs typeface="Arial"/>
                <a:sym typeface="Arial"/>
              </a:endParaRPr>
            </a:p>
          </p:txBody>
        </p:sp>
        <p:grpSp>
          <p:nvGrpSpPr>
            <p:cNvPr id="1756" name="Google Shape;1756;p75"/>
            <p:cNvGrpSpPr/>
            <p:nvPr/>
          </p:nvGrpSpPr>
          <p:grpSpPr>
            <a:xfrm>
              <a:off x="5013975" y="4181004"/>
              <a:ext cx="584327" cy="617244"/>
              <a:chOff x="4913612" y="2288778"/>
              <a:chExt cx="464568" cy="503341"/>
            </a:xfrm>
          </p:grpSpPr>
          <p:sp>
            <p:nvSpPr>
              <p:cNvPr id="1757" name="Google Shape;1757;p75"/>
              <p:cNvSpPr/>
              <p:nvPr/>
            </p:nvSpPr>
            <p:spPr>
              <a:xfrm>
                <a:off x="4913612" y="2288778"/>
                <a:ext cx="464568" cy="326734"/>
              </a:xfrm>
              <a:custGeom>
                <a:avLst/>
                <a:gdLst/>
                <a:ahLst/>
                <a:cxnLst/>
                <a:rect l="l" t="t" r="r" b="b"/>
                <a:pathLst>
                  <a:path w="10000" h="10015" extrusionOk="0">
                    <a:moveTo>
                      <a:pt x="331" y="9506"/>
                    </a:moveTo>
                    <a:lnTo>
                      <a:pt x="2193" y="9177"/>
                    </a:lnTo>
                    <a:cubicBezTo>
                      <a:pt x="2890" y="9160"/>
                      <a:pt x="3607" y="9267"/>
                      <a:pt x="4515" y="9404"/>
                    </a:cubicBezTo>
                    <a:cubicBezTo>
                      <a:pt x="5062" y="9485"/>
                      <a:pt x="5229" y="8787"/>
                      <a:pt x="5750" y="8886"/>
                    </a:cubicBezTo>
                    <a:cubicBezTo>
                      <a:pt x="6071" y="8881"/>
                      <a:pt x="6052" y="7372"/>
                      <a:pt x="6367" y="7558"/>
                    </a:cubicBezTo>
                    <a:cubicBezTo>
                      <a:pt x="6682" y="7744"/>
                      <a:pt x="7246" y="10235"/>
                      <a:pt x="7642" y="10000"/>
                    </a:cubicBezTo>
                    <a:lnTo>
                      <a:pt x="8820" y="7964"/>
                    </a:lnTo>
                    <a:cubicBezTo>
                      <a:pt x="8915" y="6975"/>
                      <a:pt x="9009" y="5988"/>
                      <a:pt x="9104" y="4999"/>
                    </a:cubicBezTo>
                    <a:lnTo>
                      <a:pt x="10000" y="4446"/>
                    </a:lnTo>
                    <a:lnTo>
                      <a:pt x="10000" y="3952"/>
                    </a:lnTo>
                    <a:lnTo>
                      <a:pt x="9576" y="3518"/>
                    </a:lnTo>
                    <a:cubicBezTo>
                      <a:pt x="9419" y="2488"/>
                      <a:pt x="9261" y="1461"/>
                      <a:pt x="9104" y="432"/>
                    </a:cubicBezTo>
                    <a:lnTo>
                      <a:pt x="8396" y="0"/>
                    </a:lnTo>
                    <a:lnTo>
                      <a:pt x="7217" y="985"/>
                    </a:lnTo>
                    <a:lnTo>
                      <a:pt x="6886" y="432"/>
                    </a:lnTo>
                    <a:lnTo>
                      <a:pt x="1934" y="432"/>
                    </a:lnTo>
                    <a:lnTo>
                      <a:pt x="1934" y="1976"/>
                    </a:lnTo>
                    <a:lnTo>
                      <a:pt x="1462" y="2532"/>
                    </a:lnTo>
                    <a:lnTo>
                      <a:pt x="1085" y="2902"/>
                    </a:lnTo>
                    <a:lnTo>
                      <a:pt x="1085" y="5432"/>
                    </a:lnTo>
                    <a:lnTo>
                      <a:pt x="1085" y="5989"/>
                    </a:lnTo>
                    <a:lnTo>
                      <a:pt x="755" y="5989"/>
                    </a:lnTo>
                    <a:lnTo>
                      <a:pt x="0" y="7964"/>
                    </a:lnTo>
                    <a:lnTo>
                      <a:pt x="755" y="9506"/>
                    </a:lnTo>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sp>
            <p:nvSpPr>
              <p:cNvPr id="1758" name="Google Shape;1758;p75"/>
              <p:cNvSpPr/>
              <p:nvPr/>
            </p:nvSpPr>
            <p:spPr>
              <a:xfrm>
                <a:off x="4940515" y="2533169"/>
                <a:ext cx="354906" cy="258950"/>
              </a:xfrm>
              <a:custGeom>
                <a:avLst/>
                <a:gdLst/>
                <a:ahLst/>
                <a:cxnLst/>
                <a:rect l="l" t="t" r="r" b="b"/>
                <a:pathLst>
                  <a:path w="764381" h="583774" extrusionOk="0">
                    <a:moveTo>
                      <a:pt x="11906" y="150019"/>
                    </a:moveTo>
                    <a:lnTo>
                      <a:pt x="11906" y="150019"/>
                    </a:lnTo>
                    <a:cubicBezTo>
                      <a:pt x="67277" y="131561"/>
                      <a:pt x="-5738" y="154024"/>
                      <a:pt x="61912" y="140494"/>
                    </a:cubicBezTo>
                    <a:cubicBezTo>
                      <a:pt x="64718" y="139933"/>
                      <a:pt x="66496" y="137011"/>
                      <a:pt x="69056" y="135731"/>
                    </a:cubicBezTo>
                    <a:cubicBezTo>
                      <a:pt x="71301" y="134608"/>
                      <a:pt x="73719" y="133732"/>
                      <a:pt x="76200" y="133350"/>
                    </a:cubicBezTo>
                    <a:cubicBezTo>
                      <a:pt x="84084" y="132137"/>
                      <a:pt x="92105" y="132023"/>
                      <a:pt x="100012" y="130969"/>
                    </a:cubicBezTo>
                    <a:cubicBezTo>
                      <a:pt x="111234" y="129473"/>
                      <a:pt x="115034" y="127549"/>
                      <a:pt x="126206" y="123825"/>
                    </a:cubicBezTo>
                    <a:lnTo>
                      <a:pt x="133350" y="121444"/>
                    </a:lnTo>
                    <a:cubicBezTo>
                      <a:pt x="184944" y="122238"/>
                      <a:pt x="236577" y="121647"/>
                      <a:pt x="288131" y="123825"/>
                    </a:cubicBezTo>
                    <a:cubicBezTo>
                      <a:pt x="293147" y="124037"/>
                      <a:pt x="297479" y="127690"/>
                      <a:pt x="302418" y="128588"/>
                    </a:cubicBezTo>
                    <a:cubicBezTo>
                      <a:pt x="304779" y="129017"/>
                      <a:pt x="329979" y="133012"/>
                      <a:pt x="338137" y="135731"/>
                    </a:cubicBezTo>
                    <a:cubicBezTo>
                      <a:pt x="365037" y="144698"/>
                      <a:pt x="336742" y="137169"/>
                      <a:pt x="359568" y="142875"/>
                    </a:cubicBezTo>
                    <a:cubicBezTo>
                      <a:pt x="377134" y="154587"/>
                      <a:pt x="367747" y="150401"/>
                      <a:pt x="407193" y="145256"/>
                    </a:cubicBezTo>
                    <a:cubicBezTo>
                      <a:pt x="412171" y="144607"/>
                      <a:pt x="421481" y="140494"/>
                      <a:pt x="421481" y="140494"/>
                    </a:cubicBezTo>
                    <a:cubicBezTo>
                      <a:pt x="426748" y="135227"/>
                      <a:pt x="429137" y="131903"/>
                      <a:pt x="435768" y="128588"/>
                    </a:cubicBezTo>
                    <a:cubicBezTo>
                      <a:pt x="438013" y="127465"/>
                      <a:pt x="440718" y="127425"/>
                      <a:pt x="442912" y="126206"/>
                    </a:cubicBezTo>
                    <a:cubicBezTo>
                      <a:pt x="447916" y="123426"/>
                      <a:pt x="452437" y="119856"/>
                      <a:pt x="457200" y="116681"/>
                    </a:cubicBezTo>
                    <a:cubicBezTo>
                      <a:pt x="459581" y="115094"/>
                      <a:pt x="461628" y="112824"/>
                      <a:pt x="464343" y="111919"/>
                    </a:cubicBezTo>
                    <a:cubicBezTo>
                      <a:pt x="482471" y="105876"/>
                      <a:pt x="473708" y="108140"/>
                      <a:pt x="490537" y="104775"/>
                    </a:cubicBezTo>
                    <a:lnTo>
                      <a:pt x="504825" y="95250"/>
                    </a:lnTo>
                    <a:lnTo>
                      <a:pt x="511968" y="90488"/>
                    </a:lnTo>
                    <a:cubicBezTo>
                      <a:pt x="519517" y="79165"/>
                      <a:pt x="517921" y="76200"/>
                      <a:pt x="521493" y="69056"/>
                    </a:cubicBezTo>
                    <a:cubicBezTo>
                      <a:pt x="525065" y="61912"/>
                      <a:pt x="529828" y="53578"/>
                      <a:pt x="533400" y="47625"/>
                    </a:cubicBezTo>
                    <a:cubicBezTo>
                      <a:pt x="536972" y="41672"/>
                      <a:pt x="533015" y="45230"/>
                      <a:pt x="542925" y="33338"/>
                    </a:cubicBezTo>
                    <a:cubicBezTo>
                      <a:pt x="548418" y="26747"/>
                      <a:pt x="547002" y="24269"/>
                      <a:pt x="554831" y="19050"/>
                    </a:cubicBezTo>
                    <a:cubicBezTo>
                      <a:pt x="556920" y="17658"/>
                      <a:pt x="559594" y="17463"/>
                      <a:pt x="561975" y="16669"/>
                    </a:cubicBezTo>
                    <a:cubicBezTo>
                      <a:pt x="572892" y="293"/>
                      <a:pt x="566070" y="4191"/>
                      <a:pt x="578643" y="0"/>
                    </a:cubicBezTo>
                    <a:cubicBezTo>
                      <a:pt x="580231" y="4763"/>
                      <a:pt x="580621" y="10111"/>
                      <a:pt x="583406" y="14288"/>
                    </a:cubicBezTo>
                    <a:cubicBezTo>
                      <a:pt x="607489" y="50411"/>
                      <a:pt x="581417" y="13329"/>
                      <a:pt x="600075" y="35719"/>
                    </a:cubicBezTo>
                    <a:cubicBezTo>
                      <a:pt x="601907" y="37918"/>
                      <a:pt x="603005" y="40664"/>
                      <a:pt x="604837" y="42863"/>
                    </a:cubicBezTo>
                    <a:cubicBezTo>
                      <a:pt x="606993" y="45450"/>
                      <a:pt x="609825" y="47419"/>
                      <a:pt x="611981" y="50006"/>
                    </a:cubicBezTo>
                    <a:cubicBezTo>
                      <a:pt x="622548" y="62686"/>
                      <a:pt x="611967" y="51411"/>
                      <a:pt x="619125" y="64294"/>
                    </a:cubicBezTo>
                    <a:cubicBezTo>
                      <a:pt x="621905" y="69297"/>
                      <a:pt x="628650" y="78581"/>
                      <a:pt x="628650" y="78581"/>
                    </a:cubicBezTo>
                    <a:lnTo>
                      <a:pt x="633412" y="92869"/>
                    </a:lnTo>
                    <a:cubicBezTo>
                      <a:pt x="634206" y="95250"/>
                      <a:pt x="633704" y="98621"/>
                      <a:pt x="635793" y="100013"/>
                    </a:cubicBezTo>
                    <a:lnTo>
                      <a:pt x="642937" y="104775"/>
                    </a:lnTo>
                    <a:cubicBezTo>
                      <a:pt x="645323" y="111935"/>
                      <a:pt x="644951" y="112908"/>
                      <a:pt x="650081" y="119063"/>
                    </a:cubicBezTo>
                    <a:cubicBezTo>
                      <a:pt x="652237" y="121650"/>
                      <a:pt x="655158" y="123548"/>
                      <a:pt x="657225" y="126206"/>
                    </a:cubicBezTo>
                    <a:cubicBezTo>
                      <a:pt x="660739" y="130724"/>
                      <a:pt x="663575" y="135731"/>
                      <a:pt x="666750" y="140494"/>
                    </a:cubicBezTo>
                    <a:cubicBezTo>
                      <a:pt x="666752" y="140498"/>
                      <a:pt x="676271" y="154778"/>
                      <a:pt x="676275" y="154781"/>
                    </a:cubicBezTo>
                    <a:cubicBezTo>
                      <a:pt x="686230" y="161418"/>
                      <a:pt x="690713" y="163057"/>
                      <a:pt x="697706" y="171450"/>
                    </a:cubicBezTo>
                    <a:cubicBezTo>
                      <a:pt x="699538" y="173649"/>
                      <a:pt x="700881" y="176213"/>
                      <a:pt x="702468" y="178594"/>
                    </a:cubicBezTo>
                    <a:cubicBezTo>
                      <a:pt x="702208" y="181459"/>
                      <a:pt x="702187" y="203864"/>
                      <a:pt x="697706" y="211931"/>
                    </a:cubicBezTo>
                    <a:cubicBezTo>
                      <a:pt x="694926" y="216935"/>
                      <a:pt x="691356" y="221456"/>
                      <a:pt x="688181" y="226219"/>
                    </a:cubicBezTo>
                    <a:lnTo>
                      <a:pt x="678656" y="240506"/>
                    </a:lnTo>
                    <a:lnTo>
                      <a:pt x="673893" y="247650"/>
                    </a:lnTo>
                    <a:lnTo>
                      <a:pt x="666750" y="269081"/>
                    </a:lnTo>
                    <a:lnTo>
                      <a:pt x="664368" y="276225"/>
                    </a:lnTo>
                    <a:lnTo>
                      <a:pt x="661987" y="283369"/>
                    </a:lnTo>
                    <a:cubicBezTo>
                      <a:pt x="661193" y="289719"/>
                      <a:pt x="661793" y="296405"/>
                      <a:pt x="659606" y="302419"/>
                    </a:cubicBezTo>
                    <a:cubicBezTo>
                      <a:pt x="658455" y="305584"/>
                      <a:pt x="654330" y="306761"/>
                      <a:pt x="652462" y="309563"/>
                    </a:cubicBezTo>
                    <a:cubicBezTo>
                      <a:pt x="651070" y="311651"/>
                      <a:pt x="651300" y="314512"/>
                      <a:pt x="650081" y="316706"/>
                    </a:cubicBezTo>
                    <a:cubicBezTo>
                      <a:pt x="647301" y="321710"/>
                      <a:pt x="643731" y="326231"/>
                      <a:pt x="640556" y="330994"/>
                    </a:cubicBezTo>
                    <a:lnTo>
                      <a:pt x="635793" y="338138"/>
                    </a:lnTo>
                    <a:cubicBezTo>
                      <a:pt x="637381" y="340519"/>
                      <a:pt x="638532" y="343257"/>
                      <a:pt x="640556" y="345281"/>
                    </a:cubicBezTo>
                    <a:cubicBezTo>
                      <a:pt x="642580" y="347305"/>
                      <a:pt x="646280" y="347559"/>
                      <a:pt x="647700" y="350044"/>
                    </a:cubicBezTo>
                    <a:cubicBezTo>
                      <a:pt x="649708" y="353558"/>
                      <a:pt x="649203" y="357999"/>
                      <a:pt x="650081" y="361950"/>
                    </a:cubicBezTo>
                    <a:cubicBezTo>
                      <a:pt x="650791" y="365145"/>
                      <a:pt x="650998" y="368548"/>
                      <a:pt x="652462" y="371475"/>
                    </a:cubicBezTo>
                    <a:cubicBezTo>
                      <a:pt x="661493" y="389538"/>
                      <a:pt x="659329" y="381144"/>
                      <a:pt x="669131" y="392906"/>
                    </a:cubicBezTo>
                    <a:cubicBezTo>
                      <a:pt x="670963" y="395105"/>
                      <a:pt x="672061" y="397851"/>
                      <a:pt x="673893" y="400050"/>
                    </a:cubicBezTo>
                    <a:cubicBezTo>
                      <a:pt x="676049" y="402637"/>
                      <a:pt x="678969" y="404536"/>
                      <a:pt x="681037" y="407194"/>
                    </a:cubicBezTo>
                    <a:cubicBezTo>
                      <a:pt x="700975" y="432828"/>
                      <a:pt x="681487" y="412406"/>
                      <a:pt x="697706" y="428625"/>
                    </a:cubicBezTo>
                    <a:cubicBezTo>
                      <a:pt x="703367" y="445610"/>
                      <a:pt x="695340" y="425078"/>
                      <a:pt x="707231" y="442913"/>
                    </a:cubicBezTo>
                    <a:cubicBezTo>
                      <a:pt x="716433" y="456715"/>
                      <a:pt x="700778" y="444166"/>
                      <a:pt x="716756" y="454819"/>
                    </a:cubicBezTo>
                    <a:cubicBezTo>
                      <a:pt x="717550" y="457200"/>
                      <a:pt x="718447" y="459549"/>
                      <a:pt x="719137" y="461963"/>
                    </a:cubicBezTo>
                    <a:cubicBezTo>
                      <a:pt x="720036" y="465110"/>
                      <a:pt x="719703" y="468765"/>
                      <a:pt x="721518" y="471488"/>
                    </a:cubicBezTo>
                    <a:cubicBezTo>
                      <a:pt x="728047" y="481280"/>
                      <a:pt x="759175" y="478597"/>
                      <a:pt x="759618" y="478631"/>
                    </a:cubicBezTo>
                    <a:cubicBezTo>
                      <a:pt x="761753" y="495704"/>
                      <a:pt x="764381" y="513986"/>
                      <a:pt x="764381" y="531019"/>
                    </a:cubicBezTo>
                    <a:cubicBezTo>
                      <a:pt x="764381" y="539786"/>
                      <a:pt x="762794" y="548482"/>
                      <a:pt x="762000" y="557213"/>
                    </a:cubicBezTo>
                    <a:lnTo>
                      <a:pt x="721518" y="552450"/>
                    </a:lnTo>
                    <a:cubicBezTo>
                      <a:pt x="716610" y="551398"/>
                      <a:pt x="707231" y="547688"/>
                      <a:pt x="707231" y="547688"/>
                    </a:cubicBezTo>
                    <a:cubicBezTo>
                      <a:pt x="697706" y="548482"/>
                      <a:pt x="688198" y="549524"/>
                      <a:pt x="678656" y="550069"/>
                    </a:cubicBezTo>
                    <a:cubicBezTo>
                      <a:pt x="618545" y="553504"/>
                      <a:pt x="641612" y="546542"/>
                      <a:pt x="616743" y="554831"/>
                    </a:cubicBezTo>
                    <a:cubicBezTo>
                      <a:pt x="596271" y="568482"/>
                      <a:pt x="620365" y="550305"/>
                      <a:pt x="607218" y="566738"/>
                    </a:cubicBezTo>
                    <a:cubicBezTo>
                      <a:pt x="605430" y="568973"/>
                      <a:pt x="602456" y="569913"/>
                      <a:pt x="600075" y="571500"/>
                    </a:cubicBezTo>
                    <a:cubicBezTo>
                      <a:pt x="599281" y="574675"/>
                      <a:pt x="600007" y="578711"/>
                      <a:pt x="597693" y="581025"/>
                    </a:cubicBezTo>
                    <a:cubicBezTo>
                      <a:pt x="592460" y="586257"/>
                      <a:pt x="586114" y="582721"/>
                      <a:pt x="581025" y="581025"/>
                    </a:cubicBezTo>
                    <a:cubicBezTo>
                      <a:pt x="559594" y="581819"/>
                      <a:pt x="538177" y="583406"/>
                      <a:pt x="516731" y="583406"/>
                    </a:cubicBezTo>
                    <a:cubicBezTo>
                      <a:pt x="507964" y="583406"/>
                      <a:pt x="499197" y="582392"/>
                      <a:pt x="490537" y="581025"/>
                    </a:cubicBezTo>
                    <a:cubicBezTo>
                      <a:pt x="484072" y="580004"/>
                      <a:pt x="471487" y="576263"/>
                      <a:pt x="471487" y="576263"/>
                    </a:cubicBezTo>
                    <a:cubicBezTo>
                      <a:pt x="459818" y="580152"/>
                      <a:pt x="467902" y="579824"/>
                      <a:pt x="457200" y="571500"/>
                    </a:cubicBezTo>
                    <a:cubicBezTo>
                      <a:pt x="452682" y="567986"/>
                      <a:pt x="447278" y="565150"/>
                      <a:pt x="442912" y="561975"/>
                    </a:cubicBezTo>
                    <a:cubicBezTo>
                      <a:pt x="438546" y="558800"/>
                      <a:pt x="436959" y="554038"/>
                      <a:pt x="431006" y="552450"/>
                    </a:cubicBezTo>
                    <a:cubicBezTo>
                      <a:pt x="425053" y="550863"/>
                      <a:pt x="422275" y="552847"/>
                      <a:pt x="407194" y="552450"/>
                    </a:cubicBezTo>
                    <a:cubicBezTo>
                      <a:pt x="392113" y="552053"/>
                      <a:pt x="356790" y="552451"/>
                      <a:pt x="340518" y="550070"/>
                    </a:cubicBezTo>
                    <a:cubicBezTo>
                      <a:pt x="324246" y="547689"/>
                      <a:pt x="317102" y="541338"/>
                      <a:pt x="309562" y="538163"/>
                    </a:cubicBezTo>
                    <a:cubicBezTo>
                      <a:pt x="302022" y="534988"/>
                      <a:pt x="305162" y="535256"/>
                      <a:pt x="295275" y="531019"/>
                    </a:cubicBezTo>
                    <a:cubicBezTo>
                      <a:pt x="292267" y="529730"/>
                      <a:pt x="288925" y="529432"/>
                      <a:pt x="285750" y="528638"/>
                    </a:cubicBezTo>
                    <a:cubicBezTo>
                      <a:pt x="265273" y="514986"/>
                      <a:pt x="289373" y="533165"/>
                      <a:pt x="276225" y="516731"/>
                    </a:cubicBezTo>
                    <a:cubicBezTo>
                      <a:pt x="272868" y="512535"/>
                      <a:pt x="266642" y="511156"/>
                      <a:pt x="261937" y="509588"/>
                    </a:cubicBezTo>
                    <a:cubicBezTo>
                      <a:pt x="261143" y="507207"/>
                      <a:pt x="260775" y="504638"/>
                      <a:pt x="259556" y="502444"/>
                    </a:cubicBezTo>
                    <a:cubicBezTo>
                      <a:pt x="248553" y="482637"/>
                      <a:pt x="253849" y="493801"/>
                      <a:pt x="242887" y="481013"/>
                    </a:cubicBezTo>
                    <a:cubicBezTo>
                      <a:pt x="240304" y="478000"/>
                      <a:pt x="238124" y="474663"/>
                      <a:pt x="235743" y="471488"/>
                    </a:cubicBezTo>
                    <a:cubicBezTo>
                      <a:pt x="231738" y="459470"/>
                      <a:pt x="236271" y="468198"/>
                      <a:pt x="226218" y="459581"/>
                    </a:cubicBezTo>
                    <a:cubicBezTo>
                      <a:pt x="217236" y="451882"/>
                      <a:pt x="217548" y="451339"/>
                      <a:pt x="211931" y="442913"/>
                    </a:cubicBezTo>
                    <a:lnTo>
                      <a:pt x="207168" y="428625"/>
                    </a:lnTo>
                    <a:cubicBezTo>
                      <a:pt x="206374" y="426244"/>
                      <a:pt x="206562" y="423256"/>
                      <a:pt x="204787" y="421481"/>
                    </a:cubicBezTo>
                    <a:cubicBezTo>
                      <a:pt x="199519" y="416213"/>
                      <a:pt x="196197" y="413827"/>
                      <a:pt x="192881" y="407194"/>
                    </a:cubicBezTo>
                    <a:cubicBezTo>
                      <a:pt x="190005" y="401441"/>
                      <a:pt x="191425" y="397456"/>
                      <a:pt x="185737" y="392906"/>
                    </a:cubicBezTo>
                    <a:cubicBezTo>
                      <a:pt x="183777" y="391338"/>
                      <a:pt x="180974" y="391319"/>
                      <a:pt x="178593" y="390525"/>
                    </a:cubicBezTo>
                    <a:cubicBezTo>
                      <a:pt x="177006" y="388144"/>
                      <a:pt x="175111" y="385941"/>
                      <a:pt x="173831" y="383381"/>
                    </a:cubicBezTo>
                    <a:cubicBezTo>
                      <a:pt x="169958" y="375634"/>
                      <a:pt x="173512" y="375919"/>
                      <a:pt x="166687" y="369094"/>
                    </a:cubicBezTo>
                    <a:cubicBezTo>
                      <a:pt x="164663" y="367070"/>
                      <a:pt x="161716" y="366194"/>
                      <a:pt x="159543" y="364331"/>
                    </a:cubicBezTo>
                    <a:cubicBezTo>
                      <a:pt x="156134" y="361409"/>
                      <a:pt x="152940" y="358215"/>
                      <a:pt x="150018" y="354806"/>
                    </a:cubicBezTo>
                    <a:cubicBezTo>
                      <a:pt x="148156" y="352633"/>
                      <a:pt x="147157" y="349802"/>
                      <a:pt x="145256" y="347663"/>
                    </a:cubicBezTo>
                    <a:cubicBezTo>
                      <a:pt x="140781" y="342629"/>
                      <a:pt x="135731" y="338138"/>
                      <a:pt x="130968" y="333375"/>
                    </a:cubicBezTo>
                    <a:cubicBezTo>
                      <a:pt x="128587" y="330994"/>
                      <a:pt x="126713" y="327963"/>
                      <a:pt x="123825" y="326231"/>
                    </a:cubicBezTo>
                    <a:cubicBezTo>
                      <a:pt x="103708" y="314163"/>
                      <a:pt x="119742" y="324337"/>
                      <a:pt x="102393" y="311944"/>
                    </a:cubicBezTo>
                    <a:cubicBezTo>
                      <a:pt x="100064" y="310280"/>
                      <a:pt x="97448" y="309013"/>
                      <a:pt x="95250" y="307181"/>
                    </a:cubicBezTo>
                    <a:cubicBezTo>
                      <a:pt x="92663" y="305025"/>
                      <a:pt x="90693" y="302194"/>
                      <a:pt x="88106" y="300038"/>
                    </a:cubicBezTo>
                    <a:cubicBezTo>
                      <a:pt x="85907" y="298206"/>
                      <a:pt x="83291" y="296939"/>
                      <a:pt x="80962" y="295275"/>
                    </a:cubicBezTo>
                    <a:cubicBezTo>
                      <a:pt x="77733" y="292968"/>
                      <a:pt x="74450" y="290714"/>
                      <a:pt x="71437" y="288131"/>
                    </a:cubicBezTo>
                    <a:cubicBezTo>
                      <a:pt x="68880" y="285940"/>
                      <a:pt x="66674" y="283369"/>
                      <a:pt x="64293" y="280988"/>
                    </a:cubicBezTo>
                    <a:cubicBezTo>
                      <a:pt x="63499" y="266700"/>
                      <a:pt x="63935" y="252291"/>
                      <a:pt x="61912" y="238125"/>
                    </a:cubicBezTo>
                    <a:cubicBezTo>
                      <a:pt x="61507" y="235292"/>
                      <a:pt x="58430" y="233541"/>
                      <a:pt x="57150" y="230981"/>
                    </a:cubicBezTo>
                    <a:cubicBezTo>
                      <a:pt x="47736" y="212154"/>
                      <a:pt x="64548" y="237003"/>
                      <a:pt x="47625" y="216694"/>
                    </a:cubicBezTo>
                    <a:cubicBezTo>
                      <a:pt x="45793" y="214495"/>
                      <a:pt x="44694" y="211749"/>
                      <a:pt x="42862" y="209550"/>
                    </a:cubicBezTo>
                    <a:cubicBezTo>
                      <a:pt x="40706" y="206963"/>
                      <a:pt x="37874" y="204993"/>
                      <a:pt x="35718" y="202406"/>
                    </a:cubicBezTo>
                    <a:cubicBezTo>
                      <a:pt x="33886" y="200208"/>
                      <a:pt x="32788" y="197461"/>
                      <a:pt x="30956" y="195263"/>
                    </a:cubicBezTo>
                    <a:cubicBezTo>
                      <a:pt x="28800" y="192676"/>
                      <a:pt x="25968" y="190706"/>
                      <a:pt x="23812" y="188119"/>
                    </a:cubicBezTo>
                    <a:cubicBezTo>
                      <a:pt x="13891" y="176213"/>
                      <a:pt x="25003" y="184943"/>
                      <a:pt x="11906" y="176213"/>
                    </a:cubicBezTo>
                    <a:cubicBezTo>
                      <a:pt x="10318" y="173832"/>
                      <a:pt x="8423" y="171629"/>
                      <a:pt x="7143" y="169069"/>
                    </a:cubicBezTo>
                    <a:cubicBezTo>
                      <a:pt x="-2720" y="149343"/>
                      <a:pt x="13653" y="175264"/>
                      <a:pt x="0" y="154781"/>
                    </a:cubicBezTo>
                    <a:cubicBezTo>
                      <a:pt x="2573" y="144486"/>
                      <a:pt x="9922" y="150813"/>
                      <a:pt x="11906" y="150019"/>
                    </a:cubicBezTo>
                    <a:close/>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rgbClr val="000000"/>
                  </a:solidFill>
                  <a:latin typeface="Arial"/>
                  <a:ea typeface="Arial"/>
                  <a:cs typeface="Arial"/>
                  <a:sym typeface="Arial"/>
                </a:endParaRPr>
              </a:p>
            </p:txBody>
          </p:sp>
        </p:grpSp>
        <p:sp>
          <p:nvSpPr>
            <p:cNvPr id="1759" name="Google Shape;1759;p75"/>
            <p:cNvSpPr/>
            <p:nvPr/>
          </p:nvSpPr>
          <p:spPr>
            <a:xfrm>
              <a:off x="5538343" y="4370402"/>
              <a:ext cx="171965" cy="155554"/>
            </a:xfrm>
            <a:custGeom>
              <a:avLst/>
              <a:gdLst/>
              <a:ahLst/>
              <a:cxnLst/>
              <a:rect l="l" t="t" r="r" b="b"/>
              <a:pathLst>
                <a:path w="133537" h="123895" extrusionOk="0">
                  <a:moveTo>
                    <a:pt x="0" y="54769"/>
                  </a:moveTo>
                  <a:lnTo>
                    <a:pt x="0" y="54769"/>
                  </a:lnTo>
                  <a:cubicBezTo>
                    <a:pt x="605" y="46901"/>
                    <a:pt x="157" y="20003"/>
                    <a:pt x="7143" y="9525"/>
                  </a:cubicBezTo>
                  <a:cubicBezTo>
                    <a:pt x="8731" y="7144"/>
                    <a:pt x="9671" y="4169"/>
                    <a:pt x="11906" y="2381"/>
                  </a:cubicBezTo>
                  <a:cubicBezTo>
                    <a:pt x="13866" y="813"/>
                    <a:pt x="16669" y="794"/>
                    <a:pt x="19050" y="0"/>
                  </a:cubicBezTo>
                  <a:cubicBezTo>
                    <a:pt x="26987" y="794"/>
                    <a:pt x="35859" y="-1439"/>
                    <a:pt x="42862" y="2381"/>
                  </a:cubicBezTo>
                  <a:cubicBezTo>
                    <a:pt x="46415" y="4319"/>
                    <a:pt x="44261" y="10361"/>
                    <a:pt x="45243" y="14288"/>
                  </a:cubicBezTo>
                  <a:cubicBezTo>
                    <a:pt x="45852" y="16723"/>
                    <a:pt x="44053" y="15875"/>
                    <a:pt x="47625" y="21431"/>
                  </a:cubicBezTo>
                  <a:cubicBezTo>
                    <a:pt x="51197" y="26987"/>
                    <a:pt x="59025" y="37702"/>
                    <a:pt x="66676" y="47624"/>
                  </a:cubicBezTo>
                  <a:cubicBezTo>
                    <a:pt x="74327" y="57546"/>
                    <a:pt x="88370" y="65880"/>
                    <a:pt x="100673" y="78580"/>
                  </a:cubicBezTo>
                  <a:cubicBezTo>
                    <a:pt x="112976" y="91280"/>
                    <a:pt x="135840" y="122236"/>
                    <a:pt x="133349" y="123824"/>
                  </a:cubicBezTo>
                  <a:cubicBezTo>
                    <a:pt x="130858" y="125412"/>
                    <a:pt x="92075" y="100013"/>
                    <a:pt x="78581" y="90488"/>
                  </a:cubicBezTo>
                  <a:cubicBezTo>
                    <a:pt x="65087" y="80963"/>
                    <a:pt x="63103" y="71437"/>
                    <a:pt x="52387" y="66675"/>
                  </a:cubicBezTo>
                  <a:cubicBezTo>
                    <a:pt x="41671" y="61913"/>
                    <a:pt x="23018" y="63897"/>
                    <a:pt x="14287" y="61913"/>
                  </a:cubicBezTo>
                  <a:cubicBezTo>
                    <a:pt x="6078" y="59176"/>
                    <a:pt x="2381" y="55960"/>
                    <a:pt x="0" y="54769"/>
                  </a:cubicBezTo>
                  <a:close/>
                </a:path>
              </a:pathLst>
            </a:custGeom>
            <a:solidFill>
              <a:srgbClr val="0F47F2"/>
            </a:solidFill>
            <a:ln w="9525" cap="rnd" cmpd="sng">
              <a:solidFill>
                <a:srgbClr val="0F47F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37"/>
                <a:buFont typeface="Arial"/>
                <a:buNone/>
              </a:pPr>
              <a:endParaRPr sz="1137" b="0" i="0" u="none" strike="noStrike" cap="none">
                <a:solidFill>
                  <a:schemeClr val="dk1"/>
                </a:solidFill>
                <a:latin typeface="Arial"/>
                <a:ea typeface="Arial"/>
                <a:cs typeface="Arial"/>
                <a:sym typeface="Arial"/>
              </a:endParaRPr>
            </a:p>
          </p:txBody>
        </p:sp>
      </p:grpSp>
      <p:sp>
        <p:nvSpPr>
          <p:cNvPr id="1760" name="Google Shape;1760;p75"/>
          <p:cNvSpPr txBox="1"/>
          <p:nvPr/>
        </p:nvSpPr>
        <p:spPr>
          <a:xfrm>
            <a:off x="7263292" y="2355848"/>
            <a:ext cx="1323212" cy="2585323"/>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444444"/>
                </a:solidFill>
                <a:latin typeface="Calibri"/>
                <a:ea typeface="Calibri"/>
                <a:cs typeface="Calibri"/>
                <a:sym typeface="Calibri"/>
              </a:rPr>
              <a:t>geographies where they did not have existing internal support staff (</a:t>
            </a:r>
            <a:r>
              <a:rPr lang="en-US" sz="1400" b="1" i="0" u="none" strike="noStrike" cap="none">
                <a:solidFill>
                  <a:srgbClr val="444444"/>
                </a:solidFill>
                <a:latin typeface="Calibri"/>
                <a:ea typeface="Calibri"/>
                <a:cs typeface="Calibri"/>
                <a:sym typeface="Calibri"/>
              </a:rPr>
              <a:t>The MEA region</a:t>
            </a:r>
            <a:r>
              <a:rPr lang="en-US" sz="1400" b="0" i="0" u="none" strike="noStrike" cap="none">
                <a:solidFill>
                  <a:srgbClr val="444444"/>
                </a:solidFill>
                <a:latin typeface="Calibri"/>
                <a:ea typeface="Calibri"/>
                <a:cs typeface="Calibri"/>
                <a:sym typeface="Calibri"/>
              </a:rPr>
              <a:t>)</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444444"/>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444444"/>
                </a:solidFill>
                <a:latin typeface="Calibri"/>
                <a:ea typeface="Calibri"/>
                <a:cs typeface="Calibri"/>
                <a:sym typeface="Calibri"/>
              </a:rPr>
              <a:t>Geographies where they needed to scale (</a:t>
            </a:r>
            <a:r>
              <a:rPr lang="en-US" sz="1400" b="1" i="0" u="none" strike="noStrike" cap="none">
                <a:solidFill>
                  <a:srgbClr val="444444"/>
                </a:solidFill>
                <a:latin typeface="Calibri"/>
                <a:ea typeface="Calibri"/>
                <a:cs typeface="Calibri"/>
                <a:sym typeface="Calibri"/>
              </a:rPr>
              <a:t>Europe)</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61" name="Google Shape;1761;p75"/>
          <p:cNvSpPr txBox="1"/>
          <p:nvPr/>
        </p:nvSpPr>
        <p:spPr>
          <a:xfrm>
            <a:off x="9203276" y="1302884"/>
            <a:ext cx="2016102" cy="129266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444444"/>
                </a:solidFill>
                <a:latin typeface="Calibri"/>
                <a:ea typeface="Calibri"/>
                <a:cs typeface="Calibri"/>
                <a:sym typeface="Calibri"/>
              </a:rPr>
              <a:t>The firm recognized </a:t>
            </a:r>
            <a:r>
              <a:rPr lang="en-US" sz="1400" b="1" i="0" u="none" strike="noStrike" cap="none">
                <a:solidFill>
                  <a:srgbClr val="444444"/>
                </a:solidFill>
                <a:latin typeface="Calibri"/>
                <a:ea typeface="Calibri"/>
                <a:cs typeface="Calibri"/>
                <a:sym typeface="Calibri"/>
              </a:rPr>
              <a:t>that the quality of the research service provided matched that of their internal capacity, </a:t>
            </a:r>
            <a:r>
              <a:rPr lang="en-US" sz="1400" b="0" i="0" u="none" strike="noStrike" cap="none">
                <a:solidFill>
                  <a:srgbClr val="444444"/>
                </a:solidFill>
                <a:latin typeface="Calibri"/>
                <a:ea typeface="Calibri"/>
                <a:cs typeface="Calibri"/>
                <a:sym typeface="Calibri"/>
              </a:rPr>
              <a:t>resulting in:</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62" name="Google Shape;1762;p75"/>
          <p:cNvSpPr txBox="1"/>
          <p:nvPr/>
        </p:nvSpPr>
        <p:spPr>
          <a:xfrm>
            <a:off x="9819600" y="2530187"/>
            <a:ext cx="1556603" cy="40011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444444"/>
              </a:buClr>
              <a:buSzPts val="1300"/>
              <a:buFont typeface="Arial"/>
              <a:buNone/>
            </a:pPr>
            <a:r>
              <a:rPr lang="en-US" sz="1300" b="0" i="0" u="none" strike="noStrike" cap="none">
                <a:solidFill>
                  <a:srgbClr val="444444"/>
                </a:solidFill>
                <a:latin typeface="Calibri"/>
                <a:ea typeface="Calibri"/>
                <a:cs typeface="Calibri"/>
                <a:sym typeface="Calibri"/>
              </a:rPr>
              <a:t>Scaled to 52 dedicated staff</a:t>
            </a:r>
            <a:endParaRPr sz="1300" b="0" i="0" u="none" strike="noStrike" cap="none">
              <a:solidFill>
                <a:srgbClr val="444444"/>
              </a:solidFill>
              <a:latin typeface="Calibri"/>
              <a:ea typeface="Calibri"/>
              <a:cs typeface="Calibri"/>
              <a:sym typeface="Calibri"/>
            </a:endParaRPr>
          </a:p>
        </p:txBody>
      </p:sp>
      <p:grpSp>
        <p:nvGrpSpPr>
          <p:cNvPr id="1763" name="Google Shape;1763;p75"/>
          <p:cNvGrpSpPr/>
          <p:nvPr/>
        </p:nvGrpSpPr>
        <p:grpSpPr>
          <a:xfrm>
            <a:off x="9223632" y="2501642"/>
            <a:ext cx="457200" cy="457200"/>
            <a:chOff x="9186507" y="2557310"/>
            <a:chExt cx="457200" cy="457200"/>
          </a:xfrm>
        </p:grpSpPr>
        <p:sp>
          <p:nvSpPr>
            <p:cNvPr id="1764" name="Google Shape;1764;p75"/>
            <p:cNvSpPr/>
            <p:nvPr/>
          </p:nvSpPr>
          <p:spPr>
            <a:xfrm>
              <a:off x="9186507" y="2557310"/>
              <a:ext cx="457200" cy="457200"/>
            </a:xfrm>
            <a:prstGeom prst="ellipse">
              <a:avLst/>
            </a:prstGeom>
            <a:noFill/>
            <a:ln w="12700" cap="flat" cmpd="sng">
              <a:solidFill>
                <a:srgbClr val="0F47F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765" name="Google Shape;1765;p75"/>
            <p:cNvSpPr txBox="1"/>
            <p:nvPr/>
          </p:nvSpPr>
          <p:spPr>
            <a:xfrm>
              <a:off x="9254653" y="2679127"/>
              <a:ext cx="320909" cy="215444"/>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rgbClr val="0F47F2"/>
                  </a:solidFill>
                  <a:latin typeface="Arial"/>
                  <a:ea typeface="Arial"/>
                  <a:cs typeface="Arial"/>
                  <a:sym typeface="Arial"/>
                </a:rPr>
                <a:t>52</a:t>
              </a:r>
              <a:endParaRPr sz="1400" b="0" i="0" u="none" strike="noStrike" cap="none">
                <a:solidFill>
                  <a:srgbClr val="000000"/>
                </a:solidFill>
                <a:latin typeface="Arial"/>
                <a:ea typeface="Arial"/>
                <a:cs typeface="Arial"/>
                <a:sym typeface="Arial"/>
              </a:endParaRPr>
            </a:p>
          </p:txBody>
        </p:sp>
      </p:grpSp>
      <p:grpSp>
        <p:nvGrpSpPr>
          <p:cNvPr id="1766" name="Google Shape;1766;p75"/>
          <p:cNvGrpSpPr/>
          <p:nvPr/>
        </p:nvGrpSpPr>
        <p:grpSpPr>
          <a:xfrm>
            <a:off x="6508719" y="5120560"/>
            <a:ext cx="457200" cy="457200"/>
            <a:chOff x="6427826" y="3563396"/>
            <a:chExt cx="457200" cy="457200"/>
          </a:xfrm>
        </p:grpSpPr>
        <p:pic>
          <p:nvPicPr>
            <p:cNvPr id="1767" name="Google Shape;1767;p75" descr="List"/>
            <p:cNvPicPr preferRelativeResize="0"/>
            <p:nvPr/>
          </p:nvPicPr>
          <p:blipFill rotWithShape="1">
            <a:blip r:embed="rId9">
              <a:alphaModFix/>
            </a:blip>
            <a:srcRect/>
            <a:stretch/>
          </p:blipFill>
          <p:spPr>
            <a:xfrm>
              <a:off x="6473546" y="3601070"/>
              <a:ext cx="365760" cy="365760"/>
            </a:xfrm>
            <a:prstGeom prst="rect">
              <a:avLst/>
            </a:prstGeom>
            <a:noFill/>
            <a:ln>
              <a:noFill/>
            </a:ln>
          </p:spPr>
        </p:pic>
        <p:sp>
          <p:nvSpPr>
            <p:cNvPr id="1768" name="Google Shape;1768;p75"/>
            <p:cNvSpPr/>
            <p:nvPr/>
          </p:nvSpPr>
          <p:spPr>
            <a:xfrm>
              <a:off x="6427826" y="3563396"/>
              <a:ext cx="457200" cy="457200"/>
            </a:xfrm>
            <a:prstGeom prst="ellipse">
              <a:avLst/>
            </a:prstGeom>
            <a:noFill/>
            <a:ln w="12700" cap="flat" cmpd="sng">
              <a:solidFill>
                <a:srgbClr val="0F47F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grpSp>
        <p:nvGrpSpPr>
          <p:cNvPr id="1769" name="Google Shape;1769;p75"/>
          <p:cNvGrpSpPr/>
          <p:nvPr/>
        </p:nvGrpSpPr>
        <p:grpSpPr>
          <a:xfrm>
            <a:off x="372862" y="3602729"/>
            <a:ext cx="2524618" cy="416560"/>
            <a:chOff x="550863" y="4854495"/>
            <a:chExt cx="3188017" cy="416560"/>
          </a:xfrm>
        </p:grpSpPr>
        <p:cxnSp>
          <p:nvCxnSpPr>
            <p:cNvPr id="1770" name="Google Shape;1770;p75"/>
            <p:cNvCxnSpPr/>
            <p:nvPr/>
          </p:nvCxnSpPr>
          <p:spPr>
            <a:xfrm>
              <a:off x="550863" y="5059680"/>
              <a:ext cx="3188017" cy="0"/>
            </a:xfrm>
            <a:prstGeom prst="straightConnector1">
              <a:avLst/>
            </a:prstGeom>
            <a:noFill/>
            <a:ln w="9525" cap="flat" cmpd="sng">
              <a:solidFill>
                <a:schemeClr val="dk2"/>
              </a:solidFill>
              <a:prstDash val="solid"/>
              <a:miter lim="800000"/>
              <a:headEnd type="none" w="sm" len="sm"/>
              <a:tailEnd type="none" w="sm" len="sm"/>
            </a:ln>
          </p:spPr>
        </p:cxnSp>
        <p:sp>
          <p:nvSpPr>
            <p:cNvPr id="1771" name="Google Shape;1771;p75"/>
            <p:cNvSpPr/>
            <p:nvPr/>
          </p:nvSpPr>
          <p:spPr>
            <a:xfrm>
              <a:off x="1936591" y="4854495"/>
              <a:ext cx="416560" cy="416560"/>
            </a:xfrm>
            <a:prstGeom prst="ellipse">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Calibri"/>
                <a:ea typeface="Calibri"/>
                <a:cs typeface="Calibri"/>
                <a:sym typeface="Calibri"/>
              </a:endParaRPr>
            </a:p>
          </p:txBody>
        </p:sp>
        <p:grpSp>
          <p:nvGrpSpPr>
            <p:cNvPr id="1772" name="Google Shape;1772;p75"/>
            <p:cNvGrpSpPr/>
            <p:nvPr/>
          </p:nvGrpSpPr>
          <p:grpSpPr>
            <a:xfrm>
              <a:off x="1994217" y="4949317"/>
              <a:ext cx="301308" cy="220726"/>
              <a:chOff x="5754688" y="3178175"/>
              <a:chExt cx="682626" cy="500063"/>
            </a:xfrm>
          </p:grpSpPr>
          <p:sp>
            <p:nvSpPr>
              <p:cNvPr id="1773" name="Google Shape;1773;p75"/>
              <p:cNvSpPr/>
              <p:nvPr/>
            </p:nvSpPr>
            <p:spPr>
              <a:xfrm>
                <a:off x="5754688"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6" y="126"/>
                      <a:pt x="16" y="130"/>
                      <a:pt x="10"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5"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444"/>
                  </a:solidFill>
                  <a:latin typeface="Calibri"/>
                  <a:ea typeface="Calibri"/>
                  <a:cs typeface="Calibri"/>
                  <a:sym typeface="Calibri"/>
                </a:endParaRPr>
              </a:p>
            </p:txBody>
          </p:sp>
          <p:sp>
            <p:nvSpPr>
              <p:cNvPr id="1774" name="Google Shape;1774;p75"/>
              <p:cNvSpPr/>
              <p:nvPr/>
            </p:nvSpPr>
            <p:spPr>
              <a:xfrm>
                <a:off x="6121401"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5" y="126"/>
                      <a:pt x="16" y="130"/>
                      <a:pt x="9"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4"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444"/>
                  </a:solidFill>
                  <a:latin typeface="Calibri"/>
                  <a:ea typeface="Calibri"/>
                  <a:cs typeface="Calibri"/>
                  <a:sym typeface="Calibri"/>
                </a:endParaRPr>
              </a:p>
            </p:txBody>
          </p:sp>
        </p:grpSp>
      </p:grpSp>
      <p:grpSp>
        <p:nvGrpSpPr>
          <p:cNvPr id="1775" name="Google Shape;1775;p75"/>
          <p:cNvGrpSpPr/>
          <p:nvPr/>
        </p:nvGrpSpPr>
        <p:grpSpPr>
          <a:xfrm>
            <a:off x="374340" y="5868013"/>
            <a:ext cx="2524618" cy="416560"/>
            <a:chOff x="550863" y="4854495"/>
            <a:chExt cx="3188017" cy="416560"/>
          </a:xfrm>
        </p:grpSpPr>
        <p:cxnSp>
          <p:nvCxnSpPr>
            <p:cNvPr id="1776" name="Google Shape;1776;p75"/>
            <p:cNvCxnSpPr/>
            <p:nvPr/>
          </p:nvCxnSpPr>
          <p:spPr>
            <a:xfrm>
              <a:off x="550863" y="5059680"/>
              <a:ext cx="3188017" cy="0"/>
            </a:xfrm>
            <a:prstGeom prst="straightConnector1">
              <a:avLst/>
            </a:prstGeom>
            <a:noFill/>
            <a:ln w="9525" cap="flat" cmpd="sng">
              <a:solidFill>
                <a:schemeClr val="dk2"/>
              </a:solidFill>
              <a:prstDash val="solid"/>
              <a:miter lim="800000"/>
              <a:headEnd type="none" w="sm" len="sm"/>
              <a:tailEnd type="none" w="sm" len="sm"/>
            </a:ln>
          </p:spPr>
        </p:cxnSp>
        <p:sp>
          <p:nvSpPr>
            <p:cNvPr id="1777" name="Google Shape;1777;p75"/>
            <p:cNvSpPr/>
            <p:nvPr/>
          </p:nvSpPr>
          <p:spPr>
            <a:xfrm>
              <a:off x="1936591" y="4854495"/>
              <a:ext cx="416560" cy="416560"/>
            </a:xfrm>
            <a:prstGeom prst="ellipse">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Calibri"/>
                <a:ea typeface="Calibri"/>
                <a:cs typeface="Calibri"/>
                <a:sym typeface="Calibri"/>
              </a:endParaRPr>
            </a:p>
          </p:txBody>
        </p:sp>
        <p:grpSp>
          <p:nvGrpSpPr>
            <p:cNvPr id="1778" name="Google Shape;1778;p75"/>
            <p:cNvGrpSpPr/>
            <p:nvPr/>
          </p:nvGrpSpPr>
          <p:grpSpPr>
            <a:xfrm>
              <a:off x="1994217" y="4949317"/>
              <a:ext cx="301308" cy="220726"/>
              <a:chOff x="5754688" y="3178175"/>
              <a:chExt cx="682626" cy="500063"/>
            </a:xfrm>
          </p:grpSpPr>
          <p:sp>
            <p:nvSpPr>
              <p:cNvPr id="1779" name="Google Shape;1779;p75"/>
              <p:cNvSpPr/>
              <p:nvPr/>
            </p:nvSpPr>
            <p:spPr>
              <a:xfrm>
                <a:off x="5754688"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6" y="126"/>
                      <a:pt x="16" y="130"/>
                      <a:pt x="10"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5"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444"/>
                  </a:solidFill>
                  <a:latin typeface="Calibri"/>
                  <a:ea typeface="Calibri"/>
                  <a:cs typeface="Calibri"/>
                  <a:sym typeface="Calibri"/>
                </a:endParaRPr>
              </a:p>
            </p:txBody>
          </p:sp>
          <p:sp>
            <p:nvSpPr>
              <p:cNvPr id="1780" name="Google Shape;1780;p75"/>
              <p:cNvSpPr/>
              <p:nvPr/>
            </p:nvSpPr>
            <p:spPr>
              <a:xfrm>
                <a:off x="6121401"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5" y="126"/>
                      <a:pt x="16" y="130"/>
                      <a:pt x="9"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4"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444"/>
                  </a:solidFill>
                  <a:latin typeface="Calibri"/>
                  <a:ea typeface="Calibri"/>
                  <a:cs typeface="Calibri"/>
                  <a:sym typeface="Calibri"/>
                </a:endParaRPr>
              </a:p>
            </p:txBody>
          </p:sp>
        </p:grpSp>
      </p:grpSp>
      <p:graphicFrame>
        <p:nvGraphicFramePr>
          <p:cNvPr id="1781" name="Google Shape;1781;p75"/>
          <p:cNvGraphicFramePr/>
          <p:nvPr/>
        </p:nvGraphicFramePr>
        <p:xfrm>
          <a:off x="9130076" y="2943464"/>
          <a:ext cx="2336135" cy="1379832"/>
        </p:xfrm>
        <a:graphic>
          <a:graphicData uri="http://schemas.openxmlformats.org/drawingml/2006/chart">
            <c:chart xmlns:c="http://schemas.openxmlformats.org/drawingml/2006/chart" xmlns:r="http://schemas.openxmlformats.org/officeDocument/2006/relationships" r:id="rId10"/>
          </a:graphicData>
        </a:graphic>
      </p:graphicFrame>
      <p:grpSp>
        <p:nvGrpSpPr>
          <p:cNvPr id="1782" name="Google Shape;1782;p75"/>
          <p:cNvGrpSpPr/>
          <p:nvPr/>
        </p:nvGrpSpPr>
        <p:grpSpPr>
          <a:xfrm>
            <a:off x="6359371" y="4041290"/>
            <a:ext cx="668222" cy="496523"/>
            <a:chOff x="3989388" y="3024188"/>
            <a:chExt cx="1276350" cy="966787"/>
          </a:xfrm>
        </p:grpSpPr>
        <p:cxnSp>
          <p:nvCxnSpPr>
            <p:cNvPr id="1783" name="Google Shape;1783;p75"/>
            <p:cNvCxnSpPr/>
            <p:nvPr/>
          </p:nvCxnSpPr>
          <p:spPr>
            <a:xfrm>
              <a:off x="4889500" y="3816350"/>
              <a:ext cx="0" cy="14288"/>
            </a:xfrm>
            <a:prstGeom prst="straightConnector1">
              <a:avLst/>
            </a:prstGeom>
            <a:solidFill>
              <a:schemeClr val="dk2"/>
            </a:solidFill>
            <a:ln w="9525" cap="flat" cmpd="sng">
              <a:solidFill>
                <a:schemeClr val="dk2"/>
              </a:solidFill>
              <a:prstDash val="solid"/>
              <a:round/>
              <a:headEnd type="none" w="sm" len="sm"/>
              <a:tailEnd type="none" w="sm" len="sm"/>
            </a:ln>
          </p:spPr>
        </p:cxnSp>
        <p:sp>
          <p:nvSpPr>
            <p:cNvPr id="1784" name="Google Shape;1784;p75"/>
            <p:cNvSpPr/>
            <p:nvPr/>
          </p:nvSpPr>
          <p:spPr>
            <a:xfrm>
              <a:off x="4921250" y="3521075"/>
              <a:ext cx="344488" cy="217488"/>
            </a:xfrm>
            <a:custGeom>
              <a:avLst/>
              <a:gdLst/>
              <a:ahLst/>
              <a:cxnLst/>
              <a:rect l="l" t="t" r="r" b="b"/>
              <a:pathLst>
                <a:path w="180" h="114" extrusionOk="0">
                  <a:moveTo>
                    <a:pt x="114" y="41"/>
                  </a:moveTo>
                  <a:lnTo>
                    <a:pt x="105" y="41"/>
                  </a:lnTo>
                  <a:lnTo>
                    <a:pt x="89" y="32"/>
                  </a:lnTo>
                  <a:lnTo>
                    <a:pt x="130" y="8"/>
                  </a:lnTo>
                  <a:lnTo>
                    <a:pt x="145" y="0"/>
                  </a:lnTo>
                  <a:lnTo>
                    <a:pt x="154" y="8"/>
                  </a:lnTo>
                  <a:lnTo>
                    <a:pt x="130" y="16"/>
                  </a:lnTo>
                  <a:lnTo>
                    <a:pt x="139" y="23"/>
                  </a:lnTo>
                  <a:lnTo>
                    <a:pt x="120" y="41"/>
                  </a:lnTo>
                  <a:lnTo>
                    <a:pt x="114" y="41"/>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lnTo>
                    <a:pt x="114" y="41"/>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85" name="Google Shape;1785;p75"/>
            <p:cNvSpPr/>
            <p:nvPr/>
          </p:nvSpPr>
          <p:spPr>
            <a:xfrm>
              <a:off x="4921250" y="3521075"/>
              <a:ext cx="341313" cy="215900"/>
            </a:xfrm>
            <a:custGeom>
              <a:avLst/>
              <a:gdLst/>
              <a:ahLst/>
              <a:cxnLst/>
              <a:rect l="l" t="t" r="r" b="b"/>
              <a:pathLst>
                <a:path w="179" h="113" extrusionOk="0">
                  <a:moveTo>
                    <a:pt x="105" y="41"/>
                  </a:moveTo>
                  <a:lnTo>
                    <a:pt x="89" y="32"/>
                  </a:lnTo>
                  <a:lnTo>
                    <a:pt x="130" y="8"/>
                  </a:lnTo>
                  <a:lnTo>
                    <a:pt x="145" y="0"/>
                  </a:lnTo>
                  <a:lnTo>
                    <a:pt x="154" y="8"/>
                  </a:lnTo>
                  <a:lnTo>
                    <a:pt x="130" y="16"/>
                  </a:lnTo>
                  <a:lnTo>
                    <a:pt x="139" y="23"/>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86" name="Google Shape;1786;p75"/>
            <p:cNvSpPr/>
            <p:nvPr/>
          </p:nvSpPr>
          <p:spPr>
            <a:xfrm>
              <a:off x="4660900" y="3444875"/>
              <a:ext cx="136525" cy="61913"/>
            </a:xfrm>
            <a:custGeom>
              <a:avLst/>
              <a:gdLst/>
              <a:ahLst/>
              <a:cxnLst/>
              <a:rect l="l" t="t" r="r" b="b"/>
              <a:pathLst>
                <a:path w="72" h="33" extrusionOk="0">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87" name="Google Shape;1787;p75"/>
            <p:cNvSpPr/>
            <p:nvPr/>
          </p:nvSpPr>
          <p:spPr>
            <a:xfrm>
              <a:off x="4660900" y="3444875"/>
              <a:ext cx="136525" cy="61913"/>
            </a:xfrm>
            <a:custGeom>
              <a:avLst/>
              <a:gdLst/>
              <a:ahLst/>
              <a:cxnLst/>
              <a:rect l="l" t="t" r="r" b="b"/>
              <a:pathLst>
                <a:path w="72" h="33" extrusionOk="0">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88" name="Google Shape;1788;p75"/>
            <p:cNvSpPr/>
            <p:nvPr/>
          </p:nvSpPr>
          <p:spPr>
            <a:xfrm>
              <a:off x="4811713" y="3165475"/>
              <a:ext cx="234950" cy="204788"/>
            </a:xfrm>
            <a:custGeom>
              <a:avLst/>
              <a:gdLst/>
              <a:ahLst/>
              <a:cxnLst/>
              <a:rect l="l" t="t" r="r" b="b"/>
              <a:pathLst>
                <a:path w="123" h="107" extrusionOk="0">
                  <a:moveTo>
                    <a:pt x="112" y="88"/>
                  </a:moveTo>
                  <a:lnTo>
                    <a:pt x="106" y="72"/>
                  </a:lnTo>
                  <a:lnTo>
                    <a:pt x="106" y="65"/>
                  </a:lnTo>
                  <a:lnTo>
                    <a:pt x="112" y="72"/>
                  </a:lnTo>
                  <a:lnTo>
                    <a:pt x="122" y="57"/>
                  </a:lnTo>
                  <a:lnTo>
                    <a:pt x="112" y="57"/>
                  </a:lnTo>
                  <a:lnTo>
                    <a:pt x="97" y="32"/>
                  </a:lnTo>
                  <a:lnTo>
                    <a:pt x="97" y="16"/>
                  </a:lnTo>
                  <a:lnTo>
                    <a:pt x="90" y="7"/>
                  </a:lnTo>
                  <a:lnTo>
                    <a:pt x="65" y="0"/>
                  </a:lnTo>
                  <a:lnTo>
                    <a:pt x="49" y="16"/>
                  </a:lnTo>
                  <a:lnTo>
                    <a:pt x="49" y="25"/>
                  </a:lnTo>
                  <a:lnTo>
                    <a:pt x="32" y="32"/>
                  </a:lnTo>
                  <a:lnTo>
                    <a:pt x="32" y="47"/>
                  </a:lnTo>
                  <a:lnTo>
                    <a:pt x="25" y="47"/>
                  </a:lnTo>
                  <a:lnTo>
                    <a:pt x="7" y="57"/>
                  </a:lnTo>
                  <a:lnTo>
                    <a:pt x="0" y="57"/>
                  </a:lnTo>
                  <a:lnTo>
                    <a:pt x="7" y="72"/>
                  </a:lnTo>
                  <a:lnTo>
                    <a:pt x="0" y="88"/>
                  </a:lnTo>
                  <a:lnTo>
                    <a:pt x="0" y="106"/>
                  </a:lnTo>
                  <a:lnTo>
                    <a:pt x="15" y="97"/>
                  </a:lnTo>
                  <a:lnTo>
                    <a:pt x="32" y="97"/>
                  </a:lnTo>
                  <a:lnTo>
                    <a:pt x="57" y="106"/>
                  </a:lnTo>
                  <a:lnTo>
                    <a:pt x="65" y="106"/>
                  </a:lnTo>
                  <a:lnTo>
                    <a:pt x="72" y="106"/>
                  </a:lnTo>
                  <a:lnTo>
                    <a:pt x="81" y="106"/>
                  </a:lnTo>
                  <a:lnTo>
                    <a:pt x="97" y="106"/>
                  </a:lnTo>
                  <a:lnTo>
                    <a:pt x="106" y="88"/>
                  </a:lnTo>
                  <a:lnTo>
                    <a:pt x="112" y="88"/>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89" name="Google Shape;1789;p75"/>
            <p:cNvSpPr/>
            <p:nvPr/>
          </p:nvSpPr>
          <p:spPr>
            <a:xfrm>
              <a:off x="4781550" y="3335338"/>
              <a:ext cx="449263" cy="295275"/>
            </a:xfrm>
            <a:custGeom>
              <a:avLst/>
              <a:gdLst/>
              <a:ahLst/>
              <a:cxnLst/>
              <a:rect l="l" t="t" r="r" b="b"/>
              <a:pathLst>
                <a:path w="235" h="155" extrusionOk="0">
                  <a:moveTo>
                    <a:pt x="97" y="139"/>
                  </a:moveTo>
                  <a:lnTo>
                    <a:pt x="81" y="139"/>
                  </a:lnTo>
                  <a:lnTo>
                    <a:pt x="81" y="130"/>
                  </a:lnTo>
                  <a:lnTo>
                    <a:pt x="88" y="114"/>
                  </a:lnTo>
                  <a:lnTo>
                    <a:pt x="106" y="114"/>
                  </a:lnTo>
                  <a:lnTo>
                    <a:pt x="106" y="106"/>
                  </a:lnTo>
                  <a:lnTo>
                    <a:pt x="97" y="90"/>
                  </a:lnTo>
                  <a:lnTo>
                    <a:pt x="97" y="81"/>
                  </a:lnTo>
                  <a:lnTo>
                    <a:pt x="73" y="74"/>
                  </a:lnTo>
                  <a:lnTo>
                    <a:pt x="56" y="81"/>
                  </a:lnTo>
                  <a:lnTo>
                    <a:pt x="41" y="90"/>
                  </a:lnTo>
                  <a:lnTo>
                    <a:pt x="31" y="90"/>
                  </a:lnTo>
                  <a:lnTo>
                    <a:pt x="7" y="90"/>
                  </a:lnTo>
                  <a:lnTo>
                    <a:pt x="0" y="81"/>
                  </a:lnTo>
                  <a:lnTo>
                    <a:pt x="7" y="66"/>
                  </a:lnTo>
                  <a:lnTo>
                    <a:pt x="16" y="49"/>
                  </a:lnTo>
                  <a:lnTo>
                    <a:pt x="23" y="41"/>
                  </a:lnTo>
                  <a:lnTo>
                    <a:pt x="16" y="18"/>
                  </a:lnTo>
                  <a:lnTo>
                    <a:pt x="31" y="9"/>
                  </a:lnTo>
                  <a:lnTo>
                    <a:pt x="48" y="9"/>
                  </a:lnTo>
                  <a:lnTo>
                    <a:pt x="73" y="18"/>
                  </a:lnTo>
                  <a:lnTo>
                    <a:pt x="81" y="18"/>
                  </a:lnTo>
                  <a:lnTo>
                    <a:pt x="88" y="18"/>
                  </a:lnTo>
                  <a:lnTo>
                    <a:pt x="97" y="18"/>
                  </a:lnTo>
                  <a:lnTo>
                    <a:pt x="113" y="18"/>
                  </a:lnTo>
                  <a:lnTo>
                    <a:pt x="122" y="0"/>
                  </a:lnTo>
                  <a:lnTo>
                    <a:pt x="128" y="0"/>
                  </a:lnTo>
                  <a:lnTo>
                    <a:pt x="153" y="0"/>
                  </a:lnTo>
                  <a:lnTo>
                    <a:pt x="162" y="9"/>
                  </a:lnTo>
                  <a:lnTo>
                    <a:pt x="153" y="9"/>
                  </a:lnTo>
                  <a:lnTo>
                    <a:pt x="162" y="18"/>
                  </a:lnTo>
                  <a:lnTo>
                    <a:pt x="170" y="18"/>
                  </a:lnTo>
                  <a:lnTo>
                    <a:pt x="178" y="33"/>
                  </a:lnTo>
                  <a:lnTo>
                    <a:pt x="187" y="41"/>
                  </a:lnTo>
                  <a:lnTo>
                    <a:pt x="193" y="33"/>
                  </a:lnTo>
                  <a:lnTo>
                    <a:pt x="235" y="58"/>
                  </a:lnTo>
                  <a:lnTo>
                    <a:pt x="227" y="90"/>
                  </a:lnTo>
                  <a:lnTo>
                    <a:pt x="218" y="81"/>
                  </a:lnTo>
                  <a:lnTo>
                    <a:pt x="212" y="90"/>
                  </a:lnTo>
                  <a:lnTo>
                    <a:pt x="212" y="106"/>
                  </a:lnTo>
                  <a:lnTo>
                    <a:pt x="203" y="106"/>
                  </a:lnTo>
                  <a:lnTo>
                    <a:pt x="162" y="130"/>
                  </a:lnTo>
                  <a:lnTo>
                    <a:pt x="178" y="139"/>
                  </a:lnTo>
                  <a:lnTo>
                    <a:pt x="153" y="155"/>
                  </a:lnTo>
                  <a:lnTo>
                    <a:pt x="146" y="155"/>
                  </a:lnTo>
                  <a:lnTo>
                    <a:pt x="146" y="146"/>
                  </a:lnTo>
                  <a:lnTo>
                    <a:pt x="138" y="139"/>
                  </a:lnTo>
                  <a:lnTo>
                    <a:pt x="153" y="130"/>
                  </a:lnTo>
                  <a:lnTo>
                    <a:pt x="128" y="121"/>
                  </a:lnTo>
                  <a:lnTo>
                    <a:pt x="128" y="114"/>
                  </a:lnTo>
                  <a:lnTo>
                    <a:pt x="113" y="114"/>
                  </a:lnTo>
                  <a:lnTo>
                    <a:pt x="106" y="130"/>
                  </a:lnTo>
                  <a:lnTo>
                    <a:pt x="97" y="130"/>
                  </a:lnTo>
                  <a:lnTo>
                    <a:pt x="97" y="139"/>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90" name="Google Shape;1790;p75"/>
            <p:cNvSpPr/>
            <p:nvPr/>
          </p:nvSpPr>
          <p:spPr>
            <a:xfrm>
              <a:off x="4764088" y="3089275"/>
              <a:ext cx="174625" cy="109538"/>
            </a:xfrm>
            <a:custGeom>
              <a:avLst/>
              <a:gdLst/>
              <a:ahLst/>
              <a:cxnLst/>
              <a:rect l="l" t="t" r="r" b="b"/>
              <a:pathLst>
                <a:path w="91" h="57" extrusionOk="0">
                  <a:moveTo>
                    <a:pt x="40" y="0"/>
                  </a:moveTo>
                  <a:lnTo>
                    <a:pt x="40" y="23"/>
                  </a:lnTo>
                  <a:lnTo>
                    <a:pt x="25" y="23"/>
                  </a:lnTo>
                  <a:lnTo>
                    <a:pt x="16" y="7"/>
                  </a:lnTo>
                  <a:lnTo>
                    <a:pt x="9" y="15"/>
                  </a:lnTo>
                  <a:lnTo>
                    <a:pt x="0" y="32"/>
                  </a:lnTo>
                  <a:lnTo>
                    <a:pt x="0" y="47"/>
                  </a:lnTo>
                  <a:lnTo>
                    <a:pt x="9" y="40"/>
                  </a:lnTo>
                  <a:lnTo>
                    <a:pt x="50" y="40"/>
                  </a:lnTo>
                  <a:lnTo>
                    <a:pt x="74" y="56"/>
                  </a:lnTo>
                  <a:lnTo>
                    <a:pt x="90" y="40"/>
                  </a:lnTo>
                  <a:lnTo>
                    <a:pt x="82" y="23"/>
                  </a:lnTo>
                  <a:lnTo>
                    <a:pt x="82" y="7"/>
                  </a:lnTo>
                  <a:lnTo>
                    <a:pt x="65" y="7"/>
                  </a:lnTo>
                  <a:lnTo>
                    <a:pt x="50" y="0"/>
                  </a:lnTo>
                  <a:lnTo>
                    <a:pt x="40" y="0"/>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91" name="Google Shape;1791;p75"/>
            <p:cNvSpPr/>
            <p:nvPr/>
          </p:nvSpPr>
          <p:spPr>
            <a:xfrm>
              <a:off x="4764088" y="3165475"/>
              <a:ext cx="144462" cy="111125"/>
            </a:xfrm>
            <a:custGeom>
              <a:avLst/>
              <a:gdLst/>
              <a:ahLst/>
              <a:cxnLst/>
              <a:rect l="l" t="t" r="r" b="b"/>
              <a:pathLst>
                <a:path w="75" h="58" extrusionOk="0">
                  <a:moveTo>
                    <a:pt x="0" y="25"/>
                  </a:moveTo>
                  <a:lnTo>
                    <a:pt x="0" y="16"/>
                  </a:lnTo>
                  <a:lnTo>
                    <a:pt x="0" y="7"/>
                  </a:lnTo>
                  <a:lnTo>
                    <a:pt x="9" y="0"/>
                  </a:lnTo>
                  <a:lnTo>
                    <a:pt x="50" y="0"/>
                  </a:lnTo>
                  <a:lnTo>
                    <a:pt x="74" y="16"/>
                  </a:lnTo>
                  <a:lnTo>
                    <a:pt x="74" y="25"/>
                  </a:lnTo>
                  <a:lnTo>
                    <a:pt x="57" y="32"/>
                  </a:lnTo>
                  <a:lnTo>
                    <a:pt x="57" y="47"/>
                  </a:lnTo>
                  <a:lnTo>
                    <a:pt x="50" y="47"/>
                  </a:lnTo>
                  <a:lnTo>
                    <a:pt x="32" y="57"/>
                  </a:lnTo>
                  <a:lnTo>
                    <a:pt x="25" y="57"/>
                  </a:lnTo>
                  <a:lnTo>
                    <a:pt x="16" y="47"/>
                  </a:lnTo>
                  <a:lnTo>
                    <a:pt x="16" y="25"/>
                  </a:lnTo>
                  <a:lnTo>
                    <a:pt x="0" y="25"/>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92" name="Google Shape;1792;p75"/>
            <p:cNvSpPr/>
            <p:nvPr/>
          </p:nvSpPr>
          <p:spPr>
            <a:xfrm>
              <a:off x="4826000" y="3024188"/>
              <a:ext cx="112713" cy="80962"/>
            </a:xfrm>
            <a:custGeom>
              <a:avLst/>
              <a:gdLst/>
              <a:ahLst/>
              <a:cxnLst/>
              <a:rect l="l" t="t" r="r" b="b"/>
              <a:pathLst>
                <a:path w="59" h="42" extrusionOk="0">
                  <a:moveTo>
                    <a:pt x="8" y="34"/>
                  </a:moveTo>
                  <a:lnTo>
                    <a:pt x="0" y="24"/>
                  </a:lnTo>
                  <a:lnTo>
                    <a:pt x="0" y="9"/>
                  </a:lnTo>
                  <a:lnTo>
                    <a:pt x="8" y="0"/>
                  </a:lnTo>
                  <a:lnTo>
                    <a:pt x="58" y="0"/>
                  </a:lnTo>
                  <a:lnTo>
                    <a:pt x="50" y="9"/>
                  </a:lnTo>
                  <a:lnTo>
                    <a:pt x="42" y="9"/>
                  </a:lnTo>
                  <a:lnTo>
                    <a:pt x="50" y="34"/>
                  </a:lnTo>
                  <a:lnTo>
                    <a:pt x="50" y="41"/>
                  </a:lnTo>
                  <a:lnTo>
                    <a:pt x="33" y="41"/>
                  </a:lnTo>
                  <a:lnTo>
                    <a:pt x="18" y="34"/>
                  </a:lnTo>
                  <a:lnTo>
                    <a:pt x="8" y="34"/>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93" name="Google Shape;1793;p75"/>
            <p:cNvSpPr/>
            <p:nvPr/>
          </p:nvSpPr>
          <p:spPr>
            <a:xfrm>
              <a:off x="4719638" y="3213100"/>
              <a:ext cx="77787" cy="44450"/>
            </a:xfrm>
            <a:custGeom>
              <a:avLst/>
              <a:gdLst/>
              <a:ahLst/>
              <a:cxnLst/>
              <a:rect l="l" t="t" r="r" b="b"/>
              <a:pathLst>
                <a:path w="41" h="23" extrusionOk="0">
                  <a:moveTo>
                    <a:pt x="40" y="0"/>
                  </a:moveTo>
                  <a:lnTo>
                    <a:pt x="40" y="22"/>
                  </a:lnTo>
                  <a:lnTo>
                    <a:pt x="24" y="22"/>
                  </a:lnTo>
                  <a:lnTo>
                    <a:pt x="0" y="16"/>
                  </a:lnTo>
                  <a:lnTo>
                    <a:pt x="15" y="7"/>
                  </a:lnTo>
                  <a:lnTo>
                    <a:pt x="24" y="0"/>
                  </a:lnTo>
                  <a:lnTo>
                    <a:pt x="40" y="0"/>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94" name="Google Shape;1794;p75"/>
            <p:cNvSpPr/>
            <p:nvPr/>
          </p:nvSpPr>
          <p:spPr>
            <a:xfrm>
              <a:off x="4052888" y="3213100"/>
              <a:ext cx="65087" cy="63500"/>
            </a:xfrm>
            <a:custGeom>
              <a:avLst/>
              <a:gdLst/>
              <a:ahLst/>
              <a:cxnLst/>
              <a:rect l="l" t="t" r="r" b="b"/>
              <a:pathLst>
                <a:path w="35" h="33" extrusionOk="0">
                  <a:moveTo>
                    <a:pt x="25" y="32"/>
                  </a:moveTo>
                  <a:lnTo>
                    <a:pt x="25" y="22"/>
                  </a:lnTo>
                  <a:lnTo>
                    <a:pt x="9" y="22"/>
                  </a:lnTo>
                  <a:lnTo>
                    <a:pt x="0" y="16"/>
                  </a:lnTo>
                  <a:lnTo>
                    <a:pt x="9" y="0"/>
                  </a:lnTo>
                  <a:lnTo>
                    <a:pt x="25" y="7"/>
                  </a:lnTo>
                  <a:lnTo>
                    <a:pt x="34" y="22"/>
                  </a:lnTo>
                  <a:lnTo>
                    <a:pt x="25" y="32"/>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95" name="Google Shape;1795;p75"/>
            <p:cNvSpPr/>
            <p:nvPr/>
          </p:nvSpPr>
          <p:spPr>
            <a:xfrm>
              <a:off x="3989388" y="3213100"/>
              <a:ext cx="112712" cy="157163"/>
            </a:xfrm>
            <a:custGeom>
              <a:avLst/>
              <a:gdLst/>
              <a:ahLst/>
              <a:cxnLst/>
              <a:rect l="l" t="t" r="r" b="b"/>
              <a:pathLst>
                <a:path w="59" h="82" extrusionOk="0">
                  <a:moveTo>
                    <a:pt x="42" y="0"/>
                  </a:moveTo>
                  <a:lnTo>
                    <a:pt x="33" y="16"/>
                  </a:lnTo>
                  <a:lnTo>
                    <a:pt x="42" y="22"/>
                  </a:lnTo>
                  <a:lnTo>
                    <a:pt x="58" y="22"/>
                  </a:lnTo>
                  <a:lnTo>
                    <a:pt x="58" y="32"/>
                  </a:lnTo>
                  <a:lnTo>
                    <a:pt x="58" y="47"/>
                  </a:lnTo>
                  <a:lnTo>
                    <a:pt x="49" y="72"/>
                  </a:lnTo>
                  <a:lnTo>
                    <a:pt x="8" y="81"/>
                  </a:lnTo>
                  <a:lnTo>
                    <a:pt x="0" y="72"/>
                  </a:lnTo>
                  <a:lnTo>
                    <a:pt x="8" y="72"/>
                  </a:lnTo>
                  <a:lnTo>
                    <a:pt x="18" y="47"/>
                  </a:lnTo>
                  <a:lnTo>
                    <a:pt x="8" y="40"/>
                  </a:lnTo>
                  <a:lnTo>
                    <a:pt x="18" y="32"/>
                  </a:lnTo>
                  <a:lnTo>
                    <a:pt x="8" y="32"/>
                  </a:lnTo>
                  <a:lnTo>
                    <a:pt x="8" y="22"/>
                  </a:lnTo>
                  <a:lnTo>
                    <a:pt x="25" y="22"/>
                  </a:lnTo>
                  <a:lnTo>
                    <a:pt x="33" y="16"/>
                  </a:lnTo>
                  <a:lnTo>
                    <a:pt x="25" y="16"/>
                  </a:lnTo>
                  <a:lnTo>
                    <a:pt x="25" y="7"/>
                  </a:lnTo>
                  <a:lnTo>
                    <a:pt x="42" y="0"/>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96" name="Google Shape;1796;p75"/>
            <p:cNvSpPr/>
            <p:nvPr/>
          </p:nvSpPr>
          <p:spPr>
            <a:xfrm>
              <a:off x="4438650" y="3117850"/>
              <a:ext cx="79375" cy="111125"/>
            </a:xfrm>
            <a:custGeom>
              <a:avLst/>
              <a:gdLst/>
              <a:ahLst/>
              <a:cxnLst/>
              <a:rect l="l" t="t" r="r" b="b"/>
              <a:pathLst>
                <a:path w="42" h="58" extrusionOk="0">
                  <a:moveTo>
                    <a:pt x="9" y="57"/>
                  </a:moveTo>
                  <a:lnTo>
                    <a:pt x="19" y="57"/>
                  </a:lnTo>
                  <a:lnTo>
                    <a:pt x="25" y="57"/>
                  </a:lnTo>
                  <a:lnTo>
                    <a:pt x="34" y="32"/>
                  </a:lnTo>
                  <a:lnTo>
                    <a:pt x="41" y="32"/>
                  </a:lnTo>
                  <a:lnTo>
                    <a:pt x="41" y="25"/>
                  </a:lnTo>
                  <a:lnTo>
                    <a:pt x="34" y="25"/>
                  </a:lnTo>
                  <a:lnTo>
                    <a:pt x="34" y="0"/>
                  </a:lnTo>
                  <a:lnTo>
                    <a:pt x="9" y="8"/>
                  </a:lnTo>
                  <a:lnTo>
                    <a:pt x="0" y="25"/>
                  </a:lnTo>
                  <a:lnTo>
                    <a:pt x="0" y="41"/>
                  </a:lnTo>
                  <a:lnTo>
                    <a:pt x="9" y="50"/>
                  </a:lnTo>
                  <a:lnTo>
                    <a:pt x="9" y="57"/>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97" name="Google Shape;1797;p75"/>
            <p:cNvSpPr/>
            <p:nvPr/>
          </p:nvSpPr>
          <p:spPr>
            <a:xfrm>
              <a:off x="4330700" y="3289300"/>
              <a:ext cx="98425" cy="109538"/>
            </a:xfrm>
            <a:custGeom>
              <a:avLst/>
              <a:gdLst/>
              <a:ahLst/>
              <a:cxnLst/>
              <a:rect l="l" t="t" r="r" b="b"/>
              <a:pathLst>
                <a:path w="51" h="57" extrusionOk="0">
                  <a:moveTo>
                    <a:pt x="33" y="56"/>
                  </a:moveTo>
                  <a:lnTo>
                    <a:pt x="33" y="32"/>
                  </a:lnTo>
                  <a:lnTo>
                    <a:pt x="41" y="23"/>
                  </a:lnTo>
                  <a:lnTo>
                    <a:pt x="50" y="0"/>
                  </a:lnTo>
                  <a:lnTo>
                    <a:pt x="25" y="7"/>
                  </a:lnTo>
                  <a:lnTo>
                    <a:pt x="33" y="23"/>
                  </a:lnTo>
                  <a:lnTo>
                    <a:pt x="25" y="23"/>
                  </a:lnTo>
                  <a:lnTo>
                    <a:pt x="25" y="16"/>
                  </a:lnTo>
                  <a:lnTo>
                    <a:pt x="16" y="16"/>
                  </a:lnTo>
                  <a:lnTo>
                    <a:pt x="0" y="47"/>
                  </a:lnTo>
                  <a:lnTo>
                    <a:pt x="25" y="47"/>
                  </a:lnTo>
                  <a:lnTo>
                    <a:pt x="33" y="56"/>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98" name="Google Shape;1798;p75"/>
            <p:cNvSpPr/>
            <p:nvPr/>
          </p:nvSpPr>
          <p:spPr>
            <a:xfrm>
              <a:off x="4313238" y="3379788"/>
              <a:ext cx="82550" cy="66675"/>
            </a:xfrm>
            <a:custGeom>
              <a:avLst/>
              <a:gdLst/>
              <a:ahLst/>
              <a:cxnLst/>
              <a:rect l="l" t="t" r="r" b="b"/>
              <a:pathLst>
                <a:path w="43" h="35" extrusionOk="0">
                  <a:moveTo>
                    <a:pt x="34" y="34"/>
                  </a:moveTo>
                  <a:lnTo>
                    <a:pt x="25" y="34"/>
                  </a:lnTo>
                  <a:lnTo>
                    <a:pt x="25" y="25"/>
                  </a:lnTo>
                  <a:lnTo>
                    <a:pt x="18" y="25"/>
                  </a:lnTo>
                  <a:lnTo>
                    <a:pt x="18" y="17"/>
                  </a:lnTo>
                  <a:lnTo>
                    <a:pt x="0" y="9"/>
                  </a:lnTo>
                  <a:lnTo>
                    <a:pt x="0" y="0"/>
                  </a:lnTo>
                  <a:lnTo>
                    <a:pt x="9" y="0"/>
                  </a:lnTo>
                  <a:lnTo>
                    <a:pt x="34" y="0"/>
                  </a:lnTo>
                  <a:lnTo>
                    <a:pt x="42" y="9"/>
                  </a:lnTo>
                  <a:lnTo>
                    <a:pt x="42" y="25"/>
                  </a:lnTo>
                  <a:lnTo>
                    <a:pt x="34" y="25"/>
                  </a:lnTo>
                  <a:lnTo>
                    <a:pt x="34" y="34"/>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99" name="Google Shape;1799;p75"/>
            <p:cNvSpPr/>
            <p:nvPr/>
          </p:nvSpPr>
          <p:spPr>
            <a:xfrm>
              <a:off x="4378325" y="3427413"/>
              <a:ext cx="31750" cy="31750"/>
            </a:xfrm>
            <a:custGeom>
              <a:avLst/>
              <a:gdLst/>
              <a:ahLst/>
              <a:cxnLst/>
              <a:rect l="l" t="t" r="r" b="b"/>
              <a:pathLst>
                <a:path w="17" h="17" extrusionOk="0">
                  <a:moveTo>
                    <a:pt x="0" y="16"/>
                  </a:moveTo>
                  <a:lnTo>
                    <a:pt x="0" y="0"/>
                  </a:lnTo>
                  <a:lnTo>
                    <a:pt x="16" y="0"/>
                  </a:lnTo>
                  <a:lnTo>
                    <a:pt x="16" y="16"/>
                  </a:lnTo>
                  <a:lnTo>
                    <a:pt x="0" y="16"/>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00" name="Google Shape;1800;p75"/>
            <p:cNvSpPr/>
            <p:nvPr/>
          </p:nvSpPr>
          <p:spPr>
            <a:xfrm>
              <a:off x="4378325" y="3427413"/>
              <a:ext cx="31750" cy="31750"/>
            </a:xfrm>
            <a:custGeom>
              <a:avLst/>
              <a:gdLst/>
              <a:ahLst/>
              <a:cxnLst/>
              <a:rect l="l" t="t" r="r" b="b"/>
              <a:pathLst>
                <a:path w="17" h="17" extrusionOk="0">
                  <a:moveTo>
                    <a:pt x="0" y="16"/>
                  </a:moveTo>
                  <a:lnTo>
                    <a:pt x="0" y="0"/>
                  </a:lnTo>
                  <a:lnTo>
                    <a:pt x="16" y="0"/>
                  </a:lnTo>
                  <a:lnTo>
                    <a:pt x="16" y="16"/>
                  </a:lnTo>
                  <a:lnTo>
                    <a:pt x="0" y="16"/>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01" name="Google Shape;1801;p75"/>
            <p:cNvSpPr/>
            <p:nvPr/>
          </p:nvSpPr>
          <p:spPr>
            <a:xfrm>
              <a:off x="4594225" y="3227388"/>
              <a:ext cx="233363" cy="234950"/>
            </a:xfrm>
            <a:custGeom>
              <a:avLst/>
              <a:gdLst/>
              <a:ahLst/>
              <a:cxnLst/>
              <a:rect l="l" t="t" r="r" b="b"/>
              <a:pathLst>
                <a:path w="122" h="123" extrusionOk="0">
                  <a:moveTo>
                    <a:pt x="105" y="122"/>
                  </a:moveTo>
                  <a:lnTo>
                    <a:pt x="114" y="105"/>
                  </a:lnTo>
                  <a:lnTo>
                    <a:pt x="121" y="97"/>
                  </a:lnTo>
                  <a:lnTo>
                    <a:pt x="114" y="56"/>
                  </a:lnTo>
                  <a:lnTo>
                    <a:pt x="121" y="40"/>
                  </a:lnTo>
                  <a:lnTo>
                    <a:pt x="114" y="25"/>
                  </a:lnTo>
                  <a:lnTo>
                    <a:pt x="105" y="15"/>
                  </a:lnTo>
                  <a:lnTo>
                    <a:pt x="89" y="15"/>
                  </a:lnTo>
                  <a:lnTo>
                    <a:pt x="65" y="9"/>
                  </a:lnTo>
                  <a:lnTo>
                    <a:pt x="65" y="15"/>
                  </a:lnTo>
                  <a:lnTo>
                    <a:pt x="57" y="15"/>
                  </a:lnTo>
                  <a:lnTo>
                    <a:pt x="49" y="0"/>
                  </a:lnTo>
                  <a:lnTo>
                    <a:pt x="0" y="25"/>
                  </a:lnTo>
                  <a:lnTo>
                    <a:pt x="9" y="80"/>
                  </a:lnTo>
                  <a:lnTo>
                    <a:pt x="17" y="89"/>
                  </a:lnTo>
                  <a:lnTo>
                    <a:pt x="34" y="97"/>
                  </a:lnTo>
                  <a:lnTo>
                    <a:pt x="40" y="97"/>
                  </a:lnTo>
                  <a:lnTo>
                    <a:pt x="57" y="114"/>
                  </a:lnTo>
                  <a:lnTo>
                    <a:pt x="65" y="114"/>
                  </a:lnTo>
                  <a:lnTo>
                    <a:pt x="74" y="122"/>
                  </a:lnTo>
                  <a:lnTo>
                    <a:pt x="89" y="114"/>
                  </a:lnTo>
                  <a:lnTo>
                    <a:pt x="105" y="122"/>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02" name="Google Shape;1802;p75"/>
            <p:cNvSpPr/>
            <p:nvPr/>
          </p:nvSpPr>
          <p:spPr>
            <a:xfrm>
              <a:off x="4394200" y="3227388"/>
              <a:ext cx="219075" cy="295275"/>
            </a:xfrm>
            <a:custGeom>
              <a:avLst/>
              <a:gdLst/>
              <a:ahLst/>
              <a:cxnLst/>
              <a:rect l="l" t="t" r="r" b="b"/>
              <a:pathLst>
                <a:path w="115" h="155" extrusionOk="0">
                  <a:moveTo>
                    <a:pt x="64" y="25"/>
                  </a:moveTo>
                  <a:lnTo>
                    <a:pt x="97" y="9"/>
                  </a:lnTo>
                  <a:lnTo>
                    <a:pt x="97" y="15"/>
                  </a:lnTo>
                  <a:lnTo>
                    <a:pt x="89" y="15"/>
                  </a:lnTo>
                  <a:lnTo>
                    <a:pt x="105" y="25"/>
                  </a:lnTo>
                  <a:lnTo>
                    <a:pt x="114" y="80"/>
                  </a:lnTo>
                  <a:lnTo>
                    <a:pt x="105" y="80"/>
                  </a:lnTo>
                  <a:lnTo>
                    <a:pt x="89" y="89"/>
                  </a:lnTo>
                  <a:lnTo>
                    <a:pt x="73" y="97"/>
                  </a:lnTo>
                  <a:lnTo>
                    <a:pt x="82" y="114"/>
                  </a:lnTo>
                  <a:lnTo>
                    <a:pt x="97" y="130"/>
                  </a:lnTo>
                  <a:lnTo>
                    <a:pt x="89" y="137"/>
                  </a:lnTo>
                  <a:lnTo>
                    <a:pt x="89" y="146"/>
                  </a:lnTo>
                  <a:lnTo>
                    <a:pt x="57" y="154"/>
                  </a:lnTo>
                  <a:lnTo>
                    <a:pt x="42" y="154"/>
                  </a:lnTo>
                  <a:lnTo>
                    <a:pt x="17" y="154"/>
                  </a:lnTo>
                  <a:lnTo>
                    <a:pt x="23" y="130"/>
                  </a:lnTo>
                  <a:lnTo>
                    <a:pt x="0" y="114"/>
                  </a:lnTo>
                  <a:lnTo>
                    <a:pt x="0" y="105"/>
                  </a:lnTo>
                  <a:lnTo>
                    <a:pt x="0" y="89"/>
                  </a:lnTo>
                  <a:lnTo>
                    <a:pt x="0" y="65"/>
                  </a:lnTo>
                  <a:lnTo>
                    <a:pt x="8" y="56"/>
                  </a:lnTo>
                  <a:lnTo>
                    <a:pt x="17" y="33"/>
                  </a:lnTo>
                  <a:lnTo>
                    <a:pt x="32" y="33"/>
                  </a:lnTo>
                  <a:lnTo>
                    <a:pt x="42" y="15"/>
                  </a:lnTo>
                  <a:lnTo>
                    <a:pt x="32" y="15"/>
                  </a:lnTo>
                  <a:lnTo>
                    <a:pt x="42" y="9"/>
                  </a:lnTo>
                  <a:lnTo>
                    <a:pt x="32" y="0"/>
                  </a:lnTo>
                  <a:lnTo>
                    <a:pt x="42" y="0"/>
                  </a:lnTo>
                  <a:lnTo>
                    <a:pt x="48" y="0"/>
                  </a:lnTo>
                  <a:lnTo>
                    <a:pt x="48" y="9"/>
                  </a:lnTo>
                  <a:lnTo>
                    <a:pt x="64" y="15"/>
                  </a:lnTo>
                  <a:lnTo>
                    <a:pt x="57" y="25"/>
                  </a:lnTo>
                  <a:lnTo>
                    <a:pt x="64" y="25"/>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03" name="Google Shape;1803;p75"/>
            <p:cNvSpPr/>
            <p:nvPr/>
          </p:nvSpPr>
          <p:spPr>
            <a:xfrm>
              <a:off x="4475163" y="3459163"/>
              <a:ext cx="187325" cy="95250"/>
            </a:xfrm>
            <a:custGeom>
              <a:avLst/>
              <a:gdLst/>
              <a:ahLst/>
              <a:cxnLst/>
              <a:rect l="l" t="t" r="r" b="b"/>
              <a:pathLst>
                <a:path w="98" h="49" extrusionOk="0">
                  <a:moveTo>
                    <a:pt x="0" y="32"/>
                  </a:moveTo>
                  <a:lnTo>
                    <a:pt x="15" y="32"/>
                  </a:lnTo>
                  <a:lnTo>
                    <a:pt x="47" y="24"/>
                  </a:lnTo>
                  <a:lnTo>
                    <a:pt x="47" y="15"/>
                  </a:lnTo>
                  <a:lnTo>
                    <a:pt x="55" y="8"/>
                  </a:lnTo>
                  <a:lnTo>
                    <a:pt x="72" y="8"/>
                  </a:lnTo>
                  <a:lnTo>
                    <a:pt x="72" y="0"/>
                  </a:lnTo>
                  <a:lnTo>
                    <a:pt x="97" y="8"/>
                  </a:lnTo>
                  <a:lnTo>
                    <a:pt x="97" y="24"/>
                  </a:lnTo>
                  <a:lnTo>
                    <a:pt x="87" y="40"/>
                  </a:lnTo>
                  <a:lnTo>
                    <a:pt x="55" y="48"/>
                  </a:lnTo>
                  <a:lnTo>
                    <a:pt x="40" y="40"/>
                  </a:lnTo>
                  <a:lnTo>
                    <a:pt x="15" y="40"/>
                  </a:lnTo>
                  <a:lnTo>
                    <a:pt x="6" y="40"/>
                  </a:lnTo>
                  <a:lnTo>
                    <a:pt x="0" y="32"/>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cxnSp>
          <p:nvCxnSpPr>
            <p:cNvPr id="1804" name="Google Shape;1804;p75"/>
            <p:cNvCxnSpPr/>
            <p:nvPr/>
          </p:nvCxnSpPr>
          <p:spPr>
            <a:xfrm rot="10800000">
              <a:off x="4475163" y="3521075"/>
              <a:ext cx="11112" cy="15875"/>
            </a:xfrm>
            <a:prstGeom prst="straightConnector1">
              <a:avLst/>
            </a:prstGeom>
            <a:solidFill>
              <a:schemeClr val="dk2"/>
            </a:solidFill>
            <a:ln w="9525" cap="flat" cmpd="sng">
              <a:solidFill>
                <a:schemeClr val="dk2"/>
              </a:solidFill>
              <a:prstDash val="solid"/>
              <a:round/>
              <a:headEnd type="none" w="sm" len="sm"/>
              <a:tailEnd type="none" w="sm" len="sm"/>
            </a:ln>
          </p:spPr>
        </p:cxnSp>
        <p:sp>
          <p:nvSpPr>
            <p:cNvPr id="1805" name="Google Shape;1805;p75"/>
            <p:cNvSpPr/>
            <p:nvPr/>
          </p:nvSpPr>
          <p:spPr>
            <a:xfrm>
              <a:off x="4475163" y="3521075"/>
              <a:ext cx="31750" cy="33338"/>
            </a:xfrm>
            <a:custGeom>
              <a:avLst/>
              <a:gdLst/>
              <a:ahLst/>
              <a:cxnLst/>
              <a:rect l="l" t="t" r="r" b="b"/>
              <a:pathLst>
                <a:path w="17" h="17" extrusionOk="0">
                  <a:moveTo>
                    <a:pt x="16" y="16"/>
                  </a:moveTo>
                  <a:lnTo>
                    <a:pt x="0" y="0"/>
                  </a:lnTo>
                  <a:lnTo>
                    <a:pt x="16" y="16"/>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cxnSp>
          <p:nvCxnSpPr>
            <p:cNvPr id="1806" name="Google Shape;1806;p75"/>
            <p:cNvCxnSpPr/>
            <p:nvPr/>
          </p:nvCxnSpPr>
          <p:spPr>
            <a:xfrm rot="10800000">
              <a:off x="4475163" y="3521075"/>
              <a:ext cx="11112" cy="15875"/>
            </a:xfrm>
            <a:prstGeom prst="straightConnector1">
              <a:avLst/>
            </a:prstGeom>
            <a:solidFill>
              <a:schemeClr val="dk2"/>
            </a:solidFill>
            <a:ln w="9525" cap="flat" cmpd="sng">
              <a:solidFill>
                <a:schemeClr val="dk2"/>
              </a:solidFill>
              <a:prstDash val="solid"/>
              <a:round/>
              <a:headEnd type="none" w="sm" len="sm"/>
              <a:tailEnd type="none" w="sm" len="sm"/>
            </a:ln>
          </p:spPr>
        </p:cxnSp>
        <p:sp>
          <p:nvSpPr>
            <p:cNvPr id="1807" name="Google Shape;1807;p75"/>
            <p:cNvSpPr/>
            <p:nvPr/>
          </p:nvSpPr>
          <p:spPr>
            <a:xfrm>
              <a:off x="4475163" y="3521075"/>
              <a:ext cx="31750" cy="33338"/>
            </a:xfrm>
            <a:custGeom>
              <a:avLst/>
              <a:gdLst/>
              <a:ahLst/>
              <a:cxnLst/>
              <a:rect l="l" t="t" r="r" b="b"/>
              <a:pathLst>
                <a:path w="17" h="17" extrusionOk="0">
                  <a:moveTo>
                    <a:pt x="16" y="16"/>
                  </a:moveTo>
                  <a:lnTo>
                    <a:pt x="0" y="0"/>
                  </a:lnTo>
                  <a:lnTo>
                    <a:pt x="16" y="16"/>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08" name="Google Shape;1808;p75"/>
            <p:cNvSpPr/>
            <p:nvPr/>
          </p:nvSpPr>
          <p:spPr>
            <a:xfrm>
              <a:off x="4394200" y="3521075"/>
              <a:ext cx="111125" cy="63500"/>
            </a:xfrm>
            <a:custGeom>
              <a:avLst/>
              <a:gdLst/>
              <a:ahLst/>
              <a:cxnLst/>
              <a:rect l="l" t="t" r="r" b="b"/>
              <a:pathLst>
                <a:path w="58" h="33" extrusionOk="0">
                  <a:moveTo>
                    <a:pt x="17" y="32"/>
                  </a:moveTo>
                  <a:lnTo>
                    <a:pt x="32" y="23"/>
                  </a:lnTo>
                  <a:lnTo>
                    <a:pt x="42" y="23"/>
                  </a:lnTo>
                  <a:lnTo>
                    <a:pt x="42" y="16"/>
                  </a:lnTo>
                  <a:lnTo>
                    <a:pt x="48" y="23"/>
                  </a:lnTo>
                  <a:lnTo>
                    <a:pt x="57" y="8"/>
                  </a:lnTo>
                  <a:lnTo>
                    <a:pt x="48" y="8"/>
                  </a:lnTo>
                  <a:lnTo>
                    <a:pt x="42" y="0"/>
                  </a:lnTo>
                  <a:lnTo>
                    <a:pt x="17" y="0"/>
                  </a:lnTo>
                  <a:lnTo>
                    <a:pt x="8" y="0"/>
                  </a:lnTo>
                  <a:lnTo>
                    <a:pt x="0" y="16"/>
                  </a:lnTo>
                  <a:lnTo>
                    <a:pt x="0" y="23"/>
                  </a:lnTo>
                  <a:lnTo>
                    <a:pt x="8" y="16"/>
                  </a:lnTo>
                  <a:lnTo>
                    <a:pt x="8" y="32"/>
                  </a:lnTo>
                  <a:lnTo>
                    <a:pt x="17" y="32"/>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09" name="Google Shape;1809;p75"/>
            <p:cNvSpPr/>
            <p:nvPr/>
          </p:nvSpPr>
          <p:spPr>
            <a:xfrm>
              <a:off x="4127500" y="3379788"/>
              <a:ext cx="312738" cy="311150"/>
            </a:xfrm>
            <a:custGeom>
              <a:avLst/>
              <a:gdLst/>
              <a:ahLst/>
              <a:cxnLst/>
              <a:rect l="l" t="t" r="r" b="b"/>
              <a:pathLst>
                <a:path w="163" h="163" extrusionOk="0">
                  <a:moveTo>
                    <a:pt x="97" y="0"/>
                  </a:moveTo>
                  <a:lnTo>
                    <a:pt x="82" y="9"/>
                  </a:lnTo>
                  <a:lnTo>
                    <a:pt x="82" y="25"/>
                  </a:lnTo>
                  <a:lnTo>
                    <a:pt x="66" y="34"/>
                  </a:lnTo>
                  <a:lnTo>
                    <a:pt x="57" y="42"/>
                  </a:lnTo>
                  <a:lnTo>
                    <a:pt x="50" y="42"/>
                  </a:lnTo>
                  <a:lnTo>
                    <a:pt x="42" y="34"/>
                  </a:lnTo>
                  <a:lnTo>
                    <a:pt x="34" y="34"/>
                  </a:lnTo>
                  <a:lnTo>
                    <a:pt x="42" y="50"/>
                  </a:lnTo>
                  <a:lnTo>
                    <a:pt x="25" y="57"/>
                  </a:lnTo>
                  <a:lnTo>
                    <a:pt x="25" y="50"/>
                  </a:lnTo>
                  <a:lnTo>
                    <a:pt x="0" y="57"/>
                  </a:lnTo>
                  <a:lnTo>
                    <a:pt x="0" y="66"/>
                  </a:lnTo>
                  <a:lnTo>
                    <a:pt x="34" y="74"/>
                  </a:lnTo>
                  <a:lnTo>
                    <a:pt x="50" y="97"/>
                  </a:lnTo>
                  <a:lnTo>
                    <a:pt x="50" y="106"/>
                  </a:lnTo>
                  <a:lnTo>
                    <a:pt x="42" y="147"/>
                  </a:lnTo>
                  <a:lnTo>
                    <a:pt x="57" y="156"/>
                  </a:lnTo>
                  <a:lnTo>
                    <a:pt x="97" y="162"/>
                  </a:lnTo>
                  <a:lnTo>
                    <a:pt x="97" y="156"/>
                  </a:lnTo>
                  <a:lnTo>
                    <a:pt x="115" y="147"/>
                  </a:lnTo>
                  <a:lnTo>
                    <a:pt x="139" y="156"/>
                  </a:lnTo>
                  <a:lnTo>
                    <a:pt x="147" y="156"/>
                  </a:lnTo>
                  <a:lnTo>
                    <a:pt x="156" y="137"/>
                  </a:lnTo>
                  <a:lnTo>
                    <a:pt x="147" y="122"/>
                  </a:lnTo>
                  <a:lnTo>
                    <a:pt x="147" y="106"/>
                  </a:lnTo>
                  <a:lnTo>
                    <a:pt x="147" y="90"/>
                  </a:lnTo>
                  <a:lnTo>
                    <a:pt x="139" y="97"/>
                  </a:lnTo>
                  <a:lnTo>
                    <a:pt x="139" y="90"/>
                  </a:lnTo>
                  <a:lnTo>
                    <a:pt x="147" y="74"/>
                  </a:lnTo>
                  <a:lnTo>
                    <a:pt x="156" y="74"/>
                  </a:lnTo>
                  <a:lnTo>
                    <a:pt x="162" y="50"/>
                  </a:lnTo>
                  <a:lnTo>
                    <a:pt x="139" y="34"/>
                  </a:lnTo>
                  <a:lnTo>
                    <a:pt x="131" y="34"/>
                  </a:lnTo>
                  <a:lnTo>
                    <a:pt x="122" y="34"/>
                  </a:lnTo>
                  <a:lnTo>
                    <a:pt x="122" y="25"/>
                  </a:lnTo>
                  <a:lnTo>
                    <a:pt x="115" y="25"/>
                  </a:lnTo>
                  <a:lnTo>
                    <a:pt x="115" y="17"/>
                  </a:lnTo>
                  <a:lnTo>
                    <a:pt x="97" y="9"/>
                  </a:lnTo>
                  <a:lnTo>
                    <a:pt x="97" y="0"/>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10" name="Google Shape;1810;p75"/>
            <p:cNvSpPr/>
            <p:nvPr/>
          </p:nvSpPr>
          <p:spPr>
            <a:xfrm>
              <a:off x="4024313" y="3641725"/>
              <a:ext cx="292100" cy="252413"/>
            </a:xfrm>
            <a:custGeom>
              <a:avLst/>
              <a:gdLst/>
              <a:ahLst/>
              <a:cxnLst/>
              <a:rect l="l" t="t" r="r" b="b"/>
              <a:pathLst>
                <a:path w="153" h="132" extrusionOk="0">
                  <a:moveTo>
                    <a:pt x="7" y="34"/>
                  </a:moveTo>
                  <a:lnTo>
                    <a:pt x="40" y="34"/>
                  </a:lnTo>
                  <a:lnTo>
                    <a:pt x="40" y="42"/>
                  </a:lnTo>
                  <a:lnTo>
                    <a:pt x="31" y="50"/>
                  </a:lnTo>
                  <a:lnTo>
                    <a:pt x="31" y="66"/>
                  </a:lnTo>
                  <a:lnTo>
                    <a:pt x="24" y="75"/>
                  </a:lnTo>
                  <a:lnTo>
                    <a:pt x="31" y="99"/>
                  </a:lnTo>
                  <a:lnTo>
                    <a:pt x="24" y="115"/>
                  </a:lnTo>
                  <a:lnTo>
                    <a:pt x="49" y="131"/>
                  </a:lnTo>
                  <a:lnTo>
                    <a:pt x="55" y="124"/>
                  </a:lnTo>
                  <a:lnTo>
                    <a:pt x="89" y="124"/>
                  </a:lnTo>
                  <a:lnTo>
                    <a:pt x="121" y="91"/>
                  </a:lnTo>
                  <a:lnTo>
                    <a:pt x="112" y="75"/>
                  </a:lnTo>
                  <a:lnTo>
                    <a:pt x="129" y="50"/>
                  </a:lnTo>
                  <a:lnTo>
                    <a:pt x="152" y="34"/>
                  </a:lnTo>
                  <a:lnTo>
                    <a:pt x="152" y="25"/>
                  </a:lnTo>
                  <a:lnTo>
                    <a:pt x="112" y="19"/>
                  </a:lnTo>
                  <a:lnTo>
                    <a:pt x="97" y="10"/>
                  </a:lnTo>
                  <a:lnTo>
                    <a:pt x="89" y="10"/>
                  </a:lnTo>
                  <a:lnTo>
                    <a:pt x="72" y="10"/>
                  </a:lnTo>
                  <a:lnTo>
                    <a:pt x="64" y="10"/>
                  </a:lnTo>
                  <a:lnTo>
                    <a:pt x="15" y="0"/>
                  </a:lnTo>
                  <a:lnTo>
                    <a:pt x="7" y="10"/>
                  </a:lnTo>
                  <a:lnTo>
                    <a:pt x="0" y="10"/>
                  </a:lnTo>
                  <a:lnTo>
                    <a:pt x="0" y="19"/>
                  </a:lnTo>
                  <a:lnTo>
                    <a:pt x="7" y="34"/>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11" name="Google Shape;1811;p75"/>
            <p:cNvSpPr/>
            <p:nvPr/>
          </p:nvSpPr>
          <p:spPr>
            <a:xfrm>
              <a:off x="4024313" y="3706813"/>
              <a:ext cx="77787" cy="157162"/>
            </a:xfrm>
            <a:custGeom>
              <a:avLst/>
              <a:gdLst/>
              <a:ahLst/>
              <a:cxnLst/>
              <a:rect l="l" t="t" r="r" b="b"/>
              <a:pathLst>
                <a:path w="41" h="82" extrusionOk="0">
                  <a:moveTo>
                    <a:pt x="24" y="81"/>
                  </a:moveTo>
                  <a:lnTo>
                    <a:pt x="31" y="65"/>
                  </a:lnTo>
                  <a:lnTo>
                    <a:pt x="24" y="41"/>
                  </a:lnTo>
                  <a:lnTo>
                    <a:pt x="31" y="32"/>
                  </a:lnTo>
                  <a:lnTo>
                    <a:pt x="31" y="16"/>
                  </a:lnTo>
                  <a:lnTo>
                    <a:pt x="40" y="8"/>
                  </a:lnTo>
                  <a:lnTo>
                    <a:pt x="40" y="0"/>
                  </a:lnTo>
                  <a:lnTo>
                    <a:pt x="7" y="0"/>
                  </a:lnTo>
                  <a:lnTo>
                    <a:pt x="7" y="16"/>
                  </a:lnTo>
                  <a:lnTo>
                    <a:pt x="0" y="57"/>
                  </a:lnTo>
                  <a:lnTo>
                    <a:pt x="7" y="57"/>
                  </a:lnTo>
                  <a:lnTo>
                    <a:pt x="0" y="81"/>
                  </a:lnTo>
                  <a:lnTo>
                    <a:pt x="24" y="81"/>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12" name="Google Shape;1812;p75"/>
            <p:cNvSpPr/>
            <p:nvPr/>
          </p:nvSpPr>
          <p:spPr>
            <a:xfrm>
              <a:off x="4408488" y="3536950"/>
              <a:ext cx="296862" cy="296863"/>
            </a:xfrm>
            <a:custGeom>
              <a:avLst/>
              <a:gdLst/>
              <a:ahLst/>
              <a:cxnLst/>
              <a:rect l="l" t="t" r="r" b="b"/>
              <a:pathLst>
                <a:path w="155" h="155" extrusionOk="0">
                  <a:moveTo>
                    <a:pt x="9" y="55"/>
                  </a:moveTo>
                  <a:lnTo>
                    <a:pt x="24" y="49"/>
                  </a:lnTo>
                  <a:lnTo>
                    <a:pt x="40" y="55"/>
                  </a:lnTo>
                  <a:lnTo>
                    <a:pt x="56" y="80"/>
                  </a:lnTo>
                  <a:lnTo>
                    <a:pt x="65" y="80"/>
                  </a:lnTo>
                  <a:lnTo>
                    <a:pt x="74" y="97"/>
                  </a:lnTo>
                  <a:lnTo>
                    <a:pt x="89" y="105"/>
                  </a:lnTo>
                  <a:lnTo>
                    <a:pt x="106" y="121"/>
                  </a:lnTo>
                  <a:lnTo>
                    <a:pt x="114" y="121"/>
                  </a:lnTo>
                  <a:lnTo>
                    <a:pt x="121" y="146"/>
                  </a:lnTo>
                  <a:lnTo>
                    <a:pt x="114" y="154"/>
                  </a:lnTo>
                  <a:lnTo>
                    <a:pt x="121" y="154"/>
                  </a:lnTo>
                  <a:lnTo>
                    <a:pt x="131" y="146"/>
                  </a:lnTo>
                  <a:lnTo>
                    <a:pt x="131" y="137"/>
                  </a:lnTo>
                  <a:lnTo>
                    <a:pt x="131" y="130"/>
                  </a:lnTo>
                  <a:lnTo>
                    <a:pt x="131" y="114"/>
                  </a:lnTo>
                  <a:lnTo>
                    <a:pt x="146" y="130"/>
                  </a:lnTo>
                  <a:lnTo>
                    <a:pt x="154" y="121"/>
                  </a:lnTo>
                  <a:lnTo>
                    <a:pt x="114" y="97"/>
                  </a:lnTo>
                  <a:lnTo>
                    <a:pt x="121" y="89"/>
                  </a:lnTo>
                  <a:lnTo>
                    <a:pt x="114" y="89"/>
                  </a:lnTo>
                  <a:lnTo>
                    <a:pt x="97" y="80"/>
                  </a:lnTo>
                  <a:lnTo>
                    <a:pt x="89" y="65"/>
                  </a:lnTo>
                  <a:lnTo>
                    <a:pt x="74" y="49"/>
                  </a:lnTo>
                  <a:lnTo>
                    <a:pt x="74" y="24"/>
                  </a:lnTo>
                  <a:lnTo>
                    <a:pt x="89" y="24"/>
                  </a:lnTo>
                  <a:lnTo>
                    <a:pt x="89" y="15"/>
                  </a:lnTo>
                  <a:lnTo>
                    <a:pt x="89" y="8"/>
                  </a:lnTo>
                  <a:lnTo>
                    <a:pt x="74" y="0"/>
                  </a:lnTo>
                  <a:lnTo>
                    <a:pt x="49" y="0"/>
                  </a:lnTo>
                  <a:lnTo>
                    <a:pt x="40" y="15"/>
                  </a:lnTo>
                  <a:lnTo>
                    <a:pt x="34" y="8"/>
                  </a:lnTo>
                  <a:lnTo>
                    <a:pt x="34" y="15"/>
                  </a:lnTo>
                  <a:lnTo>
                    <a:pt x="24" y="15"/>
                  </a:lnTo>
                  <a:lnTo>
                    <a:pt x="9" y="24"/>
                  </a:lnTo>
                  <a:lnTo>
                    <a:pt x="0" y="24"/>
                  </a:lnTo>
                  <a:lnTo>
                    <a:pt x="0" y="40"/>
                  </a:lnTo>
                  <a:lnTo>
                    <a:pt x="9" y="55"/>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13" name="Google Shape;1813;p75"/>
            <p:cNvSpPr/>
            <p:nvPr/>
          </p:nvSpPr>
          <p:spPr>
            <a:xfrm>
              <a:off x="4735513" y="3487738"/>
              <a:ext cx="233362" cy="174625"/>
            </a:xfrm>
            <a:custGeom>
              <a:avLst/>
              <a:gdLst/>
              <a:ahLst/>
              <a:cxnLst/>
              <a:rect l="l" t="t" r="r" b="b"/>
              <a:pathLst>
                <a:path w="122" h="91" extrusionOk="0">
                  <a:moveTo>
                    <a:pt x="15" y="65"/>
                  </a:moveTo>
                  <a:lnTo>
                    <a:pt x="31" y="65"/>
                  </a:lnTo>
                  <a:lnTo>
                    <a:pt x="31" y="74"/>
                  </a:lnTo>
                  <a:lnTo>
                    <a:pt x="40" y="80"/>
                  </a:lnTo>
                  <a:lnTo>
                    <a:pt x="47" y="80"/>
                  </a:lnTo>
                  <a:lnTo>
                    <a:pt x="72" y="90"/>
                  </a:lnTo>
                  <a:lnTo>
                    <a:pt x="89" y="74"/>
                  </a:lnTo>
                  <a:lnTo>
                    <a:pt x="112" y="80"/>
                  </a:lnTo>
                  <a:lnTo>
                    <a:pt x="112" y="74"/>
                  </a:lnTo>
                  <a:lnTo>
                    <a:pt x="121" y="65"/>
                  </a:lnTo>
                  <a:lnTo>
                    <a:pt x="121" y="58"/>
                  </a:lnTo>
                  <a:lnTo>
                    <a:pt x="105" y="58"/>
                  </a:lnTo>
                  <a:lnTo>
                    <a:pt x="105" y="49"/>
                  </a:lnTo>
                  <a:lnTo>
                    <a:pt x="105" y="25"/>
                  </a:lnTo>
                  <a:lnTo>
                    <a:pt x="89" y="0"/>
                  </a:lnTo>
                  <a:lnTo>
                    <a:pt x="80" y="0"/>
                  </a:lnTo>
                  <a:lnTo>
                    <a:pt x="65" y="9"/>
                  </a:lnTo>
                  <a:lnTo>
                    <a:pt x="55" y="9"/>
                  </a:lnTo>
                  <a:lnTo>
                    <a:pt x="31" y="9"/>
                  </a:lnTo>
                  <a:lnTo>
                    <a:pt x="24" y="9"/>
                  </a:lnTo>
                  <a:lnTo>
                    <a:pt x="15" y="40"/>
                  </a:lnTo>
                  <a:lnTo>
                    <a:pt x="0" y="40"/>
                  </a:lnTo>
                  <a:lnTo>
                    <a:pt x="15" y="65"/>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14" name="Google Shape;1814;p75"/>
            <p:cNvSpPr/>
            <p:nvPr/>
          </p:nvSpPr>
          <p:spPr>
            <a:xfrm>
              <a:off x="4735513" y="3721100"/>
              <a:ext cx="155575" cy="127000"/>
            </a:xfrm>
            <a:custGeom>
              <a:avLst/>
              <a:gdLst/>
              <a:ahLst/>
              <a:cxnLst/>
              <a:rect l="l" t="t" r="r" b="b"/>
              <a:pathLst>
                <a:path w="81" h="66" extrusionOk="0">
                  <a:moveTo>
                    <a:pt x="15" y="8"/>
                  </a:moveTo>
                  <a:lnTo>
                    <a:pt x="40" y="0"/>
                  </a:lnTo>
                  <a:lnTo>
                    <a:pt x="55" y="0"/>
                  </a:lnTo>
                  <a:lnTo>
                    <a:pt x="72" y="8"/>
                  </a:lnTo>
                  <a:lnTo>
                    <a:pt x="80" y="0"/>
                  </a:lnTo>
                  <a:lnTo>
                    <a:pt x="72" y="17"/>
                  </a:lnTo>
                  <a:lnTo>
                    <a:pt x="55" y="8"/>
                  </a:lnTo>
                  <a:lnTo>
                    <a:pt x="47" y="17"/>
                  </a:lnTo>
                  <a:lnTo>
                    <a:pt x="47" y="24"/>
                  </a:lnTo>
                  <a:lnTo>
                    <a:pt x="40" y="24"/>
                  </a:lnTo>
                  <a:lnTo>
                    <a:pt x="31" y="17"/>
                  </a:lnTo>
                  <a:lnTo>
                    <a:pt x="31" y="24"/>
                  </a:lnTo>
                  <a:lnTo>
                    <a:pt x="40" y="40"/>
                  </a:lnTo>
                  <a:lnTo>
                    <a:pt x="55" y="57"/>
                  </a:lnTo>
                  <a:lnTo>
                    <a:pt x="47" y="57"/>
                  </a:lnTo>
                  <a:lnTo>
                    <a:pt x="47" y="65"/>
                  </a:lnTo>
                  <a:lnTo>
                    <a:pt x="31" y="57"/>
                  </a:lnTo>
                  <a:lnTo>
                    <a:pt x="15" y="57"/>
                  </a:lnTo>
                  <a:lnTo>
                    <a:pt x="0" y="33"/>
                  </a:lnTo>
                  <a:lnTo>
                    <a:pt x="15" y="17"/>
                  </a:lnTo>
                  <a:lnTo>
                    <a:pt x="15" y="8"/>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15" name="Google Shape;1815;p75"/>
            <p:cNvSpPr/>
            <p:nvPr/>
          </p:nvSpPr>
          <p:spPr>
            <a:xfrm>
              <a:off x="5106988" y="3938588"/>
              <a:ext cx="34925" cy="52387"/>
            </a:xfrm>
            <a:custGeom>
              <a:avLst/>
              <a:gdLst/>
              <a:ahLst/>
              <a:cxnLst/>
              <a:rect l="l" t="t" r="r" b="b"/>
              <a:pathLst>
                <a:path w="18" h="26" extrusionOk="0">
                  <a:moveTo>
                    <a:pt x="8" y="25"/>
                  </a:moveTo>
                  <a:lnTo>
                    <a:pt x="0" y="25"/>
                  </a:lnTo>
                  <a:lnTo>
                    <a:pt x="8" y="0"/>
                  </a:lnTo>
                  <a:lnTo>
                    <a:pt x="17" y="8"/>
                  </a:lnTo>
                  <a:lnTo>
                    <a:pt x="8" y="25"/>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16" name="Google Shape;1816;p75"/>
            <p:cNvSpPr/>
            <p:nvPr/>
          </p:nvSpPr>
          <p:spPr>
            <a:xfrm>
              <a:off x="5106988" y="3938588"/>
              <a:ext cx="34925" cy="52387"/>
            </a:xfrm>
            <a:custGeom>
              <a:avLst/>
              <a:gdLst/>
              <a:ahLst/>
              <a:cxnLst/>
              <a:rect l="l" t="t" r="r" b="b"/>
              <a:pathLst>
                <a:path w="18" h="26" extrusionOk="0">
                  <a:moveTo>
                    <a:pt x="8" y="25"/>
                  </a:moveTo>
                  <a:lnTo>
                    <a:pt x="0" y="25"/>
                  </a:lnTo>
                  <a:lnTo>
                    <a:pt x="8" y="0"/>
                  </a:lnTo>
                  <a:lnTo>
                    <a:pt x="17" y="8"/>
                  </a:lnTo>
                  <a:lnTo>
                    <a:pt x="8" y="25"/>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17" name="Google Shape;1817;p75"/>
            <p:cNvSpPr/>
            <p:nvPr/>
          </p:nvSpPr>
          <p:spPr>
            <a:xfrm>
              <a:off x="4068763" y="3070225"/>
              <a:ext cx="33337" cy="50800"/>
            </a:xfrm>
            <a:custGeom>
              <a:avLst/>
              <a:gdLst/>
              <a:ahLst/>
              <a:cxnLst/>
              <a:rect l="l" t="t" r="r" b="b"/>
              <a:pathLst>
                <a:path w="17" h="26" extrusionOk="0">
                  <a:moveTo>
                    <a:pt x="0" y="25"/>
                  </a:moveTo>
                  <a:lnTo>
                    <a:pt x="7" y="10"/>
                  </a:lnTo>
                  <a:lnTo>
                    <a:pt x="16" y="0"/>
                  </a:lnTo>
                  <a:lnTo>
                    <a:pt x="0" y="10"/>
                  </a:lnTo>
                  <a:lnTo>
                    <a:pt x="0" y="25"/>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18" name="Google Shape;1818;p75"/>
            <p:cNvSpPr/>
            <p:nvPr/>
          </p:nvSpPr>
          <p:spPr>
            <a:xfrm>
              <a:off x="4068763" y="3070225"/>
              <a:ext cx="33337" cy="50800"/>
            </a:xfrm>
            <a:custGeom>
              <a:avLst/>
              <a:gdLst/>
              <a:ahLst/>
              <a:cxnLst/>
              <a:rect l="l" t="t" r="r" b="b"/>
              <a:pathLst>
                <a:path w="17" h="26" extrusionOk="0">
                  <a:moveTo>
                    <a:pt x="0" y="25"/>
                  </a:moveTo>
                  <a:lnTo>
                    <a:pt x="7" y="10"/>
                  </a:lnTo>
                  <a:lnTo>
                    <a:pt x="16" y="0"/>
                  </a:lnTo>
                  <a:lnTo>
                    <a:pt x="0" y="10"/>
                  </a:lnTo>
                  <a:lnTo>
                    <a:pt x="0" y="25"/>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19" name="Google Shape;1819;p75"/>
            <p:cNvSpPr/>
            <p:nvPr/>
          </p:nvSpPr>
          <p:spPr>
            <a:xfrm>
              <a:off x="4486275" y="3195638"/>
              <a:ext cx="31750" cy="33337"/>
            </a:xfrm>
            <a:custGeom>
              <a:avLst/>
              <a:gdLst/>
              <a:ahLst/>
              <a:cxnLst/>
              <a:rect l="l" t="t" r="r" b="b"/>
              <a:pathLst>
                <a:path w="17" h="17" extrusionOk="0">
                  <a:moveTo>
                    <a:pt x="0" y="9"/>
                  </a:moveTo>
                  <a:lnTo>
                    <a:pt x="0" y="16"/>
                  </a:lnTo>
                  <a:lnTo>
                    <a:pt x="16" y="16"/>
                  </a:lnTo>
                  <a:lnTo>
                    <a:pt x="16" y="9"/>
                  </a:lnTo>
                  <a:lnTo>
                    <a:pt x="16" y="0"/>
                  </a:lnTo>
                  <a:lnTo>
                    <a:pt x="0" y="9"/>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20" name="Google Shape;1820;p75"/>
            <p:cNvSpPr/>
            <p:nvPr/>
          </p:nvSpPr>
          <p:spPr>
            <a:xfrm>
              <a:off x="4516438" y="3179763"/>
              <a:ext cx="36512" cy="34925"/>
            </a:xfrm>
            <a:custGeom>
              <a:avLst/>
              <a:gdLst/>
              <a:ahLst/>
              <a:cxnLst/>
              <a:rect l="l" t="t" r="r" b="b"/>
              <a:pathLst>
                <a:path w="19" h="19" extrusionOk="0">
                  <a:moveTo>
                    <a:pt x="0" y="9"/>
                  </a:moveTo>
                  <a:lnTo>
                    <a:pt x="0" y="18"/>
                  </a:lnTo>
                  <a:lnTo>
                    <a:pt x="18" y="18"/>
                  </a:lnTo>
                  <a:lnTo>
                    <a:pt x="18" y="9"/>
                  </a:lnTo>
                  <a:lnTo>
                    <a:pt x="18" y="0"/>
                  </a:lnTo>
                  <a:lnTo>
                    <a:pt x="0" y="9"/>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21" name="Google Shape;1821;p75"/>
            <p:cNvSpPr/>
            <p:nvPr/>
          </p:nvSpPr>
          <p:spPr>
            <a:xfrm>
              <a:off x="4516438" y="3227388"/>
              <a:ext cx="36512" cy="31750"/>
            </a:xfrm>
            <a:custGeom>
              <a:avLst/>
              <a:gdLst/>
              <a:ahLst/>
              <a:cxnLst/>
              <a:rect l="l" t="t" r="r" b="b"/>
              <a:pathLst>
                <a:path w="19" h="17" extrusionOk="0">
                  <a:moveTo>
                    <a:pt x="0" y="0"/>
                  </a:moveTo>
                  <a:lnTo>
                    <a:pt x="0" y="16"/>
                  </a:lnTo>
                  <a:lnTo>
                    <a:pt x="18" y="0"/>
                  </a:lnTo>
                  <a:lnTo>
                    <a:pt x="0" y="0"/>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22" name="Google Shape;1822;p75"/>
            <p:cNvSpPr/>
            <p:nvPr/>
          </p:nvSpPr>
          <p:spPr>
            <a:xfrm>
              <a:off x="4083050" y="3070225"/>
              <a:ext cx="204788" cy="358775"/>
            </a:xfrm>
            <a:custGeom>
              <a:avLst/>
              <a:gdLst/>
              <a:ahLst/>
              <a:cxnLst/>
              <a:rect l="l" t="t" r="r" b="b"/>
              <a:pathLst>
                <a:path w="107" h="188" extrusionOk="0">
                  <a:moveTo>
                    <a:pt x="18" y="187"/>
                  </a:moveTo>
                  <a:lnTo>
                    <a:pt x="24" y="179"/>
                  </a:lnTo>
                  <a:lnTo>
                    <a:pt x="41" y="187"/>
                  </a:lnTo>
                  <a:lnTo>
                    <a:pt x="41" y="179"/>
                  </a:lnTo>
                  <a:lnTo>
                    <a:pt x="49" y="171"/>
                  </a:lnTo>
                  <a:lnTo>
                    <a:pt x="58" y="179"/>
                  </a:lnTo>
                  <a:lnTo>
                    <a:pt x="66" y="171"/>
                  </a:lnTo>
                  <a:lnTo>
                    <a:pt x="98" y="171"/>
                  </a:lnTo>
                  <a:lnTo>
                    <a:pt x="106" y="162"/>
                  </a:lnTo>
                  <a:lnTo>
                    <a:pt x="90" y="162"/>
                  </a:lnTo>
                  <a:lnTo>
                    <a:pt x="106" y="138"/>
                  </a:lnTo>
                  <a:lnTo>
                    <a:pt x="98" y="131"/>
                  </a:lnTo>
                  <a:lnTo>
                    <a:pt x="90" y="131"/>
                  </a:lnTo>
                  <a:lnTo>
                    <a:pt x="81" y="131"/>
                  </a:lnTo>
                  <a:lnTo>
                    <a:pt x="90" y="122"/>
                  </a:lnTo>
                  <a:lnTo>
                    <a:pt x="90" y="115"/>
                  </a:lnTo>
                  <a:lnTo>
                    <a:pt x="81" y="97"/>
                  </a:lnTo>
                  <a:lnTo>
                    <a:pt x="74" y="91"/>
                  </a:lnTo>
                  <a:lnTo>
                    <a:pt x="58" y="66"/>
                  </a:lnTo>
                  <a:lnTo>
                    <a:pt x="41" y="57"/>
                  </a:lnTo>
                  <a:lnTo>
                    <a:pt x="66" y="25"/>
                  </a:lnTo>
                  <a:lnTo>
                    <a:pt x="58" y="17"/>
                  </a:lnTo>
                  <a:lnTo>
                    <a:pt x="33" y="25"/>
                  </a:lnTo>
                  <a:lnTo>
                    <a:pt x="33" y="10"/>
                  </a:lnTo>
                  <a:lnTo>
                    <a:pt x="49" y="0"/>
                  </a:lnTo>
                  <a:lnTo>
                    <a:pt x="41" y="0"/>
                  </a:lnTo>
                  <a:lnTo>
                    <a:pt x="24" y="0"/>
                  </a:lnTo>
                  <a:lnTo>
                    <a:pt x="9" y="25"/>
                  </a:lnTo>
                  <a:lnTo>
                    <a:pt x="0" y="25"/>
                  </a:lnTo>
                  <a:lnTo>
                    <a:pt x="9" y="33"/>
                  </a:lnTo>
                  <a:lnTo>
                    <a:pt x="18" y="33"/>
                  </a:lnTo>
                  <a:lnTo>
                    <a:pt x="9" y="50"/>
                  </a:lnTo>
                  <a:lnTo>
                    <a:pt x="18" y="50"/>
                  </a:lnTo>
                  <a:lnTo>
                    <a:pt x="18" y="57"/>
                  </a:lnTo>
                  <a:lnTo>
                    <a:pt x="9" y="66"/>
                  </a:lnTo>
                  <a:lnTo>
                    <a:pt x="18" y="66"/>
                  </a:lnTo>
                  <a:lnTo>
                    <a:pt x="24" y="75"/>
                  </a:lnTo>
                  <a:lnTo>
                    <a:pt x="18" y="82"/>
                  </a:lnTo>
                  <a:lnTo>
                    <a:pt x="24" y="91"/>
                  </a:lnTo>
                  <a:lnTo>
                    <a:pt x="41" y="82"/>
                  </a:lnTo>
                  <a:lnTo>
                    <a:pt x="41" y="91"/>
                  </a:lnTo>
                  <a:lnTo>
                    <a:pt x="41" y="97"/>
                  </a:lnTo>
                  <a:lnTo>
                    <a:pt x="49" y="97"/>
                  </a:lnTo>
                  <a:lnTo>
                    <a:pt x="49" y="115"/>
                  </a:lnTo>
                  <a:lnTo>
                    <a:pt x="24" y="115"/>
                  </a:lnTo>
                  <a:lnTo>
                    <a:pt x="33" y="122"/>
                  </a:lnTo>
                  <a:lnTo>
                    <a:pt x="24" y="131"/>
                  </a:lnTo>
                  <a:lnTo>
                    <a:pt x="33" y="131"/>
                  </a:lnTo>
                  <a:lnTo>
                    <a:pt x="33" y="138"/>
                  </a:lnTo>
                  <a:lnTo>
                    <a:pt x="18" y="147"/>
                  </a:lnTo>
                  <a:lnTo>
                    <a:pt x="24" y="156"/>
                  </a:lnTo>
                  <a:lnTo>
                    <a:pt x="33" y="156"/>
                  </a:lnTo>
                  <a:lnTo>
                    <a:pt x="41" y="162"/>
                  </a:lnTo>
                  <a:lnTo>
                    <a:pt x="49" y="156"/>
                  </a:lnTo>
                  <a:lnTo>
                    <a:pt x="49" y="162"/>
                  </a:lnTo>
                  <a:lnTo>
                    <a:pt x="33" y="162"/>
                  </a:lnTo>
                  <a:lnTo>
                    <a:pt x="18" y="187"/>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23" name="Google Shape;1823;p75"/>
            <p:cNvSpPr/>
            <p:nvPr/>
          </p:nvSpPr>
          <p:spPr>
            <a:xfrm>
              <a:off x="4456113" y="3678238"/>
              <a:ext cx="31750" cy="60325"/>
            </a:xfrm>
            <a:custGeom>
              <a:avLst/>
              <a:gdLst/>
              <a:ahLst/>
              <a:cxnLst/>
              <a:rect l="l" t="t" r="r" b="b"/>
              <a:pathLst>
                <a:path w="17" h="32" extrusionOk="0">
                  <a:moveTo>
                    <a:pt x="0" y="6"/>
                  </a:moveTo>
                  <a:lnTo>
                    <a:pt x="0" y="23"/>
                  </a:lnTo>
                  <a:lnTo>
                    <a:pt x="16" y="31"/>
                  </a:lnTo>
                  <a:lnTo>
                    <a:pt x="16" y="0"/>
                  </a:lnTo>
                  <a:lnTo>
                    <a:pt x="0" y="6"/>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24" name="Google Shape;1824;p75"/>
            <p:cNvSpPr/>
            <p:nvPr/>
          </p:nvSpPr>
          <p:spPr>
            <a:xfrm>
              <a:off x="4438650" y="3736975"/>
              <a:ext cx="49213" cy="80963"/>
            </a:xfrm>
            <a:custGeom>
              <a:avLst/>
              <a:gdLst/>
              <a:ahLst/>
              <a:cxnLst/>
              <a:rect l="l" t="t" r="r" b="b"/>
              <a:pathLst>
                <a:path w="26" h="42" extrusionOk="0">
                  <a:moveTo>
                    <a:pt x="0" y="0"/>
                  </a:moveTo>
                  <a:lnTo>
                    <a:pt x="9" y="32"/>
                  </a:lnTo>
                  <a:lnTo>
                    <a:pt x="9" y="41"/>
                  </a:lnTo>
                  <a:lnTo>
                    <a:pt x="19" y="32"/>
                  </a:lnTo>
                  <a:lnTo>
                    <a:pt x="25" y="9"/>
                  </a:lnTo>
                  <a:lnTo>
                    <a:pt x="19" y="0"/>
                  </a:lnTo>
                  <a:lnTo>
                    <a:pt x="0" y="0"/>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25" name="Google Shape;1825;p75"/>
            <p:cNvSpPr/>
            <p:nvPr/>
          </p:nvSpPr>
          <p:spPr>
            <a:xfrm>
              <a:off x="4551363" y="3830638"/>
              <a:ext cx="77787" cy="49212"/>
            </a:xfrm>
            <a:custGeom>
              <a:avLst/>
              <a:gdLst/>
              <a:ahLst/>
              <a:cxnLst/>
              <a:rect l="l" t="t" r="r" b="b"/>
              <a:pathLst>
                <a:path w="41" h="26" extrusionOk="0">
                  <a:moveTo>
                    <a:pt x="0" y="0"/>
                  </a:moveTo>
                  <a:lnTo>
                    <a:pt x="0" y="8"/>
                  </a:lnTo>
                  <a:lnTo>
                    <a:pt x="32" y="25"/>
                  </a:lnTo>
                  <a:lnTo>
                    <a:pt x="40" y="0"/>
                  </a:lnTo>
                  <a:lnTo>
                    <a:pt x="23" y="0"/>
                  </a:lnTo>
                  <a:lnTo>
                    <a:pt x="7" y="0"/>
                  </a:lnTo>
                  <a:lnTo>
                    <a:pt x="0" y="0"/>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26" name="Google Shape;1826;p75"/>
            <p:cNvSpPr/>
            <p:nvPr/>
          </p:nvSpPr>
          <p:spPr>
            <a:xfrm>
              <a:off x="4764088" y="3830638"/>
              <a:ext cx="50800" cy="49212"/>
            </a:xfrm>
            <a:custGeom>
              <a:avLst/>
              <a:gdLst/>
              <a:ahLst/>
              <a:cxnLst/>
              <a:rect l="l" t="t" r="r" b="b"/>
              <a:pathLst>
                <a:path w="26" h="26" extrusionOk="0">
                  <a:moveTo>
                    <a:pt x="0" y="8"/>
                  </a:moveTo>
                  <a:lnTo>
                    <a:pt x="9" y="8"/>
                  </a:lnTo>
                  <a:lnTo>
                    <a:pt x="9" y="25"/>
                  </a:lnTo>
                  <a:lnTo>
                    <a:pt x="16" y="25"/>
                  </a:lnTo>
                  <a:lnTo>
                    <a:pt x="25" y="25"/>
                  </a:lnTo>
                  <a:lnTo>
                    <a:pt x="16" y="8"/>
                  </a:lnTo>
                  <a:lnTo>
                    <a:pt x="25" y="16"/>
                  </a:lnTo>
                  <a:lnTo>
                    <a:pt x="25" y="8"/>
                  </a:lnTo>
                  <a:lnTo>
                    <a:pt x="9" y="0"/>
                  </a:lnTo>
                  <a:lnTo>
                    <a:pt x="0" y="8"/>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27" name="Google Shape;1827;p75"/>
            <p:cNvSpPr/>
            <p:nvPr/>
          </p:nvSpPr>
          <p:spPr>
            <a:xfrm>
              <a:off x="5026025" y="3906838"/>
              <a:ext cx="68263" cy="34925"/>
            </a:xfrm>
            <a:custGeom>
              <a:avLst/>
              <a:gdLst/>
              <a:ahLst/>
              <a:cxnLst/>
              <a:rect l="l" t="t" r="r" b="b"/>
              <a:pathLst>
                <a:path w="35" h="18" extrusionOk="0">
                  <a:moveTo>
                    <a:pt x="0" y="8"/>
                  </a:moveTo>
                  <a:lnTo>
                    <a:pt x="10" y="17"/>
                  </a:lnTo>
                  <a:lnTo>
                    <a:pt x="18" y="17"/>
                  </a:lnTo>
                  <a:lnTo>
                    <a:pt x="25" y="8"/>
                  </a:lnTo>
                  <a:lnTo>
                    <a:pt x="34" y="0"/>
                  </a:lnTo>
                  <a:lnTo>
                    <a:pt x="0" y="8"/>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28" name="Google Shape;1828;p75"/>
            <p:cNvSpPr/>
            <p:nvPr/>
          </p:nvSpPr>
          <p:spPr>
            <a:xfrm>
              <a:off x="4302125" y="3768725"/>
              <a:ext cx="31750" cy="31750"/>
            </a:xfrm>
            <a:custGeom>
              <a:avLst/>
              <a:gdLst/>
              <a:ahLst/>
              <a:cxnLst/>
              <a:rect l="l" t="t" r="r" b="b"/>
              <a:pathLst>
                <a:path w="17" h="17" extrusionOk="0">
                  <a:moveTo>
                    <a:pt x="0" y="9"/>
                  </a:moveTo>
                  <a:lnTo>
                    <a:pt x="6" y="16"/>
                  </a:lnTo>
                  <a:lnTo>
                    <a:pt x="16" y="9"/>
                  </a:lnTo>
                  <a:lnTo>
                    <a:pt x="6" y="0"/>
                  </a:lnTo>
                  <a:lnTo>
                    <a:pt x="0" y="9"/>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29" name="Google Shape;1829;p75"/>
            <p:cNvSpPr/>
            <p:nvPr/>
          </p:nvSpPr>
          <p:spPr>
            <a:xfrm>
              <a:off x="4719638" y="3689350"/>
              <a:ext cx="47625" cy="98425"/>
            </a:xfrm>
            <a:custGeom>
              <a:avLst/>
              <a:gdLst/>
              <a:ahLst/>
              <a:cxnLst/>
              <a:rect l="l" t="t" r="r" b="b"/>
              <a:pathLst>
                <a:path w="25" h="51" extrusionOk="0">
                  <a:moveTo>
                    <a:pt x="0" y="0"/>
                  </a:moveTo>
                  <a:lnTo>
                    <a:pt x="9" y="0"/>
                  </a:lnTo>
                  <a:lnTo>
                    <a:pt x="15" y="9"/>
                  </a:lnTo>
                  <a:lnTo>
                    <a:pt x="15" y="17"/>
                  </a:lnTo>
                  <a:lnTo>
                    <a:pt x="24" y="25"/>
                  </a:lnTo>
                  <a:lnTo>
                    <a:pt x="24" y="34"/>
                  </a:lnTo>
                  <a:lnTo>
                    <a:pt x="9" y="50"/>
                  </a:lnTo>
                  <a:lnTo>
                    <a:pt x="0" y="41"/>
                  </a:lnTo>
                  <a:lnTo>
                    <a:pt x="0" y="9"/>
                  </a:lnTo>
                  <a:lnTo>
                    <a:pt x="0" y="0"/>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30" name="Google Shape;1830;p75"/>
            <p:cNvSpPr/>
            <p:nvPr/>
          </p:nvSpPr>
          <p:spPr>
            <a:xfrm>
              <a:off x="4795838" y="3630613"/>
              <a:ext cx="157162" cy="107950"/>
            </a:xfrm>
            <a:custGeom>
              <a:avLst/>
              <a:gdLst/>
              <a:ahLst/>
              <a:cxnLst/>
              <a:rect l="l" t="t" r="r" b="b"/>
              <a:pathLst>
                <a:path w="82" h="57" extrusionOk="0">
                  <a:moveTo>
                    <a:pt x="81" y="6"/>
                  </a:moveTo>
                  <a:lnTo>
                    <a:pt x="81" y="16"/>
                  </a:lnTo>
                  <a:lnTo>
                    <a:pt x="74" y="16"/>
                  </a:lnTo>
                  <a:lnTo>
                    <a:pt x="66" y="31"/>
                  </a:lnTo>
                  <a:lnTo>
                    <a:pt x="74" y="40"/>
                  </a:lnTo>
                  <a:lnTo>
                    <a:pt x="58" y="40"/>
                  </a:lnTo>
                  <a:lnTo>
                    <a:pt x="49" y="48"/>
                  </a:lnTo>
                  <a:lnTo>
                    <a:pt x="41" y="56"/>
                  </a:lnTo>
                  <a:lnTo>
                    <a:pt x="24" y="48"/>
                  </a:lnTo>
                  <a:lnTo>
                    <a:pt x="9" y="48"/>
                  </a:lnTo>
                  <a:lnTo>
                    <a:pt x="9" y="40"/>
                  </a:lnTo>
                  <a:lnTo>
                    <a:pt x="0" y="31"/>
                  </a:lnTo>
                  <a:lnTo>
                    <a:pt x="9" y="25"/>
                  </a:lnTo>
                  <a:lnTo>
                    <a:pt x="0" y="6"/>
                  </a:lnTo>
                  <a:lnTo>
                    <a:pt x="0" y="0"/>
                  </a:lnTo>
                  <a:lnTo>
                    <a:pt x="9" y="6"/>
                  </a:lnTo>
                  <a:lnTo>
                    <a:pt x="16" y="6"/>
                  </a:lnTo>
                  <a:lnTo>
                    <a:pt x="41" y="16"/>
                  </a:lnTo>
                  <a:lnTo>
                    <a:pt x="58" y="0"/>
                  </a:lnTo>
                  <a:lnTo>
                    <a:pt x="81" y="6"/>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31" name="Google Shape;1831;p75"/>
            <p:cNvSpPr/>
            <p:nvPr/>
          </p:nvSpPr>
          <p:spPr>
            <a:xfrm>
              <a:off x="4641850" y="3475038"/>
              <a:ext cx="155575" cy="109537"/>
            </a:xfrm>
            <a:custGeom>
              <a:avLst/>
              <a:gdLst/>
              <a:ahLst/>
              <a:cxnLst/>
              <a:rect l="l" t="t" r="r" b="b"/>
              <a:pathLst>
                <a:path w="82" h="57" extrusionOk="0">
                  <a:moveTo>
                    <a:pt x="33" y="56"/>
                  </a:moveTo>
                  <a:lnTo>
                    <a:pt x="50" y="47"/>
                  </a:lnTo>
                  <a:lnTo>
                    <a:pt x="65" y="47"/>
                  </a:lnTo>
                  <a:lnTo>
                    <a:pt x="74" y="16"/>
                  </a:lnTo>
                  <a:lnTo>
                    <a:pt x="81" y="16"/>
                  </a:lnTo>
                  <a:lnTo>
                    <a:pt x="74" y="7"/>
                  </a:lnTo>
                  <a:lnTo>
                    <a:pt x="56" y="0"/>
                  </a:lnTo>
                  <a:lnTo>
                    <a:pt x="25" y="16"/>
                  </a:lnTo>
                  <a:lnTo>
                    <a:pt x="10" y="16"/>
                  </a:lnTo>
                  <a:lnTo>
                    <a:pt x="0" y="32"/>
                  </a:lnTo>
                  <a:lnTo>
                    <a:pt x="0" y="40"/>
                  </a:lnTo>
                  <a:lnTo>
                    <a:pt x="25" y="56"/>
                  </a:lnTo>
                  <a:lnTo>
                    <a:pt x="33" y="56"/>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32" name="Google Shape;1832;p75"/>
            <p:cNvSpPr/>
            <p:nvPr/>
          </p:nvSpPr>
          <p:spPr>
            <a:xfrm>
              <a:off x="4578350" y="3536950"/>
              <a:ext cx="65088" cy="47625"/>
            </a:xfrm>
            <a:custGeom>
              <a:avLst/>
              <a:gdLst/>
              <a:ahLst/>
              <a:cxnLst/>
              <a:rect l="l" t="t" r="r" b="b"/>
              <a:pathLst>
                <a:path w="33" h="25" extrusionOk="0">
                  <a:moveTo>
                    <a:pt x="32" y="8"/>
                  </a:moveTo>
                  <a:lnTo>
                    <a:pt x="25" y="8"/>
                  </a:lnTo>
                  <a:lnTo>
                    <a:pt x="17" y="24"/>
                  </a:lnTo>
                  <a:lnTo>
                    <a:pt x="8" y="24"/>
                  </a:lnTo>
                  <a:lnTo>
                    <a:pt x="0" y="24"/>
                  </a:lnTo>
                  <a:lnTo>
                    <a:pt x="0" y="15"/>
                  </a:lnTo>
                  <a:lnTo>
                    <a:pt x="0" y="8"/>
                  </a:lnTo>
                  <a:lnTo>
                    <a:pt x="32" y="0"/>
                  </a:lnTo>
                  <a:lnTo>
                    <a:pt x="32" y="8"/>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33" name="Google Shape;1833;p75"/>
            <p:cNvSpPr/>
            <p:nvPr/>
          </p:nvSpPr>
          <p:spPr>
            <a:xfrm>
              <a:off x="4578350" y="3552825"/>
              <a:ext cx="142875" cy="138113"/>
            </a:xfrm>
            <a:custGeom>
              <a:avLst/>
              <a:gdLst/>
              <a:ahLst/>
              <a:cxnLst/>
              <a:rect l="l" t="t" r="r" b="b"/>
              <a:pathLst>
                <a:path w="74" h="73" extrusionOk="0">
                  <a:moveTo>
                    <a:pt x="32" y="0"/>
                  </a:moveTo>
                  <a:lnTo>
                    <a:pt x="57" y="16"/>
                  </a:lnTo>
                  <a:lnTo>
                    <a:pt x="65" y="16"/>
                  </a:lnTo>
                  <a:lnTo>
                    <a:pt x="73" y="25"/>
                  </a:lnTo>
                  <a:lnTo>
                    <a:pt x="73" y="32"/>
                  </a:lnTo>
                  <a:lnTo>
                    <a:pt x="65" y="32"/>
                  </a:lnTo>
                  <a:lnTo>
                    <a:pt x="65" y="25"/>
                  </a:lnTo>
                  <a:lnTo>
                    <a:pt x="42" y="16"/>
                  </a:lnTo>
                  <a:lnTo>
                    <a:pt x="32" y="25"/>
                  </a:lnTo>
                  <a:lnTo>
                    <a:pt x="32" y="16"/>
                  </a:lnTo>
                  <a:lnTo>
                    <a:pt x="25" y="25"/>
                  </a:lnTo>
                  <a:lnTo>
                    <a:pt x="32" y="32"/>
                  </a:lnTo>
                  <a:lnTo>
                    <a:pt x="48" y="57"/>
                  </a:lnTo>
                  <a:lnTo>
                    <a:pt x="57" y="66"/>
                  </a:lnTo>
                  <a:lnTo>
                    <a:pt x="57" y="72"/>
                  </a:lnTo>
                  <a:lnTo>
                    <a:pt x="42" y="57"/>
                  </a:lnTo>
                  <a:lnTo>
                    <a:pt x="32" y="57"/>
                  </a:lnTo>
                  <a:lnTo>
                    <a:pt x="17" y="41"/>
                  </a:lnTo>
                  <a:lnTo>
                    <a:pt x="17" y="25"/>
                  </a:lnTo>
                  <a:lnTo>
                    <a:pt x="8" y="25"/>
                  </a:lnTo>
                  <a:lnTo>
                    <a:pt x="0" y="32"/>
                  </a:lnTo>
                  <a:lnTo>
                    <a:pt x="0" y="16"/>
                  </a:lnTo>
                  <a:lnTo>
                    <a:pt x="17" y="16"/>
                  </a:lnTo>
                  <a:lnTo>
                    <a:pt x="25" y="0"/>
                  </a:lnTo>
                  <a:lnTo>
                    <a:pt x="32" y="0"/>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34" name="Google Shape;1834;p75"/>
            <p:cNvSpPr/>
            <p:nvPr/>
          </p:nvSpPr>
          <p:spPr>
            <a:xfrm>
              <a:off x="4689475" y="3660775"/>
              <a:ext cx="49213" cy="47625"/>
            </a:xfrm>
            <a:custGeom>
              <a:avLst/>
              <a:gdLst/>
              <a:ahLst/>
              <a:cxnLst/>
              <a:rect l="l" t="t" r="r" b="b"/>
              <a:pathLst>
                <a:path w="26" h="25" extrusionOk="0">
                  <a:moveTo>
                    <a:pt x="0" y="15"/>
                  </a:moveTo>
                  <a:lnTo>
                    <a:pt x="16" y="24"/>
                  </a:lnTo>
                  <a:lnTo>
                    <a:pt x="16" y="15"/>
                  </a:lnTo>
                  <a:lnTo>
                    <a:pt x="25" y="15"/>
                  </a:lnTo>
                  <a:lnTo>
                    <a:pt x="25" y="9"/>
                  </a:lnTo>
                  <a:lnTo>
                    <a:pt x="16" y="0"/>
                  </a:lnTo>
                  <a:lnTo>
                    <a:pt x="8" y="0"/>
                  </a:lnTo>
                  <a:lnTo>
                    <a:pt x="0" y="9"/>
                  </a:lnTo>
                  <a:lnTo>
                    <a:pt x="0" y="15"/>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35" name="Google Shape;1835;p75"/>
            <p:cNvSpPr/>
            <p:nvPr/>
          </p:nvSpPr>
          <p:spPr>
            <a:xfrm>
              <a:off x="4703763" y="3565525"/>
              <a:ext cx="111125" cy="142875"/>
            </a:xfrm>
            <a:custGeom>
              <a:avLst/>
              <a:gdLst/>
              <a:ahLst/>
              <a:cxnLst/>
              <a:rect l="l" t="t" r="r" b="b"/>
              <a:pathLst>
                <a:path w="58" h="75" extrusionOk="0">
                  <a:moveTo>
                    <a:pt x="8" y="25"/>
                  </a:moveTo>
                  <a:lnTo>
                    <a:pt x="8" y="18"/>
                  </a:lnTo>
                  <a:lnTo>
                    <a:pt x="0" y="9"/>
                  </a:lnTo>
                  <a:lnTo>
                    <a:pt x="17" y="0"/>
                  </a:lnTo>
                  <a:lnTo>
                    <a:pt x="32" y="25"/>
                  </a:lnTo>
                  <a:lnTo>
                    <a:pt x="48" y="25"/>
                  </a:lnTo>
                  <a:lnTo>
                    <a:pt x="48" y="34"/>
                  </a:lnTo>
                  <a:lnTo>
                    <a:pt x="48" y="40"/>
                  </a:lnTo>
                  <a:lnTo>
                    <a:pt x="57" y="59"/>
                  </a:lnTo>
                  <a:lnTo>
                    <a:pt x="48" y="65"/>
                  </a:lnTo>
                  <a:lnTo>
                    <a:pt x="32" y="65"/>
                  </a:lnTo>
                  <a:lnTo>
                    <a:pt x="23" y="74"/>
                  </a:lnTo>
                  <a:lnTo>
                    <a:pt x="17" y="65"/>
                  </a:lnTo>
                  <a:lnTo>
                    <a:pt x="17" y="59"/>
                  </a:lnTo>
                  <a:lnTo>
                    <a:pt x="8" y="50"/>
                  </a:lnTo>
                  <a:lnTo>
                    <a:pt x="8" y="25"/>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36" name="Google Shape;1836;p75"/>
            <p:cNvSpPr/>
            <p:nvPr/>
          </p:nvSpPr>
          <p:spPr>
            <a:xfrm>
              <a:off x="4748213" y="3689350"/>
              <a:ext cx="66675" cy="49213"/>
            </a:xfrm>
            <a:custGeom>
              <a:avLst/>
              <a:gdLst/>
              <a:ahLst/>
              <a:cxnLst/>
              <a:rect l="l" t="t" r="r" b="b"/>
              <a:pathLst>
                <a:path w="35" h="26" extrusionOk="0">
                  <a:moveTo>
                    <a:pt x="9" y="25"/>
                  </a:moveTo>
                  <a:lnTo>
                    <a:pt x="0" y="17"/>
                  </a:lnTo>
                  <a:lnTo>
                    <a:pt x="0" y="9"/>
                  </a:lnTo>
                  <a:lnTo>
                    <a:pt x="9" y="0"/>
                  </a:lnTo>
                  <a:lnTo>
                    <a:pt x="25" y="0"/>
                  </a:lnTo>
                  <a:lnTo>
                    <a:pt x="34" y="9"/>
                  </a:lnTo>
                  <a:lnTo>
                    <a:pt x="34" y="17"/>
                  </a:lnTo>
                  <a:lnTo>
                    <a:pt x="9" y="25"/>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37" name="Google Shape;1837;p75"/>
            <p:cNvSpPr/>
            <p:nvPr/>
          </p:nvSpPr>
          <p:spPr>
            <a:xfrm>
              <a:off x="4625975" y="3582988"/>
              <a:ext cx="95250" cy="96837"/>
            </a:xfrm>
            <a:custGeom>
              <a:avLst/>
              <a:gdLst/>
              <a:ahLst/>
              <a:cxnLst/>
              <a:rect l="l" t="t" r="r" b="b"/>
              <a:pathLst>
                <a:path w="49" h="51" extrusionOk="0">
                  <a:moveTo>
                    <a:pt x="7" y="16"/>
                  </a:moveTo>
                  <a:lnTo>
                    <a:pt x="23" y="41"/>
                  </a:lnTo>
                  <a:lnTo>
                    <a:pt x="32" y="50"/>
                  </a:lnTo>
                  <a:lnTo>
                    <a:pt x="40" y="41"/>
                  </a:lnTo>
                  <a:lnTo>
                    <a:pt x="48" y="41"/>
                  </a:lnTo>
                  <a:lnTo>
                    <a:pt x="48" y="16"/>
                  </a:lnTo>
                  <a:lnTo>
                    <a:pt x="40" y="16"/>
                  </a:lnTo>
                  <a:lnTo>
                    <a:pt x="40" y="9"/>
                  </a:lnTo>
                  <a:lnTo>
                    <a:pt x="17" y="0"/>
                  </a:lnTo>
                  <a:lnTo>
                    <a:pt x="7" y="9"/>
                  </a:lnTo>
                  <a:lnTo>
                    <a:pt x="7" y="0"/>
                  </a:lnTo>
                  <a:lnTo>
                    <a:pt x="0" y="9"/>
                  </a:lnTo>
                  <a:lnTo>
                    <a:pt x="7" y="16"/>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38" name="Google Shape;1838;p75"/>
            <p:cNvSpPr/>
            <p:nvPr/>
          </p:nvSpPr>
          <p:spPr>
            <a:xfrm>
              <a:off x="4533900" y="3379788"/>
              <a:ext cx="171450" cy="96837"/>
            </a:xfrm>
            <a:custGeom>
              <a:avLst/>
              <a:gdLst/>
              <a:ahLst/>
              <a:cxnLst/>
              <a:rect l="l" t="t" r="r" b="b"/>
              <a:pathLst>
                <a:path w="90" h="51" extrusionOk="0">
                  <a:moveTo>
                    <a:pt x="89" y="34"/>
                  </a:moveTo>
                  <a:lnTo>
                    <a:pt x="72" y="17"/>
                  </a:lnTo>
                  <a:lnTo>
                    <a:pt x="66" y="17"/>
                  </a:lnTo>
                  <a:lnTo>
                    <a:pt x="49" y="9"/>
                  </a:lnTo>
                  <a:lnTo>
                    <a:pt x="41" y="0"/>
                  </a:lnTo>
                  <a:lnTo>
                    <a:pt x="32" y="0"/>
                  </a:lnTo>
                  <a:lnTo>
                    <a:pt x="16" y="9"/>
                  </a:lnTo>
                  <a:lnTo>
                    <a:pt x="0" y="17"/>
                  </a:lnTo>
                  <a:lnTo>
                    <a:pt x="9" y="34"/>
                  </a:lnTo>
                  <a:lnTo>
                    <a:pt x="24" y="50"/>
                  </a:lnTo>
                  <a:lnTo>
                    <a:pt x="41" y="50"/>
                  </a:lnTo>
                  <a:lnTo>
                    <a:pt x="41" y="42"/>
                  </a:lnTo>
                  <a:lnTo>
                    <a:pt x="66" y="50"/>
                  </a:lnTo>
                  <a:lnTo>
                    <a:pt x="89" y="34"/>
                  </a:lnTo>
                </a:path>
              </a:pathLst>
            </a:custGeom>
            <a:solidFill>
              <a:schemeClr val="dk2"/>
            </a:solidFill>
            <a:ln w="952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39" name="Google Shape;1839;p75"/>
            <p:cNvSpPr/>
            <p:nvPr/>
          </p:nvSpPr>
          <p:spPr>
            <a:xfrm>
              <a:off x="4884738" y="3475038"/>
              <a:ext cx="104775" cy="119062"/>
            </a:xfrm>
            <a:custGeom>
              <a:avLst/>
              <a:gdLst/>
              <a:ahLst/>
              <a:cxnLst/>
              <a:rect l="l" t="t" r="r" b="b"/>
              <a:pathLst>
                <a:path w="53" h="60" extrusionOk="0">
                  <a:moveTo>
                    <a:pt x="36" y="41"/>
                  </a:moveTo>
                  <a:lnTo>
                    <a:pt x="53" y="39"/>
                  </a:lnTo>
                  <a:lnTo>
                    <a:pt x="44" y="18"/>
                  </a:lnTo>
                  <a:lnTo>
                    <a:pt x="45" y="5"/>
                  </a:lnTo>
                  <a:lnTo>
                    <a:pt x="18" y="0"/>
                  </a:lnTo>
                  <a:lnTo>
                    <a:pt x="0" y="9"/>
                  </a:lnTo>
                  <a:lnTo>
                    <a:pt x="12" y="11"/>
                  </a:lnTo>
                  <a:lnTo>
                    <a:pt x="26" y="36"/>
                  </a:lnTo>
                  <a:lnTo>
                    <a:pt x="27" y="60"/>
                  </a:lnTo>
                  <a:lnTo>
                    <a:pt x="36" y="41"/>
                  </a:ln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pic>
        <p:nvPicPr>
          <p:cNvPr id="1840" name="Google Shape;1840;p75"/>
          <p:cNvPicPr preferRelativeResize="0"/>
          <p:nvPr/>
        </p:nvPicPr>
        <p:blipFill rotWithShape="1">
          <a:blip r:embed="rId11">
            <a:alphaModFix/>
          </a:blip>
          <a:srcRect t="12724" r="23399"/>
          <a:stretch/>
        </p:blipFill>
        <p:spPr>
          <a:xfrm>
            <a:off x="9369804" y="4735513"/>
            <a:ext cx="2096407" cy="1448048"/>
          </a:xfrm>
          <a:prstGeom prst="rect">
            <a:avLst/>
          </a:prstGeom>
          <a:noFill/>
          <a:ln>
            <a:noFill/>
          </a:ln>
        </p:spPr>
      </p:pic>
      <p:sp>
        <p:nvSpPr>
          <p:cNvPr id="1841" name="Google Shape;1841;p75"/>
          <p:cNvSpPr/>
          <p:nvPr/>
        </p:nvSpPr>
        <p:spPr>
          <a:xfrm>
            <a:off x="9291778" y="5392149"/>
            <a:ext cx="977637" cy="325933"/>
          </a:xfrm>
          <a:prstGeom prst="rect">
            <a:avLst/>
          </a:prstGeom>
          <a:solidFill>
            <a:schemeClr val="dk2"/>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0" i="0" u="none" strike="noStrike" cap="none">
                <a:solidFill>
                  <a:schemeClr val="lt1"/>
                </a:solidFill>
                <a:latin typeface="Arial"/>
                <a:ea typeface="Arial"/>
                <a:cs typeface="Arial"/>
                <a:sym typeface="Arial"/>
              </a:rPr>
              <a:t>Competitor 1</a:t>
            </a:r>
            <a:endParaRPr sz="1400" b="0" i="0" u="none" strike="noStrike" cap="none">
              <a:solidFill>
                <a:srgbClr val="000000"/>
              </a:solidFill>
              <a:latin typeface="Arial"/>
              <a:ea typeface="Arial"/>
              <a:cs typeface="Arial"/>
              <a:sym typeface="Arial"/>
            </a:endParaRPr>
          </a:p>
        </p:txBody>
      </p:sp>
      <p:sp>
        <p:nvSpPr>
          <p:cNvPr id="1842" name="Google Shape;1842;p75"/>
          <p:cNvSpPr/>
          <p:nvPr/>
        </p:nvSpPr>
        <p:spPr>
          <a:xfrm>
            <a:off x="9291778" y="5773641"/>
            <a:ext cx="977637" cy="325933"/>
          </a:xfrm>
          <a:prstGeom prst="rect">
            <a:avLst/>
          </a:prstGeom>
          <a:solidFill>
            <a:schemeClr val="dk2"/>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0" i="0" u="none" strike="noStrike" cap="none">
                <a:solidFill>
                  <a:schemeClr val="lt1"/>
                </a:solidFill>
                <a:latin typeface="Arial"/>
                <a:ea typeface="Arial"/>
                <a:cs typeface="Arial"/>
                <a:sym typeface="Arial"/>
              </a:rPr>
              <a:t>Competitor 2</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846"/>
        <p:cNvGrpSpPr/>
        <p:nvPr/>
      </p:nvGrpSpPr>
      <p:grpSpPr>
        <a:xfrm>
          <a:off x="0" y="0"/>
          <a:ext cx="0" cy="0"/>
          <a:chOff x="0" y="0"/>
          <a:chExt cx="0" cy="0"/>
        </a:xfrm>
      </p:grpSpPr>
      <p:pic>
        <p:nvPicPr>
          <p:cNvPr id="1847" name="Google Shape;1847;p13"/>
          <p:cNvPicPr preferRelativeResize="0"/>
          <p:nvPr/>
        </p:nvPicPr>
        <p:blipFill rotWithShape="1">
          <a:blip r:embed="rId3">
            <a:alphaModFix/>
          </a:blip>
          <a:srcRect/>
          <a:stretch/>
        </p:blipFill>
        <p:spPr>
          <a:xfrm>
            <a:off x="1" y="0"/>
            <a:ext cx="3449255" cy="6858000"/>
          </a:xfrm>
          <a:prstGeom prst="rect">
            <a:avLst/>
          </a:prstGeom>
          <a:noFill/>
          <a:ln>
            <a:noFill/>
          </a:ln>
        </p:spPr>
      </p:pic>
      <p:sp>
        <p:nvSpPr>
          <p:cNvPr id="1848" name="Google Shape;1848;p13"/>
          <p:cNvSpPr/>
          <p:nvPr/>
        </p:nvSpPr>
        <p:spPr>
          <a:xfrm>
            <a:off x="0" y="-1"/>
            <a:ext cx="3460830" cy="6857999"/>
          </a:xfrm>
          <a:prstGeom prst="rect">
            <a:avLst/>
          </a:prstGeom>
          <a:gradFill>
            <a:gsLst>
              <a:gs pos="0">
                <a:srgbClr val="062379"/>
              </a:gs>
              <a:gs pos="55000">
                <a:srgbClr val="0F47F2">
                  <a:alpha val="67843"/>
                </a:srgbClr>
              </a:gs>
              <a:gs pos="76000">
                <a:srgbClr val="0F47F2">
                  <a:alpha val="6784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nvGrpSpPr>
          <p:cNvPr id="1849" name="Google Shape;1849;p13"/>
          <p:cNvGrpSpPr/>
          <p:nvPr/>
        </p:nvGrpSpPr>
        <p:grpSpPr>
          <a:xfrm>
            <a:off x="11187826" y="2096983"/>
            <a:ext cx="644875" cy="638649"/>
            <a:chOff x="373784" y="6837540"/>
            <a:chExt cx="578798" cy="581782"/>
          </a:xfrm>
        </p:grpSpPr>
        <p:sp>
          <p:nvSpPr>
            <p:cNvPr id="1850" name="Google Shape;1850;p13"/>
            <p:cNvSpPr/>
            <p:nvPr/>
          </p:nvSpPr>
          <p:spPr>
            <a:xfrm>
              <a:off x="378969" y="6843587"/>
              <a:ext cx="571141" cy="572050"/>
            </a:xfrm>
            <a:custGeom>
              <a:avLst/>
              <a:gdLst/>
              <a:ahLst/>
              <a:cxnLst/>
              <a:rect l="l" t="t" r="r" b="b"/>
              <a:pathLst>
                <a:path w="571141" h="572050" extrusionOk="0">
                  <a:moveTo>
                    <a:pt x="946" y="262566"/>
                  </a:moveTo>
                  <a:lnTo>
                    <a:pt x="3737" y="239629"/>
                  </a:lnTo>
                  <a:lnTo>
                    <a:pt x="8299" y="217289"/>
                  </a:lnTo>
                  <a:lnTo>
                    <a:pt x="14558" y="195618"/>
                  </a:lnTo>
                  <a:lnTo>
                    <a:pt x="22441" y="174690"/>
                  </a:lnTo>
                  <a:lnTo>
                    <a:pt x="31874" y="154579"/>
                  </a:lnTo>
                  <a:lnTo>
                    <a:pt x="42785" y="135359"/>
                  </a:lnTo>
                  <a:lnTo>
                    <a:pt x="55098" y="117102"/>
                  </a:lnTo>
                  <a:lnTo>
                    <a:pt x="68742" y="99882"/>
                  </a:lnTo>
                  <a:lnTo>
                    <a:pt x="83641" y="83774"/>
                  </a:lnTo>
                  <a:lnTo>
                    <a:pt x="99724" y="68851"/>
                  </a:lnTo>
                  <a:lnTo>
                    <a:pt x="116916" y="55186"/>
                  </a:lnTo>
                  <a:lnTo>
                    <a:pt x="135144" y="42852"/>
                  </a:lnTo>
                  <a:lnTo>
                    <a:pt x="154334" y="31925"/>
                  </a:lnTo>
                  <a:lnTo>
                    <a:pt x="174413" y="22477"/>
                  </a:lnTo>
                  <a:lnTo>
                    <a:pt x="195308" y="14581"/>
                  </a:lnTo>
                  <a:lnTo>
                    <a:pt x="216945" y="8312"/>
                  </a:lnTo>
                  <a:lnTo>
                    <a:pt x="239249" y="3743"/>
                  </a:lnTo>
                  <a:lnTo>
                    <a:pt x="262149" y="948"/>
                  </a:lnTo>
                  <a:lnTo>
                    <a:pt x="285570" y="0"/>
                  </a:lnTo>
                  <a:lnTo>
                    <a:pt x="308992" y="948"/>
                  </a:lnTo>
                  <a:lnTo>
                    <a:pt x="331892" y="3743"/>
                  </a:lnTo>
                  <a:lnTo>
                    <a:pt x="354197" y="8312"/>
                  </a:lnTo>
                  <a:lnTo>
                    <a:pt x="375833" y="14581"/>
                  </a:lnTo>
                  <a:lnTo>
                    <a:pt x="396728" y="22477"/>
                  </a:lnTo>
                  <a:lnTo>
                    <a:pt x="416807" y="31925"/>
                  </a:lnTo>
                  <a:lnTo>
                    <a:pt x="435997" y="42853"/>
                  </a:lnTo>
                  <a:lnTo>
                    <a:pt x="454225" y="55186"/>
                  </a:lnTo>
                  <a:lnTo>
                    <a:pt x="471417" y="68851"/>
                  </a:lnTo>
                  <a:lnTo>
                    <a:pt x="487500" y="83774"/>
                  </a:lnTo>
                  <a:lnTo>
                    <a:pt x="502400" y="99882"/>
                  </a:lnTo>
                  <a:lnTo>
                    <a:pt x="516043" y="117102"/>
                  </a:lnTo>
                  <a:lnTo>
                    <a:pt x="528356" y="135359"/>
                  </a:lnTo>
                  <a:lnTo>
                    <a:pt x="539267" y="154579"/>
                  </a:lnTo>
                  <a:lnTo>
                    <a:pt x="548700" y="174691"/>
                  </a:lnTo>
                  <a:lnTo>
                    <a:pt x="556583" y="195618"/>
                  </a:lnTo>
                  <a:lnTo>
                    <a:pt x="562842" y="217289"/>
                  </a:lnTo>
                  <a:lnTo>
                    <a:pt x="567404" y="239630"/>
                  </a:lnTo>
                  <a:lnTo>
                    <a:pt x="570195" y="262566"/>
                  </a:lnTo>
                  <a:lnTo>
                    <a:pt x="571141" y="286024"/>
                  </a:lnTo>
                  <a:lnTo>
                    <a:pt x="570195" y="309483"/>
                  </a:lnTo>
                  <a:lnTo>
                    <a:pt x="567404" y="332420"/>
                  </a:lnTo>
                  <a:lnTo>
                    <a:pt x="562842" y="354760"/>
                  </a:lnTo>
                  <a:lnTo>
                    <a:pt x="556583" y="376431"/>
                  </a:lnTo>
                  <a:lnTo>
                    <a:pt x="548700" y="397359"/>
                  </a:lnTo>
                  <a:lnTo>
                    <a:pt x="539267" y="417470"/>
                  </a:lnTo>
                  <a:lnTo>
                    <a:pt x="528356" y="436690"/>
                  </a:lnTo>
                  <a:lnTo>
                    <a:pt x="516043" y="454947"/>
                  </a:lnTo>
                  <a:lnTo>
                    <a:pt x="502399" y="472167"/>
                  </a:lnTo>
                  <a:lnTo>
                    <a:pt x="487500" y="488275"/>
                  </a:lnTo>
                  <a:lnTo>
                    <a:pt x="471417" y="503198"/>
                  </a:lnTo>
                  <a:lnTo>
                    <a:pt x="454225" y="516863"/>
                  </a:lnTo>
                  <a:lnTo>
                    <a:pt x="435997" y="529197"/>
                  </a:lnTo>
                  <a:lnTo>
                    <a:pt x="416807" y="540124"/>
                  </a:lnTo>
                  <a:lnTo>
                    <a:pt x="396728" y="549572"/>
                  </a:lnTo>
                  <a:lnTo>
                    <a:pt x="375833" y="557468"/>
                  </a:lnTo>
                  <a:lnTo>
                    <a:pt x="354197" y="563737"/>
                  </a:lnTo>
                  <a:lnTo>
                    <a:pt x="331892" y="568306"/>
                  </a:lnTo>
                  <a:lnTo>
                    <a:pt x="308992" y="571101"/>
                  </a:lnTo>
                  <a:lnTo>
                    <a:pt x="285571" y="572050"/>
                  </a:lnTo>
                  <a:lnTo>
                    <a:pt x="262149" y="571101"/>
                  </a:lnTo>
                  <a:lnTo>
                    <a:pt x="239249" y="568306"/>
                  </a:lnTo>
                  <a:lnTo>
                    <a:pt x="216945" y="563737"/>
                  </a:lnTo>
                  <a:lnTo>
                    <a:pt x="195308" y="557468"/>
                  </a:lnTo>
                  <a:lnTo>
                    <a:pt x="174413" y="549572"/>
                  </a:lnTo>
                  <a:lnTo>
                    <a:pt x="154334" y="540124"/>
                  </a:lnTo>
                  <a:lnTo>
                    <a:pt x="135144" y="529197"/>
                  </a:lnTo>
                  <a:lnTo>
                    <a:pt x="116916" y="516863"/>
                  </a:lnTo>
                  <a:lnTo>
                    <a:pt x="99724" y="503198"/>
                  </a:lnTo>
                  <a:lnTo>
                    <a:pt x="83641" y="488275"/>
                  </a:lnTo>
                  <a:lnTo>
                    <a:pt x="68742" y="472167"/>
                  </a:lnTo>
                  <a:lnTo>
                    <a:pt x="55098" y="454947"/>
                  </a:lnTo>
                  <a:lnTo>
                    <a:pt x="42785" y="436690"/>
                  </a:lnTo>
                  <a:lnTo>
                    <a:pt x="31875" y="417470"/>
                  </a:lnTo>
                  <a:lnTo>
                    <a:pt x="22441" y="397359"/>
                  </a:lnTo>
                  <a:lnTo>
                    <a:pt x="14558" y="376431"/>
                  </a:lnTo>
                  <a:lnTo>
                    <a:pt x="8299" y="354760"/>
                  </a:lnTo>
                  <a:lnTo>
                    <a:pt x="3737" y="332420"/>
                  </a:lnTo>
                  <a:lnTo>
                    <a:pt x="946" y="309483"/>
                  </a:lnTo>
                  <a:lnTo>
                    <a:pt x="0" y="286025"/>
                  </a:lnTo>
                  <a:lnTo>
                    <a:pt x="946" y="262566"/>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51" name="Google Shape;1851;p13"/>
            <p:cNvSpPr/>
            <p:nvPr/>
          </p:nvSpPr>
          <p:spPr>
            <a:xfrm>
              <a:off x="458665" y="6923414"/>
              <a:ext cx="409337" cy="409995"/>
            </a:xfrm>
            <a:custGeom>
              <a:avLst/>
              <a:gdLst/>
              <a:ahLst/>
              <a:cxnLst/>
              <a:rect l="l" t="t" r="r" b="b"/>
              <a:pathLst>
                <a:path w="409337" h="409995" extrusionOk="0">
                  <a:moveTo>
                    <a:pt x="5955" y="155688"/>
                  </a:moveTo>
                  <a:lnTo>
                    <a:pt x="10445" y="140178"/>
                  </a:lnTo>
                  <a:lnTo>
                    <a:pt x="16099" y="125197"/>
                  </a:lnTo>
                  <a:lnTo>
                    <a:pt x="14958" y="204853"/>
                  </a:lnTo>
                  <a:lnTo>
                    <a:pt x="15588" y="220429"/>
                  </a:lnTo>
                  <a:lnTo>
                    <a:pt x="17446" y="235662"/>
                  </a:lnTo>
                  <a:lnTo>
                    <a:pt x="20483" y="250503"/>
                  </a:lnTo>
                  <a:lnTo>
                    <a:pt x="24648" y="264902"/>
                  </a:lnTo>
                  <a:lnTo>
                    <a:pt x="29893" y="278810"/>
                  </a:lnTo>
                  <a:lnTo>
                    <a:pt x="36169" y="292178"/>
                  </a:lnTo>
                  <a:lnTo>
                    <a:pt x="43425" y="304956"/>
                  </a:lnTo>
                  <a:lnTo>
                    <a:pt x="51612" y="317096"/>
                  </a:lnTo>
                  <a:lnTo>
                    <a:pt x="60682" y="328547"/>
                  </a:lnTo>
                  <a:lnTo>
                    <a:pt x="70584" y="339261"/>
                  </a:lnTo>
                  <a:lnTo>
                    <a:pt x="81269" y="349189"/>
                  </a:lnTo>
                  <a:lnTo>
                    <a:pt x="92688" y="358281"/>
                  </a:lnTo>
                  <a:lnTo>
                    <a:pt x="104791" y="366487"/>
                  </a:lnTo>
                  <a:lnTo>
                    <a:pt x="117529" y="373760"/>
                  </a:lnTo>
                  <a:lnTo>
                    <a:pt x="130852" y="380048"/>
                  </a:lnTo>
                  <a:lnTo>
                    <a:pt x="144712" y="385304"/>
                  </a:lnTo>
                  <a:lnTo>
                    <a:pt x="159059" y="389478"/>
                  </a:lnTo>
                  <a:lnTo>
                    <a:pt x="173842" y="392520"/>
                  </a:lnTo>
                  <a:lnTo>
                    <a:pt x="189014" y="394381"/>
                  </a:lnTo>
                  <a:lnTo>
                    <a:pt x="204524" y="395013"/>
                  </a:lnTo>
                  <a:lnTo>
                    <a:pt x="220076" y="394381"/>
                  </a:lnTo>
                  <a:lnTo>
                    <a:pt x="235284" y="392520"/>
                  </a:lnTo>
                  <a:lnTo>
                    <a:pt x="250101" y="389478"/>
                  </a:lnTo>
                  <a:lnTo>
                    <a:pt x="264477" y="385304"/>
                  </a:lnTo>
                  <a:lnTo>
                    <a:pt x="278363" y="380048"/>
                  </a:lnTo>
                  <a:lnTo>
                    <a:pt x="291709" y="373760"/>
                  </a:lnTo>
                  <a:lnTo>
                    <a:pt x="304467" y="366487"/>
                  </a:lnTo>
                  <a:lnTo>
                    <a:pt x="316587" y="358281"/>
                  </a:lnTo>
                  <a:lnTo>
                    <a:pt x="328020" y="349189"/>
                  </a:lnTo>
                  <a:lnTo>
                    <a:pt x="338717" y="339261"/>
                  </a:lnTo>
                  <a:lnTo>
                    <a:pt x="348628" y="328547"/>
                  </a:lnTo>
                  <a:lnTo>
                    <a:pt x="357706" y="317096"/>
                  </a:lnTo>
                  <a:lnTo>
                    <a:pt x="365899" y="304956"/>
                  </a:lnTo>
                  <a:lnTo>
                    <a:pt x="373160" y="292178"/>
                  </a:lnTo>
                  <a:lnTo>
                    <a:pt x="379438" y="278810"/>
                  </a:lnTo>
                  <a:lnTo>
                    <a:pt x="384686" y="264902"/>
                  </a:lnTo>
                  <a:lnTo>
                    <a:pt x="388853" y="250503"/>
                  </a:lnTo>
                  <a:lnTo>
                    <a:pt x="391890" y="235662"/>
                  </a:lnTo>
                  <a:lnTo>
                    <a:pt x="393748" y="220429"/>
                  </a:lnTo>
                  <a:lnTo>
                    <a:pt x="394379" y="204853"/>
                  </a:lnTo>
                  <a:lnTo>
                    <a:pt x="393748" y="189318"/>
                  </a:lnTo>
                  <a:lnTo>
                    <a:pt x="391890" y="174122"/>
                  </a:lnTo>
                  <a:lnTo>
                    <a:pt x="388853" y="159314"/>
                  </a:lnTo>
                  <a:lnTo>
                    <a:pt x="384686" y="144945"/>
                  </a:lnTo>
                  <a:lnTo>
                    <a:pt x="379438" y="131063"/>
                  </a:lnTo>
                  <a:lnTo>
                    <a:pt x="373160" y="117718"/>
                  </a:lnTo>
                  <a:lnTo>
                    <a:pt x="365899" y="104959"/>
                  </a:lnTo>
                  <a:lnTo>
                    <a:pt x="357706" y="92837"/>
                  </a:lnTo>
                  <a:lnTo>
                    <a:pt x="348628" y="81399"/>
                  </a:lnTo>
                  <a:lnTo>
                    <a:pt x="338717" y="70697"/>
                  </a:lnTo>
                  <a:lnTo>
                    <a:pt x="328020" y="60779"/>
                  </a:lnTo>
                  <a:lnTo>
                    <a:pt x="316587" y="51695"/>
                  </a:lnTo>
                  <a:lnTo>
                    <a:pt x="304467" y="43495"/>
                  </a:lnTo>
                  <a:lnTo>
                    <a:pt x="291709" y="36227"/>
                  </a:lnTo>
                  <a:lnTo>
                    <a:pt x="278363" y="29942"/>
                  </a:lnTo>
                  <a:lnTo>
                    <a:pt x="264477" y="24688"/>
                  </a:lnTo>
                  <a:lnTo>
                    <a:pt x="250101" y="20516"/>
                  </a:lnTo>
                  <a:lnTo>
                    <a:pt x="235284" y="17474"/>
                  </a:lnTo>
                  <a:lnTo>
                    <a:pt x="220076" y="15613"/>
                  </a:lnTo>
                  <a:lnTo>
                    <a:pt x="204524" y="14982"/>
                  </a:lnTo>
                  <a:lnTo>
                    <a:pt x="189014" y="15613"/>
                  </a:lnTo>
                  <a:lnTo>
                    <a:pt x="173842" y="17474"/>
                  </a:lnTo>
                  <a:lnTo>
                    <a:pt x="159059" y="20516"/>
                  </a:lnTo>
                  <a:lnTo>
                    <a:pt x="144712" y="24688"/>
                  </a:lnTo>
                  <a:lnTo>
                    <a:pt x="130852" y="29942"/>
                  </a:lnTo>
                  <a:lnTo>
                    <a:pt x="117529" y="36227"/>
                  </a:lnTo>
                  <a:lnTo>
                    <a:pt x="104791" y="43495"/>
                  </a:lnTo>
                  <a:lnTo>
                    <a:pt x="92688" y="51695"/>
                  </a:lnTo>
                  <a:lnTo>
                    <a:pt x="81269" y="60779"/>
                  </a:lnTo>
                  <a:lnTo>
                    <a:pt x="70584" y="70697"/>
                  </a:lnTo>
                  <a:lnTo>
                    <a:pt x="60682" y="81399"/>
                  </a:lnTo>
                  <a:lnTo>
                    <a:pt x="51612" y="92837"/>
                  </a:lnTo>
                  <a:lnTo>
                    <a:pt x="43425" y="104959"/>
                  </a:lnTo>
                  <a:lnTo>
                    <a:pt x="36169" y="117718"/>
                  </a:lnTo>
                  <a:lnTo>
                    <a:pt x="29893" y="131063"/>
                  </a:lnTo>
                  <a:lnTo>
                    <a:pt x="24648" y="144945"/>
                  </a:lnTo>
                  <a:lnTo>
                    <a:pt x="30688" y="97031"/>
                  </a:lnTo>
                  <a:lnTo>
                    <a:pt x="39517" y="83953"/>
                  </a:lnTo>
                  <a:lnTo>
                    <a:pt x="49297" y="71616"/>
                  </a:lnTo>
                  <a:lnTo>
                    <a:pt x="59976" y="60073"/>
                  </a:lnTo>
                  <a:lnTo>
                    <a:pt x="71501" y="49376"/>
                  </a:lnTo>
                  <a:lnTo>
                    <a:pt x="83818" y="39580"/>
                  </a:lnTo>
                  <a:lnTo>
                    <a:pt x="96875" y="30738"/>
                  </a:lnTo>
                  <a:lnTo>
                    <a:pt x="110619" y="22902"/>
                  </a:lnTo>
                  <a:lnTo>
                    <a:pt x="124996" y="16125"/>
                  </a:lnTo>
                  <a:lnTo>
                    <a:pt x="139953" y="10462"/>
                  </a:lnTo>
                  <a:lnTo>
                    <a:pt x="155438" y="5964"/>
                  </a:lnTo>
                  <a:lnTo>
                    <a:pt x="171396" y="2686"/>
                  </a:lnTo>
                  <a:lnTo>
                    <a:pt x="187776" y="680"/>
                  </a:lnTo>
                  <a:lnTo>
                    <a:pt x="204524" y="0"/>
                  </a:lnTo>
                  <a:lnTo>
                    <a:pt x="221313" y="680"/>
                  </a:lnTo>
                  <a:lnTo>
                    <a:pt x="237730" y="2686"/>
                  </a:lnTo>
                  <a:lnTo>
                    <a:pt x="253722" y="5964"/>
                  </a:lnTo>
                  <a:lnTo>
                    <a:pt x="269236" y="10462"/>
                  </a:lnTo>
                  <a:lnTo>
                    <a:pt x="284219" y="16125"/>
                  </a:lnTo>
                  <a:lnTo>
                    <a:pt x="298619" y="22902"/>
                  </a:lnTo>
                  <a:lnTo>
                    <a:pt x="312382" y="30738"/>
                  </a:lnTo>
                  <a:lnTo>
                    <a:pt x="325456" y="39580"/>
                  </a:lnTo>
                  <a:lnTo>
                    <a:pt x="337787" y="49376"/>
                  </a:lnTo>
                  <a:lnTo>
                    <a:pt x="349324" y="60073"/>
                  </a:lnTo>
                  <a:lnTo>
                    <a:pt x="360013" y="71616"/>
                  </a:lnTo>
                  <a:lnTo>
                    <a:pt x="369801" y="83953"/>
                  </a:lnTo>
                  <a:lnTo>
                    <a:pt x="378636" y="97031"/>
                  </a:lnTo>
                  <a:lnTo>
                    <a:pt x="386464" y="110797"/>
                  </a:lnTo>
                  <a:lnTo>
                    <a:pt x="393232" y="125197"/>
                  </a:lnTo>
                  <a:lnTo>
                    <a:pt x="398889" y="140178"/>
                  </a:lnTo>
                  <a:lnTo>
                    <a:pt x="403381" y="155688"/>
                  </a:lnTo>
                  <a:lnTo>
                    <a:pt x="406654" y="171672"/>
                  </a:lnTo>
                  <a:lnTo>
                    <a:pt x="408657" y="188078"/>
                  </a:lnTo>
                  <a:lnTo>
                    <a:pt x="409337" y="204853"/>
                  </a:lnTo>
                  <a:lnTo>
                    <a:pt x="408657" y="221669"/>
                  </a:lnTo>
                  <a:lnTo>
                    <a:pt x="406654" y="238112"/>
                  </a:lnTo>
                  <a:lnTo>
                    <a:pt x="403381" y="254130"/>
                  </a:lnTo>
                  <a:lnTo>
                    <a:pt x="398889" y="269669"/>
                  </a:lnTo>
                  <a:lnTo>
                    <a:pt x="393232" y="284676"/>
                  </a:lnTo>
                  <a:lnTo>
                    <a:pt x="386464" y="299099"/>
                  </a:lnTo>
                  <a:lnTo>
                    <a:pt x="378636" y="312884"/>
                  </a:lnTo>
                  <a:lnTo>
                    <a:pt x="369801" y="325979"/>
                  </a:lnTo>
                  <a:lnTo>
                    <a:pt x="360013" y="338331"/>
                  </a:lnTo>
                  <a:lnTo>
                    <a:pt x="349324" y="349886"/>
                  </a:lnTo>
                  <a:lnTo>
                    <a:pt x="337787" y="360592"/>
                  </a:lnTo>
                  <a:lnTo>
                    <a:pt x="325456" y="370396"/>
                  </a:lnTo>
                  <a:lnTo>
                    <a:pt x="312382" y="379244"/>
                  </a:lnTo>
                  <a:lnTo>
                    <a:pt x="298619" y="387085"/>
                  </a:lnTo>
                  <a:lnTo>
                    <a:pt x="284219" y="393865"/>
                  </a:lnTo>
                  <a:lnTo>
                    <a:pt x="269236" y="399530"/>
                  </a:lnTo>
                  <a:lnTo>
                    <a:pt x="253722" y="404029"/>
                  </a:lnTo>
                  <a:lnTo>
                    <a:pt x="237730" y="407308"/>
                  </a:lnTo>
                  <a:lnTo>
                    <a:pt x="221313" y="409314"/>
                  </a:lnTo>
                  <a:lnTo>
                    <a:pt x="204524" y="409995"/>
                  </a:lnTo>
                  <a:lnTo>
                    <a:pt x="187776" y="409314"/>
                  </a:lnTo>
                  <a:lnTo>
                    <a:pt x="171396" y="407308"/>
                  </a:lnTo>
                  <a:lnTo>
                    <a:pt x="155438" y="404029"/>
                  </a:lnTo>
                  <a:lnTo>
                    <a:pt x="139953" y="399530"/>
                  </a:lnTo>
                  <a:lnTo>
                    <a:pt x="124996" y="393865"/>
                  </a:lnTo>
                  <a:lnTo>
                    <a:pt x="110619" y="387085"/>
                  </a:lnTo>
                  <a:lnTo>
                    <a:pt x="96875" y="379244"/>
                  </a:lnTo>
                  <a:lnTo>
                    <a:pt x="83818" y="370396"/>
                  </a:lnTo>
                  <a:lnTo>
                    <a:pt x="71501" y="360592"/>
                  </a:lnTo>
                  <a:lnTo>
                    <a:pt x="59976" y="349886"/>
                  </a:lnTo>
                  <a:lnTo>
                    <a:pt x="49297" y="338331"/>
                  </a:lnTo>
                  <a:lnTo>
                    <a:pt x="39517" y="325979"/>
                  </a:lnTo>
                  <a:lnTo>
                    <a:pt x="30688" y="312884"/>
                  </a:lnTo>
                  <a:lnTo>
                    <a:pt x="22865" y="299099"/>
                  </a:lnTo>
                  <a:lnTo>
                    <a:pt x="16099" y="284676"/>
                  </a:lnTo>
                  <a:lnTo>
                    <a:pt x="10445" y="269669"/>
                  </a:lnTo>
                  <a:lnTo>
                    <a:pt x="5955" y="254130"/>
                  </a:lnTo>
                  <a:lnTo>
                    <a:pt x="2682" y="238112"/>
                  </a:lnTo>
                  <a:lnTo>
                    <a:pt x="679" y="221669"/>
                  </a:lnTo>
                  <a:lnTo>
                    <a:pt x="0" y="204853"/>
                  </a:lnTo>
                  <a:lnTo>
                    <a:pt x="679" y="188078"/>
                  </a:lnTo>
                  <a:lnTo>
                    <a:pt x="2682" y="171672"/>
                  </a:lnTo>
                  <a:lnTo>
                    <a:pt x="5955" y="155688"/>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52" name="Google Shape;1852;p13"/>
            <p:cNvSpPr/>
            <p:nvPr/>
          </p:nvSpPr>
          <p:spPr>
            <a:xfrm>
              <a:off x="473623" y="7020446"/>
              <a:ext cx="15730" cy="107822"/>
            </a:xfrm>
            <a:custGeom>
              <a:avLst/>
              <a:gdLst/>
              <a:ahLst/>
              <a:cxnLst/>
              <a:rect l="l" t="t" r="r" b="b"/>
              <a:pathLst>
                <a:path w="15730" h="107822" extrusionOk="0">
                  <a:moveTo>
                    <a:pt x="7907" y="13765"/>
                  </a:moveTo>
                  <a:lnTo>
                    <a:pt x="15730" y="0"/>
                  </a:lnTo>
                  <a:lnTo>
                    <a:pt x="9690" y="47913"/>
                  </a:lnTo>
                  <a:lnTo>
                    <a:pt x="5525" y="62283"/>
                  </a:lnTo>
                  <a:lnTo>
                    <a:pt x="2488" y="77090"/>
                  </a:lnTo>
                  <a:lnTo>
                    <a:pt x="630" y="92286"/>
                  </a:lnTo>
                  <a:lnTo>
                    <a:pt x="0" y="107822"/>
                  </a:lnTo>
                  <a:lnTo>
                    <a:pt x="1141" y="28165"/>
                  </a:lnTo>
                  <a:lnTo>
                    <a:pt x="7907" y="1376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53" name="Google Shape;1853;p13"/>
            <p:cNvSpPr/>
            <p:nvPr/>
          </p:nvSpPr>
          <p:spPr>
            <a:xfrm>
              <a:off x="465894" y="6930670"/>
              <a:ext cx="394858" cy="394272"/>
            </a:xfrm>
            <a:custGeom>
              <a:avLst/>
              <a:gdLst/>
              <a:ahLst/>
              <a:cxnLst/>
              <a:rect l="l" t="t" r="r" b="b"/>
              <a:pathLst>
                <a:path w="394858" h="394272" extrusionOk="0">
                  <a:moveTo>
                    <a:pt x="654" y="180967"/>
                  </a:moveTo>
                  <a:lnTo>
                    <a:pt x="2584" y="165159"/>
                  </a:lnTo>
                  <a:lnTo>
                    <a:pt x="5737" y="149761"/>
                  </a:lnTo>
                  <a:lnTo>
                    <a:pt x="10065" y="134825"/>
                  </a:lnTo>
                  <a:lnTo>
                    <a:pt x="15514" y="120401"/>
                  </a:lnTo>
                  <a:lnTo>
                    <a:pt x="22036" y="106540"/>
                  </a:lnTo>
                  <a:lnTo>
                    <a:pt x="29579" y="93293"/>
                  </a:lnTo>
                  <a:lnTo>
                    <a:pt x="38092" y="80709"/>
                  </a:lnTo>
                  <a:lnTo>
                    <a:pt x="47524" y="68841"/>
                  </a:lnTo>
                  <a:lnTo>
                    <a:pt x="57825" y="57739"/>
                  </a:lnTo>
                  <a:lnTo>
                    <a:pt x="68944" y="47454"/>
                  </a:lnTo>
                  <a:lnTo>
                    <a:pt x="80830" y="38035"/>
                  </a:lnTo>
                  <a:lnTo>
                    <a:pt x="93431" y="29535"/>
                  </a:lnTo>
                  <a:lnTo>
                    <a:pt x="106699" y="22003"/>
                  </a:lnTo>
                  <a:lnTo>
                    <a:pt x="120580" y="15491"/>
                  </a:lnTo>
                  <a:lnTo>
                    <a:pt x="135026" y="10050"/>
                  </a:lnTo>
                  <a:lnTo>
                    <a:pt x="149984" y="5729"/>
                  </a:lnTo>
                  <a:lnTo>
                    <a:pt x="165405" y="2580"/>
                  </a:lnTo>
                  <a:lnTo>
                    <a:pt x="181236" y="653"/>
                  </a:lnTo>
                  <a:lnTo>
                    <a:pt x="197429" y="0"/>
                  </a:lnTo>
                  <a:lnTo>
                    <a:pt x="213621" y="653"/>
                  </a:lnTo>
                  <a:lnTo>
                    <a:pt x="229453" y="2580"/>
                  </a:lnTo>
                  <a:lnTo>
                    <a:pt x="244873" y="5729"/>
                  </a:lnTo>
                  <a:lnTo>
                    <a:pt x="259832" y="10050"/>
                  </a:lnTo>
                  <a:lnTo>
                    <a:pt x="274277" y="15491"/>
                  </a:lnTo>
                  <a:lnTo>
                    <a:pt x="288159" y="22003"/>
                  </a:lnTo>
                  <a:lnTo>
                    <a:pt x="301426" y="29535"/>
                  </a:lnTo>
                  <a:lnTo>
                    <a:pt x="314028" y="38035"/>
                  </a:lnTo>
                  <a:lnTo>
                    <a:pt x="325913" y="47454"/>
                  </a:lnTo>
                  <a:lnTo>
                    <a:pt x="337032" y="57739"/>
                  </a:lnTo>
                  <a:lnTo>
                    <a:pt x="347333" y="68842"/>
                  </a:lnTo>
                  <a:lnTo>
                    <a:pt x="356765" y="80710"/>
                  </a:lnTo>
                  <a:lnTo>
                    <a:pt x="365278" y="93293"/>
                  </a:lnTo>
                  <a:lnTo>
                    <a:pt x="372821" y="106540"/>
                  </a:lnTo>
                  <a:lnTo>
                    <a:pt x="379343" y="120401"/>
                  </a:lnTo>
                  <a:lnTo>
                    <a:pt x="384793" y="134825"/>
                  </a:lnTo>
                  <a:lnTo>
                    <a:pt x="389120" y="149761"/>
                  </a:lnTo>
                  <a:lnTo>
                    <a:pt x="392274" y="165159"/>
                  </a:lnTo>
                  <a:lnTo>
                    <a:pt x="394203" y="180967"/>
                  </a:lnTo>
                  <a:lnTo>
                    <a:pt x="394858" y="197136"/>
                  </a:lnTo>
                  <a:lnTo>
                    <a:pt x="394203" y="213304"/>
                  </a:lnTo>
                  <a:lnTo>
                    <a:pt x="392274" y="229112"/>
                  </a:lnTo>
                  <a:lnTo>
                    <a:pt x="389120" y="244510"/>
                  </a:lnTo>
                  <a:lnTo>
                    <a:pt x="384793" y="259446"/>
                  </a:lnTo>
                  <a:lnTo>
                    <a:pt x="379343" y="273870"/>
                  </a:lnTo>
                  <a:lnTo>
                    <a:pt x="372821" y="287731"/>
                  </a:lnTo>
                  <a:lnTo>
                    <a:pt x="365278" y="300979"/>
                  </a:lnTo>
                  <a:lnTo>
                    <a:pt x="356765" y="313562"/>
                  </a:lnTo>
                  <a:lnTo>
                    <a:pt x="347333" y="325430"/>
                  </a:lnTo>
                  <a:lnTo>
                    <a:pt x="337032" y="336532"/>
                  </a:lnTo>
                  <a:lnTo>
                    <a:pt x="325913" y="346818"/>
                  </a:lnTo>
                  <a:lnTo>
                    <a:pt x="314028" y="356236"/>
                  </a:lnTo>
                  <a:lnTo>
                    <a:pt x="301426" y="364737"/>
                  </a:lnTo>
                  <a:lnTo>
                    <a:pt x="288159" y="372268"/>
                  </a:lnTo>
                  <a:lnTo>
                    <a:pt x="274277" y="378780"/>
                  </a:lnTo>
                  <a:lnTo>
                    <a:pt x="259832" y="384222"/>
                  </a:lnTo>
                  <a:lnTo>
                    <a:pt x="244873" y="388543"/>
                  </a:lnTo>
                  <a:lnTo>
                    <a:pt x="229453" y="391692"/>
                  </a:lnTo>
                  <a:lnTo>
                    <a:pt x="213621" y="393619"/>
                  </a:lnTo>
                  <a:lnTo>
                    <a:pt x="197429" y="394272"/>
                  </a:lnTo>
                  <a:lnTo>
                    <a:pt x="181236" y="393619"/>
                  </a:lnTo>
                  <a:lnTo>
                    <a:pt x="165405" y="391692"/>
                  </a:lnTo>
                  <a:lnTo>
                    <a:pt x="149984" y="388543"/>
                  </a:lnTo>
                  <a:lnTo>
                    <a:pt x="135026" y="384222"/>
                  </a:lnTo>
                  <a:lnTo>
                    <a:pt x="120580" y="378780"/>
                  </a:lnTo>
                  <a:lnTo>
                    <a:pt x="106699" y="372268"/>
                  </a:lnTo>
                  <a:lnTo>
                    <a:pt x="93431" y="364737"/>
                  </a:lnTo>
                  <a:lnTo>
                    <a:pt x="80830" y="356236"/>
                  </a:lnTo>
                  <a:lnTo>
                    <a:pt x="68944" y="346818"/>
                  </a:lnTo>
                  <a:lnTo>
                    <a:pt x="57825" y="336532"/>
                  </a:lnTo>
                  <a:lnTo>
                    <a:pt x="47524" y="325430"/>
                  </a:lnTo>
                  <a:lnTo>
                    <a:pt x="38092" y="313562"/>
                  </a:lnTo>
                  <a:lnTo>
                    <a:pt x="29579" y="300979"/>
                  </a:lnTo>
                  <a:lnTo>
                    <a:pt x="22036" y="287731"/>
                  </a:lnTo>
                  <a:lnTo>
                    <a:pt x="15515" y="273870"/>
                  </a:lnTo>
                  <a:lnTo>
                    <a:pt x="10065" y="259446"/>
                  </a:lnTo>
                  <a:lnTo>
                    <a:pt x="5737" y="244510"/>
                  </a:lnTo>
                  <a:lnTo>
                    <a:pt x="2584" y="229113"/>
                  </a:lnTo>
                  <a:lnTo>
                    <a:pt x="654" y="213304"/>
                  </a:lnTo>
                  <a:lnTo>
                    <a:pt x="0" y="197136"/>
                  </a:lnTo>
                  <a:lnTo>
                    <a:pt x="654" y="180967"/>
                  </a:lnTo>
                  <a:close/>
                </a:path>
              </a:pathLst>
            </a:custGeom>
            <a:solidFill>
              <a:srgbClr val="CECFC8"/>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54" name="Google Shape;1854;p13"/>
            <p:cNvSpPr/>
            <p:nvPr/>
          </p:nvSpPr>
          <p:spPr>
            <a:xfrm>
              <a:off x="373784" y="6837540"/>
              <a:ext cx="578798" cy="581782"/>
            </a:xfrm>
            <a:custGeom>
              <a:avLst/>
              <a:gdLst/>
              <a:ahLst/>
              <a:cxnLst/>
              <a:rect l="l" t="t" r="r" b="b"/>
              <a:pathLst>
                <a:path w="578798" h="581782" extrusionOk="0">
                  <a:moveTo>
                    <a:pt x="312805" y="580950"/>
                  </a:moveTo>
                  <a:lnTo>
                    <a:pt x="335838" y="578244"/>
                  </a:lnTo>
                  <a:lnTo>
                    <a:pt x="358281" y="573741"/>
                  </a:lnTo>
                  <a:lnTo>
                    <a:pt x="380061" y="567517"/>
                  </a:lnTo>
                  <a:lnTo>
                    <a:pt x="401106" y="559648"/>
                  </a:lnTo>
                  <a:lnTo>
                    <a:pt x="421341" y="550210"/>
                  </a:lnTo>
                  <a:lnTo>
                    <a:pt x="440694" y="539279"/>
                  </a:lnTo>
                  <a:lnTo>
                    <a:pt x="459093" y="526931"/>
                  </a:lnTo>
                  <a:lnTo>
                    <a:pt x="476463" y="513243"/>
                  </a:lnTo>
                  <a:lnTo>
                    <a:pt x="492732" y="498289"/>
                  </a:lnTo>
                  <a:lnTo>
                    <a:pt x="507827" y="482148"/>
                  </a:lnTo>
                  <a:lnTo>
                    <a:pt x="521675" y="464893"/>
                  </a:lnTo>
                  <a:lnTo>
                    <a:pt x="534203" y="446602"/>
                  </a:lnTo>
                  <a:lnTo>
                    <a:pt x="545338" y="427351"/>
                  </a:lnTo>
                  <a:lnTo>
                    <a:pt x="555006" y="407215"/>
                  </a:lnTo>
                  <a:lnTo>
                    <a:pt x="563135" y="386271"/>
                  </a:lnTo>
                  <a:lnTo>
                    <a:pt x="569652" y="364595"/>
                  </a:lnTo>
                  <a:lnTo>
                    <a:pt x="574483" y="342262"/>
                  </a:lnTo>
                  <a:lnTo>
                    <a:pt x="577557" y="319350"/>
                  </a:lnTo>
                  <a:lnTo>
                    <a:pt x="578727" y="297270"/>
                  </a:lnTo>
                  <a:lnTo>
                    <a:pt x="578727" y="283601"/>
                  </a:lnTo>
                  <a:lnTo>
                    <a:pt x="577155" y="258101"/>
                  </a:lnTo>
                  <a:lnTo>
                    <a:pt x="573349" y="232358"/>
                  </a:lnTo>
                  <a:lnTo>
                    <a:pt x="567353" y="207471"/>
                  </a:lnTo>
                  <a:lnTo>
                    <a:pt x="559165" y="183453"/>
                  </a:lnTo>
                  <a:lnTo>
                    <a:pt x="548787" y="160315"/>
                  </a:lnTo>
                  <a:lnTo>
                    <a:pt x="536217" y="138070"/>
                  </a:lnTo>
                  <a:lnTo>
                    <a:pt x="521458" y="116731"/>
                  </a:lnTo>
                  <a:lnTo>
                    <a:pt x="504507" y="96309"/>
                  </a:lnTo>
                  <a:lnTo>
                    <a:pt x="489695" y="80985"/>
                  </a:lnTo>
                  <a:lnTo>
                    <a:pt x="469619" y="63122"/>
                  </a:lnTo>
                  <a:lnTo>
                    <a:pt x="448594" y="47465"/>
                  </a:lnTo>
                  <a:lnTo>
                    <a:pt x="426633" y="34023"/>
                  </a:lnTo>
                  <a:lnTo>
                    <a:pt x="403744" y="22801"/>
                  </a:lnTo>
                  <a:lnTo>
                    <a:pt x="379938" y="13809"/>
                  </a:lnTo>
                  <a:lnTo>
                    <a:pt x="355225" y="7053"/>
                  </a:lnTo>
                  <a:lnTo>
                    <a:pt x="329616" y="2542"/>
                  </a:lnTo>
                  <a:lnTo>
                    <a:pt x="303120" y="282"/>
                  </a:lnTo>
                  <a:lnTo>
                    <a:pt x="289542" y="0"/>
                  </a:lnTo>
                  <a:lnTo>
                    <a:pt x="288387" y="2"/>
                  </a:lnTo>
                  <a:lnTo>
                    <a:pt x="261590" y="1221"/>
                  </a:lnTo>
                  <a:lnTo>
                    <a:pt x="235619" y="4686"/>
                  </a:lnTo>
                  <a:lnTo>
                    <a:pt x="210496" y="10391"/>
                  </a:lnTo>
                  <a:lnTo>
                    <a:pt x="186244" y="18329"/>
                  </a:lnTo>
                  <a:lnTo>
                    <a:pt x="162884" y="28496"/>
                  </a:lnTo>
                  <a:lnTo>
                    <a:pt x="140438" y="40885"/>
                  </a:lnTo>
                  <a:lnTo>
                    <a:pt x="118930" y="55492"/>
                  </a:lnTo>
                  <a:lnTo>
                    <a:pt x="98380" y="72310"/>
                  </a:lnTo>
                  <a:lnTo>
                    <a:pt x="79986" y="90113"/>
                  </a:lnTo>
                  <a:lnTo>
                    <a:pt x="62381" y="110184"/>
                  </a:lnTo>
                  <a:lnTo>
                    <a:pt x="46955" y="131228"/>
                  </a:lnTo>
                  <a:lnTo>
                    <a:pt x="33712" y="153232"/>
                  </a:lnTo>
                  <a:lnTo>
                    <a:pt x="22655" y="176180"/>
                  </a:lnTo>
                  <a:lnTo>
                    <a:pt x="29523" y="180559"/>
                  </a:lnTo>
                  <a:lnTo>
                    <a:pt x="38901" y="160578"/>
                  </a:lnTo>
                  <a:lnTo>
                    <a:pt x="49740" y="141488"/>
                  </a:lnTo>
                  <a:lnTo>
                    <a:pt x="61964" y="123364"/>
                  </a:lnTo>
                  <a:lnTo>
                    <a:pt x="75498" y="106277"/>
                  </a:lnTo>
                  <a:lnTo>
                    <a:pt x="90266" y="90300"/>
                  </a:lnTo>
                  <a:lnTo>
                    <a:pt x="106194" y="75505"/>
                  </a:lnTo>
                  <a:lnTo>
                    <a:pt x="123205" y="61964"/>
                  </a:lnTo>
                  <a:lnTo>
                    <a:pt x="141224" y="49751"/>
                  </a:lnTo>
                  <a:lnTo>
                    <a:pt x="160176" y="38936"/>
                  </a:lnTo>
                  <a:lnTo>
                    <a:pt x="179985" y="29594"/>
                  </a:lnTo>
                  <a:lnTo>
                    <a:pt x="200577" y="21795"/>
                  </a:lnTo>
                  <a:lnTo>
                    <a:pt x="221875" y="15614"/>
                  </a:lnTo>
                  <a:lnTo>
                    <a:pt x="243804" y="11121"/>
                  </a:lnTo>
                  <a:lnTo>
                    <a:pt x="266290" y="8389"/>
                  </a:lnTo>
                  <a:lnTo>
                    <a:pt x="289255" y="7492"/>
                  </a:lnTo>
                  <a:lnTo>
                    <a:pt x="312254" y="8383"/>
                  </a:lnTo>
                  <a:lnTo>
                    <a:pt x="334753" y="11095"/>
                  </a:lnTo>
                  <a:lnTo>
                    <a:pt x="356680" y="15555"/>
                  </a:lnTo>
                  <a:lnTo>
                    <a:pt x="377963" y="21692"/>
                  </a:lnTo>
                  <a:lnTo>
                    <a:pt x="398529" y="29432"/>
                  </a:lnTo>
                  <a:lnTo>
                    <a:pt x="418306" y="38703"/>
                  </a:lnTo>
                  <a:lnTo>
                    <a:pt x="437220" y="49433"/>
                  </a:lnTo>
                  <a:lnTo>
                    <a:pt x="455200" y="61549"/>
                  </a:lnTo>
                  <a:lnTo>
                    <a:pt x="472172" y="74979"/>
                  </a:lnTo>
                  <a:lnTo>
                    <a:pt x="488065" y="89651"/>
                  </a:lnTo>
                  <a:lnTo>
                    <a:pt x="502804" y="105492"/>
                  </a:lnTo>
                  <a:lnTo>
                    <a:pt x="516319" y="122430"/>
                  </a:lnTo>
                  <a:lnTo>
                    <a:pt x="528536" y="140393"/>
                  </a:lnTo>
                  <a:lnTo>
                    <a:pt x="539382" y="159307"/>
                  </a:lnTo>
                  <a:lnTo>
                    <a:pt x="548786" y="179101"/>
                  </a:lnTo>
                  <a:lnTo>
                    <a:pt x="556673" y="199702"/>
                  </a:lnTo>
                  <a:lnTo>
                    <a:pt x="562973" y="221037"/>
                  </a:lnTo>
                  <a:lnTo>
                    <a:pt x="567612" y="243036"/>
                  </a:lnTo>
                  <a:lnTo>
                    <a:pt x="570518" y="265624"/>
                  </a:lnTo>
                  <a:lnTo>
                    <a:pt x="571617" y="288730"/>
                  </a:lnTo>
                  <a:lnTo>
                    <a:pt x="570838" y="312392"/>
                  </a:lnTo>
                  <a:lnTo>
                    <a:pt x="568207" y="335447"/>
                  </a:lnTo>
                  <a:lnTo>
                    <a:pt x="563806" y="357832"/>
                  </a:lnTo>
                  <a:lnTo>
                    <a:pt x="557714" y="379482"/>
                  </a:lnTo>
                  <a:lnTo>
                    <a:pt x="550011" y="400335"/>
                  </a:lnTo>
                  <a:lnTo>
                    <a:pt x="540776" y="420328"/>
                  </a:lnTo>
                  <a:lnTo>
                    <a:pt x="530088" y="439398"/>
                  </a:lnTo>
                  <a:lnTo>
                    <a:pt x="518029" y="457482"/>
                  </a:lnTo>
                  <a:lnTo>
                    <a:pt x="504676" y="474516"/>
                  </a:lnTo>
                  <a:lnTo>
                    <a:pt x="490111" y="490437"/>
                  </a:lnTo>
                  <a:lnTo>
                    <a:pt x="474413" y="505183"/>
                  </a:lnTo>
                  <a:lnTo>
                    <a:pt x="457661" y="518690"/>
                  </a:lnTo>
                  <a:lnTo>
                    <a:pt x="439936" y="530895"/>
                  </a:lnTo>
                  <a:lnTo>
                    <a:pt x="421316" y="541736"/>
                  </a:lnTo>
                  <a:lnTo>
                    <a:pt x="401882" y="551148"/>
                  </a:lnTo>
                  <a:lnTo>
                    <a:pt x="381714" y="559069"/>
                  </a:lnTo>
                  <a:lnTo>
                    <a:pt x="360890" y="565435"/>
                  </a:lnTo>
                  <a:lnTo>
                    <a:pt x="339491" y="570184"/>
                  </a:lnTo>
                  <a:lnTo>
                    <a:pt x="317597" y="573253"/>
                  </a:lnTo>
                  <a:lnTo>
                    <a:pt x="295287" y="574578"/>
                  </a:lnTo>
                  <a:lnTo>
                    <a:pt x="271578" y="574071"/>
                  </a:lnTo>
                  <a:lnTo>
                    <a:pt x="248411" y="571650"/>
                  </a:lnTo>
                  <a:lnTo>
                    <a:pt x="225860" y="567395"/>
                  </a:lnTo>
                  <a:lnTo>
                    <a:pt x="203996" y="561385"/>
                  </a:lnTo>
                  <a:lnTo>
                    <a:pt x="182894" y="553701"/>
                  </a:lnTo>
                  <a:lnTo>
                    <a:pt x="162625" y="544420"/>
                  </a:lnTo>
                  <a:lnTo>
                    <a:pt x="143263" y="533622"/>
                  </a:lnTo>
                  <a:lnTo>
                    <a:pt x="124880" y="521387"/>
                  </a:lnTo>
                  <a:lnTo>
                    <a:pt x="107549" y="507794"/>
                  </a:lnTo>
                  <a:lnTo>
                    <a:pt x="91343" y="492923"/>
                  </a:lnTo>
                  <a:lnTo>
                    <a:pt x="76336" y="476851"/>
                  </a:lnTo>
                  <a:lnTo>
                    <a:pt x="62598" y="459660"/>
                  </a:lnTo>
                  <a:lnTo>
                    <a:pt x="50204" y="441428"/>
                  </a:lnTo>
                  <a:lnTo>
                    <a:pt x="39227" y="422234"/>
                  </a:lnTo>
                  <a:lnTo>
                    <a:pt x="29738" y="402159"/>
                  </a:lnTo>
                  <a:lnTo>
                    <a:pt x="21812" y="381280"/>
                  </a:lnTo>
                  <a:lnTo>
                    <a:pt x="15520" y="359678"/>
                  </a:lnTo>
                  <a:lnTo>
                    <a:pt x="10936" y="337431"/>
                  </a:lnTo>
                  <a:lnTo>
                    <a:pt x="8132" y="314620"/>
                  </a:lnTo>
                  <a:lnTo>
                    <a:pt x="7181" y="291323"/>
                  </a:lnTo>
                  <a:lnTo>
                    <a:pt x="8125" y="267964"/>
                  </a:lnTo>
                  <a:lnTo>
                    <a:pt x="10170" y="212341"/>
                  </a:lnTo>
                  <a:lnTo>
                    <a:pt x="7104" y="224852"/>
                  </a:lnTo>
                  <a:lnTo>
                    <a:pt x="4586" y="237587"/>
                  </a:lnTo>
                  <a:lnTo>
                    <a:pt x="2616" y="250547"/>
                  </a:lnTo>
                  <a:lnTo>
                    <a:pt x="1195" y="263727"/>
                  </a:lnTo>
                  <a:lnTo>
                    <a:pt x="322" y="277128"/>
                  </a:lnTo>
                  <a:lnTo>
                    <a:pt x="0" y="290747"/>
                  </a:lnTo>
                  <a:lnTo>
                    <a:pt x="852" y="314710"/>
                  </a:lnTo>
                  <a:lnTo>
                    <a:pt x="3616" y="338139"/>
                  </a:lnTo>
                  <a:lnTo>
                    <a:pt x="8211" y="360957"/>
                  </a:lnTo>
                  <a:lnTo>
                    <a:pt x="14557" y="383090"/>
                  </a:lnTo>
                  <a:lnTo>
                    <a:pt x="22575" y="404459"/>
                  </a:lnTo>
                  <a:lnTo>
                    <a:pt x="32185" y="424991"/>
                  </a:lnTo>
                  <a:lnTo>
                    <a:pt x="43308" y="444607"/>
                  </a:lnTo>
                  <a:lnTo>
                    <a:pt x="55863" y="463233"/>
                  </a:lnTo>
                  <a:lnTo>
                    <a:pt x="69771" y="480793"/>
                  </a:lnTo>
                  <a:lnTo>
                    <a:pt x="84952" y="497209"/>
                  </a:lnTo>
                  <a:lnTo>
                    <a:pt x="101327" y="512406"/>
                  </a:lnTo>
                  <a:lnTo>
                    <a:pt x="118816" y="526309"/>
                  </a:lnTo>
                  <a:lnTo>
                    <a:pt x="137338" y="538841"/>
                  </a:lnTo>
                  <a:lnTo>
                    <a:pt x="156815" y="549925"/>
                  </a:lnTo>
                  <a:lnTo>
                    <a:pt x="177167" y="559486"/>
                  </a:lnTo>
                  <a:lnTo>
                    <a:pt x="198313" y="567448"/>
                  </a:lnTo>
                  <a:lnTo>
                    <a:pt x="220175" y="573735"/>
                  </a:lnTo>
                  <a:lnTo>
                    <a:pt x="242673" y="578270"/>
                  </a:lnTo>
                  <a:lnTo>
                    <a:pt x="265726" y="580978"/>
                  </a:lnTo>
                  <a:lnTo>
                    <a:pt x="287513" y="581723"/>
                  </a:lnTo>
                  <a:lnTo>
                    <a:pt x="290940" y="581723"/>
                  </a:lnTo>
                  <a:lnTo>
                    <a:pt x="312805" y="580950"/>
                  </a:lnTo>
                  <a:close/>
                </a:path>
                <a:path w="578798" h="581782" extrusionOk="0">
                  <a:moveTo>
                    <a:pt x="10906" y="245136"/>
                  </a:moveTo>
                  <a:lnTo>
                    <a:pt x="15450" y="222911"/>
                  </a:lnTo>
                  <a:lnTo>
                    <a:pt x="21681" y="201361"/>
                  </a:lnTo>
                  <a:lnTo>
                    <a:pt x="29523" y="180559"/>
                  </a:lnTo>
                  <a:lnTo>
                    <a:pt x="22655" y="176180"/>
                  </a:lnTo>
                  <a:lnTo>
                    <a:pt x="17946" y="188003"/>
                  </a:lnTo>
                  <a:lnTo>
                    <a:pt x="13784" y="200058"/>
                  </a:lnTo>
                  <a:lnTo>
                    <a:pt x="10170" y="212341"/>
                  </a:lnTo>
                  <a:lnTo>
                    <a:pt x="8125" y="267964"/>
                  </a:lnTo>
                  <a:lnTo>
                    <a:pt x="10906" y="24513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55" name="Google Shape;1855;p13"/>
            <p:cNvSpPr/>
            <p:nvPr/>
          </p:nvSpPr>
          <p:spPr>
            <a:xfrm>
              <a:off x="584244" y="6885923"/>
              <a:ext cx="13282" cy="27816"/>
            </a:xfrm>
            <a:custGeom>
              <a:avLst/>
              <a:gdLst/>
              <a:ahLst/>
              <a:cxnLst/>
              <a:rect l="l" t="t" r="r" b="b"/>
              <a:pathLst>
                <a:path w="13282" h="27816" extrusionOk="0">
                  <a:moveTo>
                    <a:pt x="7379" y="2367"/>
                  </a:moveTo>
                  <a:lnTo>
                    <a:pt x="8559" y="1479"/>
                  </a:lnTo>
                  <a:lnTo>
                    <a:pt x="11216" y="0"/>
                  </a:lnTo>
                  <a:lnTo>
                    <a:pt x="12101" y="295"/>
                  </a:lnTo>
                  <a:lnTo>
                    <a:pt x="12987" y="3255"/>
                  </a:lnTo>
                  <a:lnTo>
                    <a:pt x="13282" y="4734"/>
                  </a:lnTo>
                  <a:lnTo>
                    <a:pt x="12987" y="5622"/>
                  </a:lnTo>
                  <a:lnTo>
                    <a:pt x="11511" y="6214"/>
                  </a:lnTo>
                  <a:lnTo>
                    <a:pt x="8559" y="7398"/>
                  </a:lnTo>
                  <a:lnTo>
                    <a:pt x="7083" y="10061"/>
                  </a:lnTo>
                  <a:lnTo>
                    <a:pt x="7969" y="13612"/>
                  </a:lnTo>
                  <a:lnTo>
                    <a:pt x="8854" y="16867"/>
                  </a:lnTo>
                  <a:lnTo>
                    <a:pt x="10035" y="20418"/>
                  </a:lnTo>
                  <a:lnTo>
                    <a:pt x="11216" y="23969"/>
                  </a:lnTo>
                  <a:lnTo>
                    <a:pt x="11511" y="25449"/>
                  </a:lnTo>
                  <a:lnTo>
                    <a:pt x="11216" y="26337"/>
                  </a:lnTo>
                  <a:lnTo>
                    <a:pt x="9445" y="26633"/>
                  </a:lnTo>
                  <a:lnTo>
                    <a:pt x="7969" y="27225"/>
                  </a:lnTo>
                  <a:lnTo>
                    <a:pt x="6493" y="27816"/>
                  </a:lnTo>
                  <a:lnTo>
                    <a:pt x="5903" y="25449"/>
                  </a:lnTo>
                  <a:lnTo>
                    <a:pt x="4132" y="19235"/>
                  </a:lnTo>
                  <a:lnTo>
                    <a:pt x="2066" y="13020"/>
                  </a:lnTo>
                  <a:lnTo>
                    <a:pt x="295" y="6806"/>
                  </a:lnTo>
                  <a:lnTo>
                    <a:pt x="0" y="6214"/>
                  </a:lnTo>
                  <a:lnTo>
                    <a:pt x="295" y="4734"/>
                  </a:lnTo>
                  <a:lnTo>
                    <a:pt x="885" y="4438"/>
                  </a:lnTo>
                  <a:lnTo>
                    <a:pt x="2361" y="4142"/>
                  </a:lnTo>
                  <a:lnTo>
                    <a:pt x="5608" y="4142"/>
                  </a:lnTo>
                  <a:lnTo>
                    <a:pt x="6493" y="3255"/>
                  </a:lnTo>
                  <a:lnTo>
                    <a:pt x="7379" y="2367"/>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56" name="Google Shape;1856;p13"/>
            <p:cNvSpPr/>
            <p:nvPr/>
          </p:nvSpPr>
          <p:spPr>
            <a:xfrm>
              <a:off x="570946" y="7332195"/>
              <a:ext cx="32603" cy="37491"/>
            </a:xfrm>
            <a:custGeom>
              <a:avLst/>
              <a:gdLst/>
              <a:ahLst/>
              <a:cxnLst/>
              <a:rect l="l" t="t" r="r" b="b"/>
              <a:pathLst>
                <a:path w="32603" h="37491" extrusionOk="0">
                  <a:moveTo>
                    <a:pt x="12647" y="10172"/>
                  </a:moveTo>
                  <a:lnTo>
                    <a:pt x="9275" y="13369"/>
                  </a:lnTo>
                  <a:lnTo>
                    <a:pt x="7588" y="17728"/>
                  </a:lnTo>
                  <a:lnTo>
                    <a:pt x="7869" y="22378"/>
                  </a:lnTo>
                  <a:lnTo>
                    <a:pt x="8150" y="25866"/>
                  </a:lnTo>
                  <a:lnTo>
                    <a:pt x="10118" y="28191"/>
                  </a:lnTo>
                  <a:lnTo>
                    <a:pt x="13490" y="29354"/>
                  </a:lnTo>
                  <a:lnTo>
                    <a:pt x="16301" y="30226"/>
                  </a:lnTo>
                  <a:lnTo>
                    <a:pt x="19112" y="29354"/>
                  </a:lnTo>
                  <a:lnTo>
                    <a:pt x="21079" y="26738"/>
                  </a:lnTo>
                  <a:lnTo>
                    <a:pt x="22484" y="24994"/>
                  </a:lnTo>
                  <a:lnTo>
                    <a:pt x="27825" y="25866"/>
                  </a:lnTo>
                  <a:lnTo>
                    <a:pt x="28387" y="27900"/>
                  </a:lnTo>
                  <a:lnTo>
                    <a:pt x="28668" y="28482"/>
                  </a:lnTo>
                  <a:lnTo>
                    <a:pt x="28387" y="29644"/>
                  </a:lnTo>
                  <a:lnTo>
                    <a:pt x="27825" y="30516"/>
                  </a:lnTo>
                  <a:lnTo>
                    <a:pt x="25014" y="34876"/>
                  </a:lnTo>
                  <a:lnTo>
                    <a:pt x="20798" y="37491"/>
                  </a:lnTo>
                  <a:lnTo>
                    <a:pt x="15458" y="36910"/>
                  </a:lnTo>
                  <a:lnTo>
                    <a:pt x="9275" y="36038"/>
                  </a:lnTo>
                  <a:lnTo>
                    <a:pt x="4215" y="33132"/>
                  </a:lnTo>
                  <a:lnTo>
                    <a:pt x="1405" y="27029"/>
                  </a:lnTo>
                  <a:lnTo>
                    <a:pt x="562" y="24994"/>
                  </a:lnTo>
                  <a:lnTo>
                    <a:pt x="562" y="22669"/>
                  </a:lnTo>
                  <a:lnTo>
                    <a:pt x="0" y="21216"/>
                  </a:lnTo>
                  <a:lnTo>
                    <a:pt x="843" y="13659"/>
                  </a:lnTo>
                  <a:lnTo>
                    <a:pt x="2810" y="7556"/>
                  </a:lnTo>
                  <a:lnTo>
                    <a:pt x="8712" y="3487"/>
                  </a:lnTo>
                  <a:lnTo>
                    <a:pt x="14053" y="0"/>
                  </a:lnTo>
                  <a:lnTo>
                    <a:pt x="19674" y="290"/>
                  </a:lnTo>
                  <a:lnTo>
                    <a:pt x="25014" y="3196"/>
                  </a:lnTo>
                  <a:lnTo>
                    <a:pt x="30073" y="5812"/>
                  </a:lnTo>
                  <a:lnTo>
                    <a:pt x="32603" y="9881"/>
                  </a:lnTo>
                  <a:lnTo>
                    <a:pt x="32603" y="19181"/>
                  </a:lnTo>
                  <a:lnTo>
                    <a:pt x="32041" y="19472"/>
                  </a:lnTo>
                  <a:lnTo>
                    <a:pt x="28949" y="18310"/>
                  </a:lnTo>
                  <a:lnTo>
                    <a:pt x="26419" y="17438"/>
                  </a:lnTo>
                  <a:lnTo>
                    <a:pt x="25295" y="16275"/>
                  </a:lnTo>
                  <a:lnTo>
                    <a:pt x="24733" y="13659"/>
                  </a:lnTo>
                  <a:lnTo>
                    <a:pt x="23890" y="8137"/>
                  </a:lnTo>
                  <a:lnTo>
                    <a:pt x="16582" y="6103"/>
                  </a:lnTo>
                  <a:lnTo>
                    <a:pt x="12647" y="1017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57" name="Google Shape;1857;p13"/>
            <p:cNvSpPr/>
            <p:nvPr/>
          </p:nvSpPr>
          <p:spPr>
            <a:xfrm>
              <a:off x="746202" y="7330972"/>
              <a:ext cx="5515" cy="16751"/>
            </a:xfrm>
            <a:custGeom>
              <a:avLst/>
              <a:gdLst/>
              <a:ahLst/>
              <a:cxnLst/>
              <a:rect l="l" t="t" r="r" b="b"/>
              <a:pathLst>
                <a:path w="5515" h="16751" extrusionOk="0">
                  <a:moveTo>
                    <a:pt x="290" y="1444"/>
                  </a:moveTo>
                  <a:lnTo>
                    <a:pt x="2612" y="866"/>
                  </a:lnTo>
                  <a:lnTo>
                    <a:pt x="3483" y="577"/>
                  </a:lnTo>
                  <a:lnTo>
                    <a:pt x="4354" y="0"/>
                  </a:lnTo>
                  <a:lnTo>
                    <a:pt x="5515" y="16751"/>
                  </a:lnTo>
                  <a:lnTo>
                    <a:pt x="2322" y="16751"/>
                  </a:lnTo>
                  <a:lnTo>
                    <a:pt x="1161" y="12130"/>
                  </a:lnTo>
                  <a:lnTo>
                    <a:pt x="3773" y="11841"/>
                  </a:lnTo>
                  <a:lnTo>
                    <a:pt x="2902" y="9530"/>
                  </a:lnTo>
                  <a:lnTo>
                    <a:pt x="2031" y="6931"/>
                  </a:lnTo>
                  <a:lnTo>
                    <a:pt x="870" y="4620"/>
                  </a:lnTo>
                  <a:lnTo>
                    <a:pt x="0" y="2888"/>
                  </a:lnTo>
                  <a:lnTo>
                    <a:pt x="290" y="144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58" name="Google Shape;1858;p13"/>
            <p:cNvSpPr/>
            <p:nvPr/>
          </p:nvSpPr>
          <p:spPr>
            <a:xfrm>
              <a:off x="735172" y="7330972"/>
              <a:ext cx="30187" cy="38700"/>
            </a:xfrm>
            <a:custGeom>
              <a:avLst/>
              <a:gdLst/>
              <a:ahLst/>
              <a:cxnLst/>
              <a:rect l="l" t="t" r="r" b="b"/>
              <a:pathLst>
                <a:path w="30187" h="38700" extrusionOk="0">
                  <a:moveTo>
                    <a:pt x="15384" y="0"/>
                  </a:moveTo>
                  <a:lnTo>
                    <a:pt x="16835" y="0"/>
                  </a:lnTo>
                  <a:lnTo>
                    <a:pt x="18286" y="577"/>
                  </a:lnTo>
                  <a:lnTo>
                    <a:pt x="18577" y="1155"/>
                  </a:lnTo>
                  <a:lnTo>
                    <a:pt x="23330" y="12872"/>
                  </a:lnTo>
                  <a:lnTo>
                    <a:pt x="27953" y="24719"/>
                  </a:lnTo>
                  <a:lnTo>
                    <a:pt x="29607" y="29169"/>
                  </a:lnTo>
                  <a:lnTo>
                    <a:pt x="30187" y="30614"/>
                  </a:lnTo>
                  <a:lnTo>
                    <a:pt x="29897" y="31480"/>
                  </a:lnTo>
                  <a:lnTo>
                    <a:pt x="28446" y="31769"/>
                  </a:lnTo>
                  <a:lnTo>
                    <a:pt x="26704" y="32058"/>
                  </a:lnTo>
                  <a:lnTo>
                    <a:pt x="24962" y="32346"/>
                  </a:lnTo>
                  <a:lnTo>
                    <a:pt x="23221" y="32635"/>
                  </a:lnTo>
                  <a:lnTo>
                    <a:pt x="22931" y="32924"/>
                  </a:lnTo>
                  <a:lnTo>
                    <a:pt x="22350" y="32924"/>
                  </a:lnTo>
                  <a:lnTo>
                    <a:pt x="22060" y="33213"/>
                  </a:lnTo>
                  <a:lnTo>
                    <a:pt x="18867" y="36967"/>
                  </a:lnTo>
                  <a:lnTo>
                    <a:pt x="15093" y="38700"/>
                  </a:lnTo>
                  <a:lnTo>
                    <a:pt x="10159" y="36967"/>
                  </a:lnTo>
                  <a:lnTo>
                    <a:pt x="4934" y="35235"/>
                  </a:lnTo>
                  <a:lnTo>
                    <a:pt x="2322" y="30902"/>
                  </a:lnTo>
                  <a:lnTo>
                    <a:pt x="1451" y="25704"/>
                  </a:lnTo>
                  <a:lnTo>
                    <a:pt x="0" y="19639"/>
                  </a:lnTo>
                  <a:lnTo>
                    <a:pt x="2612" y="14151"/>
                  </a:lnTo>
                  <a:lnTo>
                    <a:pt x="7546" y="12707"/>
                  </a:lnTo>
                  <a:lnTo>
                    <a:pt x="9869" y="11841"/>
                  </a:lnTo>
                  <a:lnTo>
                    <a:pt x="12191" y="12130"/>
                  </a:lnTo>
                  <a:lnTo>
                    <a:pt x="13352" y="16751"/>
                  </a:lnTo>
                  <a:lnTo>
                    <a:pt x="10449" y="16751"/>
                  </a:lnTo>
                  <a:lnTo>
                    <a:pt x="8417" y="19061"/>
                  </a:lnTo>
                  <a:lnTo>
                    <a:pt x="8417" y="27148"/>
                  </a:lnTo>
                  <a:lnTo>
                    <a:pt x="11900" y="31191"/>
                  </a:lnTo>
                  <a:lnTo>
                    <a:pt x="18286" y="31191"/>
                  </a:lnTo>
                  <a:lnTo>
                    <a:pt x="20028" y="28881"/>
                  </a:lnTo>
                  <a:lnTo>
                    <a:pt x="20028" y="21660"/>
                  </a:lnTo>
                  <a:lnTo>
                    <a:pt x="16545" y="16751"/>
                  </a:lnTo>
                  <a:lnTo>
                    <a:pt x="15384" y="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59" name="Google Shape;1859;p13"/>
            <p:cNvSpPr/>
            <p:nvPr/>
          </p:nvSpPr>
          <p:spPr>
            <a:xfrm>
              <a:off x="711026" y="7349116"/>
              <a:ext cx="26564" cy="27816"/>
            </a:xfrm>
            <a:custGeom>
              <a:avLst/>
              <a:gdLst/>
              <a:ahLst/>
              <a:cxnLst/>
              <a:rect l="l" t="t" r="r" b="b"/>
              <a:pathLst>
                <a:path w="26564" h="27816" extrusionOk="0">
                  <a:moveTo>
                    <a:pt x="8854" y="16919"/>
                  </a:moveTo>
                  <a:lnTo>
                    <a:pt x="11140" y="21794"/>
                  </a:lnTo>
                  <a:lnTo>
                    <a:pt x="15710" y="22367"/>
                  </a:lnTo>
                  <a:lnTo>
                    <a:pt x="18566" y="18353"/>
                  </a:lnTo>
                  <a:lnTo>
                    <a:pt x="19995" y="16632"/>
                  </a:lnTo>
                  <a:lnTo>
                    <a:pt x="21708" y="16058"/>
                  </a:lnTo>
                  <a:lnTo>
                    <a:pt x="23422" y="15485"/>
                  </a:lnTo>
                  <a:lnTo>
                    <a:pt x="25136" y="15198"/>
                  </a:lnTo>
                  <a:lnTo>
                    <a:pt x="25993" y="16058"/>
                  </a:lnTo>
                  <a:lnTo>
                    <a:pt x="25422" y="17492"/>
                  </a:lnTo>
                  <a:lnTo>
                    <a:pt x="24279" y="19500"/>
                  </a:lnTo>
                  <a:lnTo>
                    <a:pt x="23422" y="22080"/>
                  </a:lnTo>
                  <a:lnTo>
                    <a:pt x="21708" y="23514"/>
                  </a:lnTo>
                  <a:lnTo>
                    <a:pt x="17995" y="27242"/>
                  </a:lnTo>
                  <a:lnTo>
                    <a:pt x="11140" y="27816"/>
                  </a:lnTo>
                  <a:lnTo>
                    <a:pt x="7141" y="25522"/>
                  </a:lnTo>
                  <a:lnTo>
                    <a:pt x="2856" y="22941"/>
                  </a:lnTo>
                  <a:lnTo>
                    <a:pt x="0" y="16632"/>
                  </a:lnTo>
                  <a:lnTo>
                    <a:pt x="856" y="11183"/>
                  </a:lnTo>
                  <a:lnTo>
                    <a:pt x="1713" y="6308"/>
                  </a:lnTo>
                  <a:lnTo>
                    <a:pt x="4570" y="2867"/>
                  </a:lnTo>
                  <a:lnTo>
                    <a:pt x="7426" y="9176"/>
                  </a:lnTo>
                  <a:lnTo>
                    <a:pt x="7998" y="12044"/>
                  </a:lnTo>
                  <a:lnTo>
                    <a:pt x="10854" y="11470"/>
                  </a:lnTo>
                  <a:lnTo>
                    <a:pt x="13425" y="10610"/>
                  </a:lnTo>
                  <a:lnTo>
                    <a:pt x="16567" y="9749"/>
                  </a:lnTo>
                  <a:lnTo>
                    <a:pt x="15139" y="6882"/>
                  </a:lnTo>
                  <a:lnTo>
                    <a:pt x="13710" y="6022"/>
                  </a:lnTo>
                  <a:lnTo>
                    <a:pt x="13996" y="0"/>
                  </a:lnTo>
                  <a:lnTo>
                    <a:pt x="18281" y="860"/>
                  </a:lnTo>
                  <a:lnTo>
                    <a:pt x="21708" y="4588"/>
                  </a:lnTo>
                  <a:lnTo>
                    <a:pt x="21994" y="4875"/>
                  </a:lnTo>
                  <a:lnTo>
                    <a:pt x="22280" y="5161"/>
                  </a:lnTo>
                  <a:lnTo>
                    <a:pt x="22565" y="5735"/>
                  </a:lnTo>
                  <a:lnTo>
                    <a:pt x="26564" y="11757"/>
                  </a:lnTo>
                  <a:lnTo>
                    <a:pt x="25993" y="12617"/>
                  </a:lnTo>
                  <a:lnTo>
                    <a:pt x="19423" y="14338"/>
                  </a:lnTo>
                  <a:lnTo>
                    <a:pt x="15996" y="15198"/>
                  </a:lnTo>
                  <a:lnTo>
                    <a:pt x="12568" y="16058"/>
                  </a:lnTo>
                  <a:lnTo>
                    <a:pt x="8854" y="16919"/>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0" name="Google Shape;1860;p13"/>
            <p:cNvSpPr/>
            <p:nvPr/>
          </p:nvSpPr>
          <p:spPr>
            <a:xfrm>
              <a:off x="715597" y="7349116"/>
              <a:ext cx="9426" cy="9176"/>
            </a:xfrm>
            <a:custGeom>
              <a:avLst/>
              <a:gdLst/>
              <a:ahLst/>
              <a:cxnLst/>
              <a:rect l="l" t="t" r="r" b="b"/>
              <a:pathLst>
                <a:path w="9426" h="9176" extrusionOk="0">
                  <a:moveTo>
                    <a:pt x="6855" y="6595"/>
                  </a:moveTo>
                  <a:lnTo>
                    <a:pt x="4284" y="7455"/>
                  </a:lnTo>
                  <a:lnTo>
                    <a:pt x="2856" y="9176"/>
                  </a:lnTo>
                  <a:lnTo>
                    <a:pt x="0" y="2867"/>
                  </a:lnTo>
                  <a:lnTo>
                    <a:pt x="4855" y="1433"/>
                  </a:lnTo>
                  <a:lnTo>
                    <a:pt x="9426" y="0"/>
                  </a:lnTo>
                  <a:lnTo>
                    <a:pt x="9140" y="6022"/>
                  </a:lnTo>
                  <a:lnTo>
                    <a:pt x="6855" y="659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1" name="Google Shape;1861;p13"/>
            <p:cNvSpPr/>
            <p:nvPr/>
          </p:nvSpPr>
          <p:spPr>
            <a:xfrm>
              <a:off x="602348" y="7350335"/>
              <a:ext cx="25357" cy="29026"/>
            </a:xfrm>
            <a:custGeom>
              <a:avLst/>
              <a:gdLst/>
              <a:ahLst/>
              <a:cxnLst/>
              <a:rect l="l" t="t" r="r" b="b"/>
              <a:pathLst>
                <a:path w="25357" h="29026" extrusionOk="0">
                  <a:moveTo>
                    <a:pt x="20229" y="27248"/>
                  </a:moveTo>
                  <a:lnTo>
                    <a:pt x="14245" y="29026"/>
                  </a:lnTo>
                  <a:lnTo>
                    <a:pt x="7692" y="26656"/>
                  </a:lnTo>
                  <a:lnTo>
                    <a:pt x="2849" y="24583"/>
                  </a:lnTo>
                  <a:lnTo>
                    <a:pt x="0" y="20140"/>
                  </a:lnTo>
                  <a:lnTo>
                    <a:pt x="569" y="14216"/>
                  </a:lnTo>
                  <a:lnTo>
                    <a:pt x="854" y="7404"/>
                  </a:lnTo>
                  <a:lnTo>
                    <a:pt x="4273" y="2665"/>
                  </a:lnTo>
                  <a:lnTo>
                    <a:pt x="9972" y="1184"/>
                  </a:lnTo>
                  <a:lnTo>
                    <a:pt x="15100" y="0"/>
                  </a:lnTo>
                  <a:lnTo>
                    <a:pt x="20798" y="2073"/>
                  </a:lnTo>
                  <a:lnTo>
                    <a:pt x="23363" y="6516"/>
                  </a:lnTo>
                  <a:lnTo>
                    <a:pt x="25357" y="9774"/>
                  </a:lnTo>
                  <a:lnTo>
                    <a:pt x="25072" y="13328"/>
                  </a:lnTo>
                  <a:lnTo>
                    <a:pt x="24502" y="16882"/>
                  </a:lnTo>
                  <a:lnTo>
                    <a:pt x="24502" y="18659"/>
                  </a:lnTo>
                  <a:lnTo>
                    <a:pt x="23363" y="18955"/>
                  </a:lnTo>
                  <a:lnTo>
                    <a:pt x="21653" y="18659"/>
                  </a:lnTo>
                  <a:lnTo>
                    <a:pt x="17949" y="17474"/>
                  </a:lnTo>
                  <a:lnTo>
                    <a:pt x="17949" y="10070"/>
                  </a:lnTo>
                  <a:lnTo>
                    <a:pt x="16525" y="8885"/>
                  </a:lnTo>
                  <a:lnTo>
                    <a:pt x="15100" y="7108"/>
                  </a:lnTo>
                  <a:lnTo>
                    <a:pt x="13391" y="6812"/>
                  </a:lnTo>
                  <a:lnTo>
                    <a:pt x="11681" y="6219"/>
                  </a:lnTo>
                  <a:lnTo>
                    <a:pt x="9687" y="7404"/>
                  </a:lnTo>
                  <a:lnTo>
                    <a:pt x="9117" y="10070"/>
                  </a:lnTo>
                  <a:lnTo>
                    <a:pt x="11681" y="10662"/>
                  </a:lnTo>
                  <a:lnTo>
                    <a:pt x="13960" y="16586"/>
                  </a:lnTo>
                  <a:lnTo>
                    <a:pt x="9972" y="15697"/>
                  </a:lnTo>
                  <a:lnTo>
                    <a:pt x="9402" y="15401"/>
                  </a:lnTo>
                  <a:lnTo>
                    <a:pt x="7977" y="15401"/>
                  </a:lnTo>
                  <a:lnTo>
                    <a:pt x="7692" y="15993"/>
                  </a:lnTo>
                  <a:lnTo>
                    <a:pt x="7407" y="16586"/>
                  </a:lnTo>
                  <a:lnTo>
                    <a:pt x="7407" y="17771"/>
                  </a:lnTo>
                  <a:lnTo>
                    <a:pt x="7692" y="18659"/>
                  </a:lnTo>
                  <a:lnTo>
                    <a:pt x="8832" y="21325"/>
                  </a:lnTo>
                  <a:lnTo>
                    <a:pt x="12536" y="22806"/>
                  </a:lnTo>
                  <a:lnTo>
                    <a:pt x="15385" y="21029"/>
                  </a:lnTo>
                  <a:lnTo>
                    <a:pt x="17949" y="19548"/>
                  </a:lnTo>
                  <a:lnTo>
                    <a:pt x="20229" y="20436"/>
                  </a:lnTo>
                  <a:lnTo>
                    <a:pt x="22793" y="21621"/>
                  </a:lnTo>
                  <a:lnTo>
                    <a:pt x="20229" y="27248"/>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2" name="Google Shape;1862;p13"/>
            <p:cNvSpPr/>
            <p:nvPr/>
          </p:nvSpPr>
          <p:spPr>
            <a:xfrm>
              <a:off x="614030" y="7360405"/>
              <a:ext cx="6268" cy="7404"/>
            </a:xfrm>
            <a:custGeom>
              <a:avLst/>
              <a:gdLst/>
              <a:ahLst/>
              <a:cxnLst/>
              <a:rect l="l" t="t" r="r" b="b"/>
              <a:pathLst>
                <a:path w="6268" h="7404" extrusionOk="0">
                  <a:moveTo>
                    <a:pt x="6268" y="7404"/>
                  </a:moveTo>
                  <a:lnTo>
                    <a:pt x="2279" y="6516"/>
                  </a:lnTo>
                  <a:lnTo>
                    <a:pt x="0" y="592"/>
                  </a:lnTo>
                  <a:lnTo>
                    <a:pt x="2279" y="1480"/>
                  </a:lnTo>
                  <a:lnTo>
                    <a:pt x="4843" y="1777"/>
                  </a:lnTo>
                  <a:lnTo>
                    <a:pt x="5128" y="1777"/>
                  </a:lnTo>
                  <a:lnTo>
                    <a:pt x="5698" y="592"/>
                  </a:lnTo>
                  <a:lnTo>
                    <a:pt x="6268" y="0"/>
                  </a:lnTo>
                  <a:lnTo>
                    <a:pt x="6268" y="740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3" name="Google Shape;1863;p13"/>
            <p:cNvSpPr/>
            <p:nvPr/>
          </p:nvSpPr>
          <p:spPr>
            <a:xfrm>
              <a:off x="679636" y="7346700"/>
              <a:ext cx="15697" cy="36282"/>
            </a:xfrm>
            <a:custGeom>
              <a:avLst/>
              <a:gdLst/>
              <a:ahLst/>
              <a:cxnLst/>
              <a:rect l="l" t="t" r="r" b="b"/>
              <a:pathLst>
                <a:path w="15697" h="36282" extrusionOk="0">
                  <a:moveTo>
                    <a:pt x="13984" y="6335"/>
                  </a:moveTo>
                  <a:lnTo>
                    <a:pt x="13414" y="6622"/>
                  </a:lnTo>
                  <a:lnTo>
                    <a:pt x="12843" y="7198"/>
                  </a:lnTo>
                  <a:lnTo>
                    <a:pt x="11986" y="7198"/>
                  </a:lnTo>
                  <a:lnTo>
                    <a:pt x="11416" y="7486"/>
                  </a:lnTo>
                  <a:lnTo>
                    <a:pt x="10845" y="8062"/>
                  </a:lnTo>
                  <a:lnTo>
                    <a:pt x="10559" y="8926"/>
                  </a:lnTo>
                  <a:lnTo>
                    <a:pt x="10845" y="9502"/>
                  </a:lnTo>
                  <a:lnTo>
                    <a:pt x="10845" y="9790"/>
                  </a:lnTo>
                  <a:lnTo>
                    <a:pt x="11701" y="10366"/>
                  </a:lnTo>
                  <a:lnTo>
                    <a:pt x="12272" y="10366"/>
                  </a:lnTo>
                  <a:lnTo>
                    <a:pt x="13699" y="10654"/>
                  </a:lnTo>
                  <a:lnTo>
                    <a:pt x="15126" y="9790"/>
                  </a:lnTo>
                  <a:lnTo>
                    <a:pt x="15411" y="12094"/>
                  </a:lnTo>
                  <a:lnTo>
                    <a:pt x="15697" y="14109"/>
                  </a:lnTo>
                  <a:lnTo>
                    <a:pt x="15126" y="15261"/>
                  </a:lnTo>
                  <a:lnTo>
                    <a:pt x="12843" y="15837"/>
                  </a:lnTo>
                  <a:lnTo>
                    <a:pt x="12272" y="15837"/>
                  </a:lnTo>
                  <a:lnTo>
                    <a:pt x="11416" y="16989"/>
                  </a:lnTo>
                  <a:lnTo>
                    <a:pt x="11416" y="17853"/>
                  </a:lnTo>
                  <a:lnTo>
                    <a:pt x="11701" y="22172"/>
                  </a:lnTo>
                  <a:lnTo>
                    <a:pt x="11986" y="26491"/>
                  </a:lnTo>
                  <a:lnTo>
                    <a:pt x="12557" y="30811"/>
                  </a:lnTo>
                  <a:lnTo>
                    <a:pt x="13128" y="34842"/>
                  </a:lnTo>
                  <a:lnTo>
                    <a:pt x="12843" y="35418"/>
                  </a:lnTo>
                  <a:lnTo>
                    <a:pt x="8562" y="35706"/>
                  </a:lnTo>
                  <a:lnTo>
                    <a:pt x="6278" y="36282"/>
                  </a:lnTo>
                  <a:lnTo>
                    <a:pt x="5422" y="35130"/>
                  </a:lnTo>
                  <a:lnTo>
                    <a:pt x="5422" y="32538"/>
                  </a:lnTo>
                  <a:lnTo>
                    <a:pt x="5137" y="28219"/>
                  </a:lnTo>
                  <a:lnTo>
                    <a:pt x="4851" y="23900"/>
                  </a:lnTo>
                  <a:lnTo>
                    <a:pt x="4281" y="19292"/>
                  </a:lnTo>
                  <a:lnTo>
                    <a:pt x="4281" y="17853"/>
                  </a:lnTo>
                  <a:lnTo>
                    <a:pt x="3995" y="16125"/>
                  </a:lnTo>
                  <a:lnTo>
                    <a:pt x="1427" y="16413"/>
                  </a:lnTo>
                  <a:lnTo>
                    <a:pt x="1141" y="16413"/>
                  </a:lnTo>
                  <a:lnTo>
                    <a:pt x="0" y="14973"/>
                  </a:lnTo>
                  <a:lnTo>
                    <a:pt x="0" y="13533"/>
                  </a:lnTo>
                  <a:lnTo>
                    <a:pt x="570" y="11806"/>
                  </a:lnTo>
                  <a:lnTo>
                    <a:pt x="1141" y="11806"/>
                  </a:lnTo>
                  <a:lnTo>
                    <a:pt x="2854" y="11230"/>
                  </a:lnTo>
                  <a:lnTo>
                    <a:pt x="3139" y="10078"/>
                  </a:lnTo>
                  <a:lnTo>
                    <a:pt x="3424" y="8350"/>
                  </a:lnTo>
                  <a:lnTo>
                    <a:pt x="3995" y="3455"/>
                  </a:lnTo>
                  <a:lnTo>
                    <a:pt x="8847" y="0"/>
                  </a:lnTo>
                  <a:lnTo>
                    <a:pt x="13128" y="1439"/>
                  </a:lnTo>
                  <a:lnTo>
                    <a:pt x="13984" y="1727"/>
                  </a:lnTo>
                  <a:lnTo>
                    <a:pt x="14555" y="3743"/>
                  </a:lnTo>
                  <a:lnTo>
                    <a:pt x="14841" y="4895"/>
                  </a:lnTo>
                  <a:lnTo>
                    <a:pt x="15126" y="5471"/>
                  </a:lnTo>
                  <a:lnTo>
                    <a:pt x="13984" y="633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4" name="Google Shape;1864;p13"/>
            <p:cNvSpPr/>
            <p:nvPr/>
          </p:nvSpPr>
          <p:spPr>
            <a:xfrm>
              <a:off x="649439" y="7350331"/>
              <a:ext cx="16905" cy="32654"/>
            </a:xfrm>
            <a:custGeom>
              <a:avLst/>
              <a:gdLst/>
              <a:ahLst/>
              <a:cxnLst/>
              <a:rect l="l" t="t" r="r" b="b"/>
              <a:pathLst>
                <a:path w="16905" h="32654" extrusionOk="0">
                  <a:moveTo>
                    <a:pt x="14864" y="12536"/>
                  </a:moveTo>
                  <a:lnTo>
                    <a:pt x="14281" y="12536"/>
                  </a:lnTo>
                  <a:lnTo>
                    <a:pt x="11658" y="12245"/>
                  </a:lnTo>
                  <a:lnTo>
                    <a:pt x="11075" y="13702"/>
                  </a:lnTo>
                  <a:lnTo>
                    <a:pt x="11075" y="18367"/>
                  </a:lnTo>
                  <a:lnTo>
                    <a:pt x="10784" y="20991"/>
                  </a:lnTo>
                  <a:lnTo>
                    <a:pt x="10784" y="23324"/>
                  </a:lnTo>
                  <a:lnTo>
                    <a:pt x="10492" y="25656"/>
                  </a:lnTo>
                  <a:lnTo>
                    <a:pt x="11075" y="26822"/>
                  </a:lnTo>
                  <a:lnTo>
                    <a:pt x="13407" y="27114"/>
                  </a:lnTo>
                  <a:lnTo>
                    <a:pt x="14281" y="27406"/>
                  </a:lnTo>
                  <a:lnTo>
                    <a:pt x="15447" y="28572"/>
                  </a:lnTo>
                  <a:lnTo>
                    <a:pt x="15447" y="29446"/>
                  </a:lnTo>
                  <a:lnTo>
                    <a:pt x="15739" y="30904"/>
                  </a:lnTo>
                  <a:lnTo>
                    <a:pt x="15447" y="32362"/>
                  </a:lnTo>
                  <a:lnTo>
                    <a:pt x="13407" y="32654"/>
                  </a:lnTo>
                  <a:lnTo>
                    <a:pt x="4954" y="32654"/>
                  </a:lnTo>
                  <a:lnTo>
                    <a:pt x="3206" y="30613"/>
                  </a:lnTo>
                  <a:lnTo>
                    <a:pt x="3789" y="25365"/>
                  </a:lnTo>
                  <a:lnTo>
                    <a:pt x="3789" y="13411"/>
                  </a:lnTo>
                  <a:lnTo>
                    <a:pt x="3497" y="12245"/>
                  </a:lnTo>
                  <a:lnTo>
                    <a:pt x="1748" y="11953"/>
                  </a:lnTo>
                  <a:lnTo>
                    <a:pt x="874" y="11662"/>
                  </a:lnTo>
                  <a:lnTo>
                    <a:pt x="0" y="10495"/>
                  </a:lnTo>
                  <a:lnTo>
                    <a:pt x="0" y="8746"/>
                  </a:lnTo>
                  <a:lnTo>
                    <a:pt x="874" y="7288"/>
                  </a:lnTo>
                  <a:lnTo>
                    <a:pt x="1457" y="7288"/>
                  </a:lnTo>
                  <a:lnTo>
                    <a:pt x="4371" y="6997"/>
                  </a:lnTo>
                  <a:lnTo>
                    <a:pt x="4371" y="2040"/>
                  </a:lnTo>
                  <a:lnTo>
                    <a:pt x="3789" y="0"/>
                  </a:lnTo>
                  <a:lnTo>
                    <a:pt x="6412" y="0"/>
                  </a:lnTo>
                  <a:lnTo>
                    <a:pt x="11367" y="291"/>
                  </a:lnTo>
                  <a:lnTo>
                    <a:pt x="11658" y="291"/>
                  </a:lnTo>
                  <a:lnTo>
                    <a:pt x="11658" y="7580"/>
                  </a:lnTo>
                  <a:lnTo>
                    <a:pt x="14864" y="7580"/>
                  </a:lnTo>
                  <a:lnTo>
                    <a:pt x="16905" y="7871"/>
                  </a:lnTo>
                  <a:lnTo>
                    <a:pt x="16322" y="9912"/>
                  </a:lnTo>
                  <a:lnTo>
                    <a:pt x="16030" y="11079"/>
                  </a:lnTo>
                  <a:lnTo>
                    <a:pt x="16030" y="11662"/>
                  </a:lnTo>
                  <a:lnTo>
                    <a:pt x="14864" y="1253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5" name="Google Shape;1865;p13"/>
            <p:cNvSpPr/>
            <p:nvPr/>
          </p:nvSpPr>
          <p:spPr>
            <a:xfrm>
              <a:off x="628924" y="7355170"/>
              <a:ext cx="19319" cy="25397"/>
            </a:xfrm>
            <a:custGeom>
              <a:avLst/>
              <a:gdLst/>
              <a:ahLst/>
              <a:cxnLst/>
              <a:rect l="l" t="t" r="r" b="b"/>
              <a:pathLst>
                <a:path w="19319" h="25397" extrusionOk="0">
                  <a:moveTo>
                    <a:pt x="1463" y="15802"/>
                  </a:moveTo>
                  <a:lnTo>
                    <a:pt x="2049" y="9594"/>
                  </a:lnTo>
                  <a:lnTo>
                    <a:pt x="2927" y="3668"/>
                  </a:lnTo>
                  <a:lnTo>
                    <a:pt x="3219" y="2539"/>
                  </a:lnTo>
                  <a:lnTo>
                    <a:pt x="4098" y="846"/>
                  </a:lnTo>
                  <a:lnTo>
                    <a:pt x="6439" y="846"/>
                  </a:lnTo>
                  <a:lnTo>
                    <a:pt x="9074" y="0"/>
                  </a:lnTo>
                  <a:lnTo>
                    <a:pt x="10245" y="2821"/>
                  </a:lnTo>
                  <a:lnTo>
                    <a:pt x="10245" y="3104"/>
                  </a:lnTo>
                  <a:lnTo>
                    <a:pt x="10537" y="3104"/>
                  </a:lnTo>
                  <a:lnTo>
                    <a:pt x="10537" y="3386"/>
                  </a:lnTo>
                  <a:lnTo>
                    <a:pt x="12294" y="2821"/>
                  </a:lnTo>
                  <a:lnTo>
                    <a:pt x="14050" y="1975"/>
                  </a:lnTo>
                  <a:lnTo>
                    <a:pt x="15806" y="1693"/>
                  </a:lnTo>
                  <a:lnTo>
                    <a:pt x="16977" y="1410"/>
                  </a:lnTo>
                  <a:lnTo>
                    <a:pt x="19026" y="1975"/>
                  </a:lnTo>
                  <a:lnTo>
                    <a:pt x="19026" y="2539"/>
                  </a:lnTo>
                  <a:lnTo>
                    <a:pt x="19319" y="3950"/>
                  </a:lnTo>
                  <a:lnTo>
                    <a:pt x="19026" y="5926"/>
                  </a:lnTo>
                  <a:lnTo>
                    <a:pt x="18734" y="7337"/>
                  </a:lnTo>
                  <a:lnTo>
                    <a:pt x="18734" y="7901"/>
                  </a:lnTo>
                  <a:lnTo>
                    <a:pt x="16977" y="8183"/>
                  </a:lnTo>
                  <a:lnTo>
                    <a:pt x="16099" y="8183"/>
                  </a:lnTo>
                  <a:lnTo>
                    <a:pt x="12587" y="7901"/>
                  </a:lnTo>
                  <a:lnTo>
                    <a:pt x="9952" y="9594"/>
                  </a:lnTo>
                  <a:lnTo>
                    <a:pt x="9367" y="13545"/>
                  </a:lnTo>
                  <a:lnTo>
                    <a:pt x="8488" y="16367"/>
                  </a:lnTo>
                  <a:lnTo>
                    <a:pt x="8196" y="19753"/>
                  </a:lnTo>
                  <a:lnTo>
                    <a:pt x="7903" y="22857"/>
                  </a:lnTo>
                  <a:lnTo>
                    <a:pt x="7610" y="25115"/>
                  </a:lnTo>
                  <a:lnTo>
                    <a:pt x="6439" y="25397"/>
                  </a:lnTo>
                  <a:lnTo>
                    <a:pt x="4390" y="25115"/>
                  </a:lnTo>
                  <a:lnTo>
                    <a:pt x="2634" y="24551"/>
                  </a:lnTo>
                  <a:lnTo>
                    <a:pt x="0" y="25115"/>
                  </a:lnTo>
                  <a:lnTo>
                    <a:pt x="585" y="22011"/>
                  </a:lnTo>
                  <a:lnTo>
                    <a:pt x="1463" y="1580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6" name="Google Shape;1866;p13"/>
            <p:cNvSpPr/>
            <p:nvPr/>
          </p:nvSpPr>
          <p:spPr>
            <a:xfrm>
              <a:off x="698945" y="7355165"/>
              <a:ext cx="10867" cy="25397"/>
            </a:xfrm>
            <a:custGeom>
              <a:avLst/>
              <a:gdLst/>
              <a:ahLst/>
              <a:cxnLst/>
              <a:rect l="l" t="t" r="r" b="b"/>
              <a:pathLst>
                <a:path w="10867" h="25397" extrusionOk="0">
                  <a:moveTo>
                    <a:pt x="285" y="1167"/>
                  </a:moveTo>
                  <a:lnTo>
                    <a:pt x="571" y="1167"/>
                  </a:lnTo>
                  <a:lnTo>
                    <a:pt x="2287" y="583"/>
                  </a:lnTo>
                  <a:lnTo>
                    <a:pt x="4003" y="0"/>
                  </a:lnTo>
                  <a:lnTo>
                    <a:pt x="5719" y="0"/>
                  </a:lnTo>
                  <a:lnTo>
                    <a:pt x="6577" y="291"/>
                  </a:lnTo>
                  <a:lnTo>
                    <a:pt x="7149" y="2335"/>
                  </a:lnTo>
                  <a:lnTo>
                    <a:pt x="7435" y="3503"/>
                  </a:lnTo>
                  <a:lnTo>
                    <a:pt x="8293" y="8757"/>
                  </a:lnTo>
                  <a:lnTo>
                    <a:pt x="9151" y="14304"/>
                  </a:lnTo>
                  <a:lnTo>
                    <a:pt x="10009" y="19850"/>
                  </a:lnTo>
                  <a:lnTo>
                    <a:pt x="10867" y="24521"/>
                  </a:lnTo>
                  <a:lnTo>
                    <a:pt x="10295" y="25105"/>
                  </a:lnTo>
                  <a:lnTo>
                    <a:pt x="4861" y="25397"/>
                  </a:lnTo>
                  <a:lnTo>
                    <a:pt x="4575" y="25105"/>
                  </a:lnTo>
                  <a:lnTo>
                    <a:pt x="3717" y="24521"/>
                  </a:lnTo>
                  <a:lnTo>
                    <a:pt x="3431" y="23645"/>
                  </a:lnTo>
                  <a:lnTo>
                    <a:pt x="2287" y="16931"/>
                  </a:lnTo>
                  <a:lnTo>
                    <a:pt x="1143" y="9925"/>
                  </a:lnTo>
                  <a:lnTo>
                    <a:pt x="0" y="2919"/>
                  </a:lnTo>
                  <a:lnTo>
                    <a:pt x="0" y="2335"/>
                  </a:lnTo>
                  <a:lnTo>
                    <a:pt x="285" y="1167"/>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7" name="Google Shape;1867;p13"/>
            <p:cNvSpPr/>
            <p:nvPr/>
          </p:nvSpPr>
          <p:spPr>
            <a:xfrm>
              <a:off x="668766" y="7357586"/>
              <a:ext cx="8452" cy="25397"/>
            </a:xfrm>
            <a:custGeom>
              <a:avLst/>
              <a:gdLst/>
              <a:ahLst/>
              <a:cxnLst/>
              <a:rect l="l" t="t" r="r" b="b"/>
              <a:pathLst>
                <a:path w="8452" h="25397" extrusionOk="0">
                  <a:moveTo>
                    <a:pt x="3924" y="0"/>
                  </a:moveTo>
                  <a:lnTo>
                    <a:pt x="7546" y="0"/>
                  </a:lnTo>
                  <a:lnTo>
                    <a:pt x="7848" y="3543"/>
                  </a:lnTo>
                  <a:lnTo>
                    <a:pt x="7848" y="9745"/>
                  </a:lnTo>
                  <a:lnTo>
                    <a:pt x="8150" y="15651"/>
                  </a:lnTo>
                  <a:lnTo>
                    <a:pt x="8452" y="21853"/>
                  </a:lnTo>
                  <a:lnTo>
                    <a:pt x="8452" y="24216"/>
                  </a:lnTo>
                  <a:lnTo>
                    <a:pt x="8150" y="25397"/>
                  </a:lnTo>
                  <a:lnTo>
                    <a:pt x="905" y="25397"/>
                  </a:lnTo>
                  <a:lnTo>
                    <a:pt x="603" y="22149"/>
                  </a:lnTo>
                  <a:lnTo>
                    <a:pt x="603" y="15947"/>
                  </a:lnTo>
                  <a:lnTo>
                    <a:pt x="301" y="9745"/>
                  </a:lnTo>
                  <a:lnTo>
                    <a:pt x="301" y="3543"/>
                  </a:lnTo>
                  <a:lnTo>
                    <a:pt x="0" y="295"/>
                  </a:lnTo>
                  <a:lnTo>
                    <a:pt x="603" y="0"/>
                  </a:lnTo>
                  <a:lnTo>
                    <a:pt x="3924" y="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8" name="Google Shape;1868;p13"/>
            <p:cNvSpPr/>
            <p:nvPr/>
          </p:nvSpPr>
          <p:spPr>
            <a:xfrm>
              <a:off x="697739" y="7345484"/>
              <a:ext cx="7245" cy="7256"/>
            </a:xfrm>
            <a:custGeom>
              <a:avLst/>
              <a:gdLst/>
              <a:ahLst/>
              <a:cxnLst/>
              <a:rect l="l" t="t" r="r" b="b"/>
              <a:pathLst>
                <a:path w="7245" h="7256" extrusionOk="0">
                  <a:moveTo>
                    <a:pt x="2069" y="6977"/>
                  </a:moveTo>
                  <a:lnTo>
                    <a:pt x="0" y="6977"/>
                  </a:lnTo>
                  <a:lnTo>
                    <a:pt x="517" y="4465"/>
                  </a:lnTo>
                  <a:lnTo>
                    <a:pt x="517" y="0"/>
                  </a:lnTo>
                  <a:lnTo>
                    <a:pt x="3104" y="1116"/>
                  </a:lnTo>
                  <a:lnTo>
                    <a:pt x="4657" y="837"/>
                  </a:lnTo>
                  <a:lnTo>
                    <a:pt x="7245" y="279"/>
                  </a:lnTo>
                  <a:lnTo>
                    <a:pt x="6986" y="2790"/>
                  </a:lnTo>
                  <a:lnTo>
                    <a:pt x="7245" y="4465"/>
                  </a:lnTo>
                  <a:lnTo>
                    <a:pt x="7245" y="6140"/>
                  </a:lnTo>
                  <a:lnTo>
                    <a:pt x="5692" y="7256"/>
                  </a:lnTo>
                  <a:lnTo>
                    <a:pt x="2069" y="6977"/>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9" name="Google Shape;1869;p13"/>
            <p:cNvSpPr/>
            <p:nvPr/>
          </p:nvSpPr>
          <p:spPr>
            <a:xfrm>
              <a:off x="668767" y="7349115"/>
              <a:ext cx="7244" cy="6047"/>
            </a:xfrm>
            <a:custGeom>
              <a:avLst/>
              <a:gdLst/>
              <a:ahLst/>
              <a:cxnLst/>
              <a:rect l="l" t="t" r="r" b="b"/>
              <a:pathLst>
                <a:path w="7244" h="6047" extrusionOk="0">
                  <a:moveTo>
                    <a:pt x="2897" y="5784"/>
                  </a:moveTo>
                  <a:lnTo>
                    <a:pt x="1159" y="6047"/>
                  </a:lnTo>
                  <a:lnTo>
                    <a:pt x="0" y="6047"/>
                  </a:lnTo>
                  <a:lnTo>
                    <a:pt x="0" y="788"/>
                  </a:lnTo>
                  <a:lnTo>
                    <a:pt x="289" y="525"/>
                  </a:lnTo>
                  <a:lnTo>
                    <a:pt x="4636" y="0"/>
                  </a:lnTo>
                  <a:lnTo>
                    <a:pt x="6665" y="0"/>
                  </a:lnTo>
                  <a:lnTo>
                    <a:pt x="7244" y="788"/>
                  </a:lnTo>
                  <a:lnTo>
                    <a:pt x="7244" y="5521"/>
                  </a:lnTo>
                  <a:lnTo>
                    <a:pt x="2897" y="578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0" name="Google Shape;1870;p13"/>
            <p:cNvSpPr/>
            <p:nvPr/>
          </p:nvSpPr>
          <p:spPr>
            <a:xfrm>
              <a:off x="654264" y="6868984"/>
              <a:ext cx="31395" cy="32653"/>
            </a:xfrm>
            <a:custGeom>
              <a:avLst/>
              <a:gdLst/>
              <a:ahLst/>
              <a:cxnLst/>
              <a:rect l="l" t="t" r="r" b="b"/>
              <a:pathLst>
                <a:path w="31395" h="32653" extrusionOk="0">
                  <a:moveTo>
                    <a:pt x="8064" y="844"/>
                  </a:moveTo>
                  <a:lnTo>
                    <a:pt x="8352" y="844"/>
                  </a:lnTo>
                  <a:lnTo>
                    <a:pt x="9793" y="5630"/>
                  </a:lnTo>
                  <a:lnTo>
                    <a:pt x="11521" y="11541"/>
                  </a:lnTo>
                  <a:lnTo>
                    <a:pt x="13537" y="17171"/>
                  </a:lnTo>
                  <a:lnTo>
                    <a:pt x="15265" y="23082"/>
                  </a:lnTo>
                  <a:lnTo>
                    <a:pt x="16129" y="23082"/>
                  </a:lnTo>
                  <a:lnTo>
                    <a:pt x="16993" y="20831"/>
                  </a:lnTo>
                  <a:lnTo>
                    <a:pt x="17569" y="18860"/>
                  </a:lnTo>
                  <a:lnTo>
                    <a:pt x="18434" y="16608"/>
                  </a:lnTo>
                  <a:lnTo>
                    <a:pt x="19874" y="12667"/>
                  </a:lnTo>
                  <a:lnTo>
                    <a:pt x="21026" y="8445"/>
                  </a:lnTo>
                  <a:lnTo>
                    <a:pt x="22466" y="4504"/>
                  </a:lnTo>
                  <a:lnTo>
                    <a:pt x="23618" y="1407"/>
                  </a:lnTo>
                  <a:lnTo>
                    <a:pt x="27363" y="0"/>
                  </a:lnTo>
                  <a:lnTo>
                    <a:pt x="30243" y="1970"/>
                  </a:lnTo>
                  <a:lnTo>
                    <a:pt x="31107" y="2252"/>
                  </a:lnTo>
                  <a:lnTo>
                    <a:pt x="31395" y="3659"/>
                  </a:lnTo>
                  <a:lnTo>
                    <a:pt x="31395" y="12949"/>
                  </a:lnTo>
                  <a:lnTo>
                    <a:pt x="31107" y="21112"/>
                  </a:lnTo>
                  <a:lnTo>
                    <a:pt x="31107" y="29557"/>
                  </a:lnTo>
                  <a:lnTo>
                    <a:pt x="30819" y="31246"/>
                  </a:lnTo>
                  <a:lnTo>
                    <a:pt x="30819" y="32653"/>
                  </a:lnTo>
                  <a:lnTo>
                    <a:pt x="25923" y="32653"/>
                  </a:lnTo>
                  <a:lnTo>
                    <a:pt x="25346" y="31528"/>
                  </a:lnTo>
                  <a:lnTo>
                    <a:pt x="25346" y="11541"/>
                  </a:lnTo>
                  <a:lnTo>
                    <a:pt x="23330" y="17452"/>
                  </a:lnTo>
                  <a:lnTo>
                    <a:pt x="21026" y="23364"/>
                  </a:lnTo>
                  <a:lnTo>
                    <a:pt x="19010" y="29275"/>
                  </a:lnTo>
                  <a:lnTo>
                    <a:pt x="18434" y="30964"/>
                  </a:lnTo>
                  <a:lnTo>
                    <a:pt x="17858" y="32653"/>
                  </a:lnTo>
                  <a:lnTo>
                    <a:pt x="12961" y="32653"/>
                  </a:lnTo>
                  <a:lnTo>
                    <a:pt x="12673" y="30964"/>
                  </a:lnTo>
                  <a:lnTo>
                    <a:pt x="12097" y="29275"/>
                  </a:lnTo>
                  <a:lnTo>
                    <a:pt x="10081" y="23646"/>
                  </a:lnTo>
                  <a:lnTo>
                    <a:pt x="8352" y="18015"/>
                  </a:lnTo>
                  <a:lnTo>
                    <a:pt x="5760" y="12386"/>
                  </a:lnTo>
                  <a:lnTo>
                    <a:pt x="5760" y="13230"/>
                  </a:lnTo>
                  <a:lnTo>
                    <a:pt x="5472" y="14074"/>
                  </a:lnTo>
                  <a:lnTo>
                    <a:pt x="5472" y="31246"/>
                  </a:lnTo>
                  <a:lnTo>
                    <a:pt x="4608" y="32090"/>
                  </a:lnTo>
                  <a:lnTo>
                    <a:pt x="576" y="32090"/>
                  </a:lnTo>
                  <a:lnTo>
                    <a:pt x="0" y="30964"/>
                  </a:lnTo>
                  <a:lnTo>
                    <a:pt x="0" y="29275"/>
                  </a:lnTo>
                  <a:lnTo>
                    <a:pt x="286" y="16473"/>
                  </a:lnTo>
                  <a:lnTo>
                    <a:pt x="568" y="3879"/>
                  </a:lnTo>
                  <a:lnTo>
                    <a:pt x="576" y="3659"/>
                  </a:lnTo>
                  <a:lnTo>
                    <a:pt x="576" y="1970"/>
                  </a:lnTo>
                  <a:lnTo>
                    <a:pt x="1152" y="1126"/>
                  </a:lnTo>
                  <a:lnTo>
                    <a:pt x="2880" y="1126"/>
                  </a:lnTo>
                  <a:lnTo>
                    <a:pt x="8064" y="84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1" name="Google Shape;1871;p13"/>
            <p:cNvSpPr/>
            <p:nvPr/>
          </p:nvSpPr>
          <p:spPr>
            <a:xfrm>
              <a:off x="795543" y="6924609"/>
              <a:ext cx="37433" cy="37490"/>
            </a:xfrm>
            <a:custGeom>
              <a:avLst/>
              <a:gdLst/>
              <a:ahLst/>
              <a:cxnLst/>
              <a:rect l="l" t="t" r="r" b="b"/>
              <a:pathLst>
                <a:path w="37433" h="37490" extrusionOk="0">
                  <a:moveTo>
                    <a:pt x="580" y="16856"/>
                  </a:moveTo>
                  <a:lnTo>
                    <a:pt x="2031" y="15403"/>
                  </a:lnTo>
                  <a:lnTo>
                    <a:pt x="5513" y="11043"/>
                  </a:lnTo>
                  <a:lnTo>
                    <a:pt x="8705" y="6393"/>
                  </a:lnTo>
                  <a:lnTo>
                    <a:pt x="12187" y="2325"/>
                  </a:lnTo>
                  <a:lnTo>
                    <a:pt x="13058" y="1453"/>
                  </a:lnTo>
                  <a:lnTo>
                    <a:pt x="14509" y="0"/>
                  </a:lnTo>
                  <a:lnTo>
                    <a:pt x="15089" y="290"/>
                  </a:lnTo>
                  <a:lnTo>
                    <a:pt x="16540" y="871"/>
                  </a:lnTo>
                  <a:lnTo>
                    <a:pt x="17410" y="2325"/>
                  </a:lnTo>
                  <a:lnTo>
                    <a:pt x="18571" y="3487"/>
                  </a:lnTo>
                  <a:lnTo>
                    <a:pt x="18281" y="3778"/>
                  </a:lnTo>
                  <a:lnTo>
                    <a:pt x="18281" y="4068"/>
                  </a:lnTo>
                  <a:lnTo>
                    <a:pt x="17991" y="4359"/>
                  </a:lnTo>
                  <a:lnTo>
                    <a:pt x="22634" y="4359"/>
                  </a:lnTo>
                  <a:lnTo>
                    <a:pt x="25535" y="6103"/>
                  </a:lnTo>
                  <a:lnTo>
                    <a:pt x="26696" y="10753"/>
                  </a:lnTo>
                  <a:lnTo>
                    <a:pt x="26986" y="11334"/>
                  </a:lnTo>
                  <a:lnTo>
                    <a:pt x="28437" y="12206"/>
                  </a:lnTo>
                  <a:lnTo>
                    <a:pt x="32500" y="12206"/>
                  </a:lnTo>
                  <a:lnTo>
                    <a:pt x="34821" y="13950"/>
                  </a:lnTo>
                  <a:lnTo>
                    <a:pt x="35982" y="16565"/>
                  </a:lnTo>
                  <a:lnTo>
                    <a:pt x="37433" y="19472"/>
                  </a:lnTo>
                  <a:lnTo>
                    <a:pt x="36562" y="22087"/>
                  </a:lnTo>
                  <a:lnTo>
                    <a:pt x="34821" y="24703"/>
                  </a:lnTo>
                  <a:lnTo>
                    <a:pt x="31919" y="28190"/>
                  </a:lnTo>
                  <a:lnTo>
                    <a:pt x="29018" y="31678"/>
                  </a:lnTo>
                  <a:lnTo>
                    <a:pt x="26406" y="35456"/>
                  </a:lnTo>
                  <a:lnTo>
                    <a:pt x="24955" y="37490"/>
                  </a:lnTo>
                  <a:lnTo>
                    <a:pt x="23794" y="36618"/>
                  </a:lnTo>
                  <a:lnTo>
                    <a:pt x="22343" y="35456"/>
                  </a:lnTo>
                  <a:lnTo>
                    <a:pt x="20602" y="34293"/>
                  </a:lnTo>
                  <a:lnTo>
                    <a:pt x="20893" y="33422"/>
                  </a:lnTo>
                  <a:lnTo>
                    <a:pt x="22053" y="31968"/>
                  </a:lnTo>
                  <a:lnTo>
                    <a:pt x="24665" y="28772"/>
                  </a:lnTo>
                  <a:lnTo>
                    <a:pt x="26986" y="25575"/>
                  </a:lnTo>
                  <a:lnTo>
                    <a:pt x="29598" y="22378"/>
                  </a:lnTo>
                  <a:lnTo>
                    <a:pt x="31049" y="20634"/>
                  </a:lnTo>
                  <a:lnTo>
                    <a:pt x="31919" y="18600"/>
                  </a:lnTo>
                  <a:lnTo>
                    <a:pt x="29598" y="16856"/>
                  </a:lnTo>
                  <a:lnTo>
                    <a:pt x="27857" y="15112"/>
                  </a:lnTo>
                  <a:lnTo>
                    <a:pt x="25826" y="15403"/>
                  </a:lnTo>
                  <a:lnTo>
                    <a:pt x="23794" y="17728"/>
                  </a:lnTo>
                  <a:lnTo>
                    <a:pt x="21183" y="20634"/>
                  </a:lnTo>
                  <a:lnTo>
                    <a:pt x="18571" y="23831"/>
                  </a:lnTo>
                  <a:lnTo>
                    <a:pt x="16250" y="27318"/>
                  </a:lnTo>
                  <a:lnTo>
                    <a:pt x="15089" y="29062"/>
                  </a:lnTo>
                  <a:lnTo>
                    <a:pt x="13928" y="29062"/>
                  </a:lnTo>
                  <a:lnTo>
                    <a:pt x="12477" y="27900"/>
                  </a:lnTo>
                  <a:lnTo>
                    <a:pt x="10736" y="26737"/>
                  </a:lnTo>
                  <a:lnTo>
                    <a:pt x="10446" y="25575"/>
                  </a:lnTo>
                  <a:lnTo>
                    <a:pt x="11897" y="23831"/>
                  </a:lnTo>
                  <a:lnTo>
                    <a:pt x="14218" y="20925"/>
                  </a:lnTo>
                  <a:lnTo>
                    <a:pt x="16830" y="17728"/>
                  </a:lnTo>
                  <a:lnTo>
                    <a:pt x="19151" y="14531"/>
                  </a:lnTo>
                  <a:lnTo>
                    <a:pt x="20312" y="12787"/>
                  </a:lnTo>
                  <a:lnTo>
                    <a:pt x="22053" y="11043"/>
                  </a:lnTo>
                  <a:lnTo>
                    <a:pt x="19732" y="9009"/>
                  </a:lnTo>
                  <a:lnTo>
                    <a:pt x="17991" y="7265"/>
                  </a:lnTo>
                  <a:lnTo>
                    <a:pt x="15089" y="7556"/>
                  </a:lnTo>
                  <a:lnTo>
                    <a:pt x="13348" y="9881"/>
                  </a:lnTo>
                  <a:lnTo>
                    <a:pt x="10736" y="12787"/>
                  </a:lnTo>
                  <a:lnTo>
                    <a:pt x="8415" y="15693"/>
                  </a:lnTo>
                  <a:lnTo>
                    <a:pt x="6383" y="18890"/>
                  </a:lnTo>
                  <a:lnTo>
                    <a:pt x="4933" y="20634"/>
                  </a:lnTo>
                  <a:lnTo>
                    <a:pt x="4062" y="21215"/>
                  </a:lnTo>
                  <a:lnTo>
                    <a:pt x="2031" y="19762"/>
                  </a:lnTo>
                  <a:lnTo>
                    <a:pt x="0" y="18018"/>
                  </a:lnTo>
                  <a:lnTo>
                    <a:pt x="580" y="1685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2" name="Google Shape;1872;p13"/>
            <p:cNvSpPr/>
            <p:nvPr/>
          </p:nvSpPr>
          <p:spPr>
            <a:xfrm>
              <a:off x="753280" y="6900421"/>
              <a:ext cx="28980" cy="35072"/>
            </a:xfrm>
            <a:custGeom>
              <a:avLst/>
              <a:gdLst/>
              <a:ahLst/>
              <a:cxnLst/>
              <a:rect l="l" t="t" r="r" b="b"/>
              <a:pathLst>
                <a:path w="28980" h="35072" extrusionOk="0">
                  <a:moveTo>
                    <a:pt x="568" y="22344"/>
                  </a:moveTo>
                  <a:lnTo>
                    <a:pt x="1136" y="21212"/>
                  </a:lnTo>
                  <a:lnTo>
                    <a:pt x="2272" y="22061"/>
                  </a:lnTo>
                  <a:lnTo>
                    <a:pt x="3977" y="22627"/>
                  </a:lnTo>
                  <a:lnTo>
                    <a:pt x="5114" y="23758"/>
                  </a:lnTo>
                  <a:lnTo>
                    <a:pt x="5682" y="24607"/>
                  </a:lnTo>
                  <a:lnTo>
                    <a:pt x="5966" y="26021"/>
                  </a:lnTo>
                  <a:lnTo>
                    <a:pt x="6818" y="26869"/>
                  </a:lnTo>
                  <a:lnTo>
                    <a:pt x="9944" y="29980"/>
                  </a:lnTo>
                  <a:lnTo>
                    <a:pt x="13637" y="28566"/>
                  </a:lnTo>
                  <a:lnTo>
                    <a:pt x="14490" y="24607"/>
                  </a:lnTo>
                  <a:lnTo>
                    <a:pt x="11933" y="23758"/>
                  </a:lnTo>
                  <a:lnTo>
                    <a:pt x="9091" y="23192"/>
                  </a:lnTo>
                  <a:lnTo>
                    <a:pt x="7103" y="21778"/>
                  </a:lnTo>
                  <a:lnTo>
                    <a:pt x="2557" y="18950"/>
                  </a:lnTo>
                  <a:lnTo>
                    <a:pt x="3125" y="12162"/>
                  </a:lnTo>
                  <a:lnTo>
                    <a:pt x="5682" y="7919"/>
                  </a:lnTo>
                  <a:lnTo>
                    <a:pt x="7387" y="5656"/>
                  </a:lnTo>
                  <a:lnTo>
                    <a:pt x="9660" y="3111"/>
                  </a:lnTo>
                  <a:lnTo>
                    <a:pt x="8807" y="11313"/>
                  </a:lnTo>
                  <a:lnTo>
                    <a:pt x="9091" y="15273"/>
                  </a:lnTo>
                  <a:lnTo>
                    <a:pt x="9091" y="17818"/>
                  </a:lnTo>
                  <a:lnTo>
                    <a:pt x="11080" y="19798"/>
                  </a:lnTo>
                  <a:lnTo>
                    <a:pt x="13922" y="19798"/>
                  </a:lnTo>
                  <a:lnTo>
                    <a:pt x="17047" y="19515"/>
                  </a:lnTo>
                  <a:lnTo>
                    <a:pt x="20741" y="14990"/>
                  </a:lnTo>
                  <a:lnTo>
                    <a:pt x="20456" y="11030"/>
                  </a:lnTo>
                  <a:lnTo>
                    <a:pt x="20456" y="8485"/>
                  </a:lnTo>
                  <a:lnTo>
                    <a:pt x="18468" y="6222"/>
                  </a:lnTo>
                  <a:lnTo>
                    <a:pt x="15910" y="6222"/>
                  </a:lnTo>
                  <a:lnTo>
                    <a:pt x="12785" y="5939"/>
                  </a:lnTo>
                  <a:lnTo>
                    <a:pt x="16479" y="0"/>
                  </a:lnTo>
                  <a:lnTo>
                    <a:pt x="19888" y="1414"/>
                  </a:lnTo>
                  <a:lnTo>
                    <a:pt x="23014" y="5939"/>
                  </a:lnTo>
                  <a:lnTo>
                    <a:pt x="24150" y="5939"/>
                  </a:lnTo>
                  <a:lnTo>
                    <a:pt x="25002" y="5656"/>
                  </a:lnTo>
                  <a:lnTo>
                    <a:pt x="26139" y="5939"/>
                  </a:lnTo>
                  <a:lnTo>
                    <a:pt x="28696" y="6788"/>
                  </a:lnTo>
                  <a:lnTo>
                    <a:pt x="28980" y="7353"/>
                  </a:lnTo>
                  <a:lnTo>
                    <a:pt x="27844" y="9899"/>
                  </a:lnTo>
                  <a:lnTo>
                    <a:pt x="25002" y="15556"/>
                  </a:lnTo>
                  <a:lnTo>
                    <a:pt x="22729" y="21212"/>
                  </a:lnTo>
                  <a:lnTo>
                    <a:pt x="19888" y="26869"/>
                  </a:lnTo>
                  <a:lnTo>
                    <a:pt x="16195" y="34223"/>
                  </a:lnTo>
                  <a:lnTo>
                    <a:pt x="6534" y="35072"/>
                  </a:lnTo>
                  <a:lnTo>
                    <a:pt x="1420" y="28283"/>
                  </a:lnTo>
                  <a:lnTo>
                    <a:pt x="852" y="27152"/>
                  </a:lnTo>
                  <a:lnTo>
                    <a:pt x="284" y="26021"/>
                  </a:lnTo>
                  <a:lnTo>
                    <a:pt x="0" y="24889"/>
                  </a:lnTo>
                  <a:lnTo>
                    <a:pt x="0" y="23758"/>
                  </a:lnTo>
                  <a:lnTo>
                    <a:pt x="568" y="2234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3" name="Google Shape;1873;p13"/>
            <p:cNvSpPr/>
            <p:nvPr/>
          </p:nvSpPr>
          <p:spPr>
            <a:xfrm>
              <a:off x="762088" y="6900421"/>
              <a:ext cx="7671" cy="11313"/>
            </a:xfrm>
            <a:custGeom>
              <a:avLst/>
              <a:gdLst/>
              <a:ahLst/>
              <a:cxnLst/>
              <a:rect l="l" t="t" r="r" b="b"/>
              <a:pathLst>
                <a:path w="7671" h="11313" extrusionOk="0">
                  <a:moveTo>
                    <a:pt x="3977" y="5939"/>
                  </a:moveTo>
                  <a:lnTo>
                    <a:pt x="0" y="11313"/>
                  </a:lnTo>
                  <a:lnTo>
                    <a:pt x="852" y="3111"/>
                  </a:lnTo>
                  <a:lnTo>
                    <a:pt x="3409" y="1979"/>
                  </a:lnTo>
                  <a:lnTo>
                    <a:pt x="7671" y="0"/>
                  </a:lnTo>
                  <a:lnTo>
                    <a:pt x="3977" y="5939"/>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4" name="Google Shape;1874;p13"/>
            <p:cNvSpPr/>
            <p:nvPr/>
          </p:nvSpPr>
          <p:spPr>
            <a:xfrm>
              <a:off x="689284" y="6890508"/>
              <a:ext cx="8114" cy="14485"/>
            </a:xfrm>
            <a:custGeom>
              <a:avLst/>
              <a:gdLst/>
              <a:ahLst/>
              <a:cxnLst/>
              <a:rect l="l" t="t" r="r" b="b"/>
              <a:pathLst>
                <a:path w="8114" h="14485" extrusionOk="0">
                  <a:moveTo>
                    <a:pt x="2898" y="295"/>
                  </a:moveTo>
                  <a:lnTo>
                    <a:pt x="6375" y="0"/>
                  </a:lnTo>
                  <a:lnTo>
                    <a:pt x="8114" y="0"/>
                  </a:lnTo>
                  <a:lnTo>
                    <a:pt x="6375" y="5912"/>
                  </a:lnTo>
                  <a:lnTo>
                    <a:pt x="6085" y="6799"/>
                  </a:lnTo>
                  <a:lnTo>
                    <a:pt x="6085" y="7686"/>
                  </a:lnTo>
                  <a:lnTo>
                    <a:pt x="8114" y="14485"/>
                  </a:lnTo>
                  <a:lnTo>
                    <a:pt x="5796" y="13894"/>
                  </a:lnTo>
                  <a:lnTo>
                    <a:pt x="4057" y="13303"/>
                  </a:lnTo>
                  <a:lnTo>
                    <a:pt x="1159" y="12120"/>
                  </a:lnTo>
                  <a:lnTo>
                    <a:pt x="0" y="9164"/>
                  </a:lnTo>
                  <a:lnTo>
                    <a:pt x="289" y="5912"/>
                  </a:lnTo>
                  <a:lnTo>
                    <a:pt x="1159" y="2069"/>
                  </a:lnTo>
                  <a:lnTo>
                    <a:pt x="2898" y="29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5" name="Google Shape;1875;p13"/>
            <p:cNvSpPr/>
            <p:nvPr/>
          </p:nvSpPr>
          <p:spPr>
            <a:xfrm>
              <a:off x="691892" y="6879865"/>
              <a:ext cx="19127" cy="26606"/>
            </a:xfrm>
            <a:custGeom>
              <a:avLst/>
              <a:gdLst/>
              <a:ahLst/>
              <a:cxnLst/>
              <a:rect l="l" t="t" r="r" b="b"/>
              <a:pathLst>
                <a:path w="19127" h="26606" extrusionOk="0">
                  <a:moveTo>
                    <a:pt x="17967" y="14190"/>
                  </a:moveTo>
                  <a:lnTo>
                    <a:pt x="17678" y="16850"/>
                  </a:lnTo>
                  <a:lnTo>
                    <a:pt x="17388" y="18920"/>
                  </a:lnTo>
                  <a:lnTo>
                    <a:pt x="16808" y="20989"/>
                  </a:lnTo>
                  <a:lnTo>
                    <a:pt x="18547" y="22763"/>
                  </a:lnTo>
                  <a:lnTo>
                    <a:pt x="18837" y="23354"/>
                  </a:lnTo>
                  <a:lnTo>
                    <a:pt x="18547" y="25719"/>
                  </a:lnTo>
                  <a:lnTo>
                    <a:pt x="17967" y="25719"/>
                  </a:lnTo>
                  <a:lnTo>
                    <a:pt x="16808" y="26311"/>
                  </a:lnTo>
                  <a:lnTo>
                    <a:pt x="14780" y="26606"/>
                  </a:lnTo>
                  <a:lnTo>
                    <a:pt x="13910" y="26015"/>
                  </a:lnTo>
                  <a:lnTo>
                    <a:pt x="11881" y="23946"/>
                  </a:lnTo>
                  <a:lnTo>
                    <a:pt x="9853" y="24537"/>
                  </a:lnTo>
                  <a:lnTo>
                    <a:pt x="7534" y="24832"/>
                  </a:lnTo>
                  <a:lnTo>
                    <a:pt x="5506" y="25128"/>
                  </a:lnTo>
                  <a:lnTo>
                    <a:pt x="3477" y="18329"/>
                  </a:lnTo>
                  <a:lnTo>
                    <a:pt x="4926" y="19807"/>
                  </a:lnTo>
                  <a:lnTo>
                    <a:pt x="6085" y="20102"/>
                  </a:lnTo>
                  <a:lnTo>
                    <a:pt x="9563" y="21285"/>
                  </a:lnTo>
                  <a:lnTo>
                    <a:pt x="12171" y="18920"/>
                  </a:lnTo>
                  <a:lnTo>
                    <a:pt x="11881" y="14190"/>
                  </a:lnTo>
                  <a:lnTo>
                    <a:pt x="7824" y="14190"/>
                  </a:lnTo>
                  <a:lnTo>
                    <a:pt x="5796" y="14781"/>
                  </a:lnTo>
                  <a:lnTo>
                    <a:pt x="4926" y="14781"/>
                  </a:lnTo>
                  <a:lnTo>
                    <a:pt x="3767" y="16555"/>
                  </a:lnTo>
                  <a:lnTo>
                    <a:pt x="5506" y="10642"/>
                  </a:lnTo>
                  <a:lnTo>
                    <a:pt x="7245" y="10938"/>
                  </a:lnTo>
                  <a:lnTo>
                    <a:pt x="8983" y="10642"/>
                  </a:lnTo>
                  <a:lnTo>
                    <a:pt x="10432" y="10051"/>
                  </a:lnTo>
                  <a:lnTo>
                    <a:pt x="11881" y="9164"/>
                  </a:lnTo>
                  <a:lnTo>
                    <a:pt x="13330" y="8277"/>
                  </a:lnTo>
                  <a:lnTo>
                    <a:pt x="13041" y="7686"/>
                  </a:lnTo>
                  <a:lnTo>
                    <a:pt x="12751" y="5912"/>
                  </a:lnTo>
                  <a:lnTo>
                    <a:pt x="12171" y="5912"/>
                  </a:lnTo>
                  <a:lnTo>
                    <a:pt x="10432" y="5616"/>
                  </a:lnTo>
                  <a:lnTo>
                    <a:pt x="8114" y="5321"/>
                  </a:lnTo>
                  <a:lnTo>
                    <a:pt x="6665" y="6208"/>
                  </a:lnTo>
                  <a:lnTo>
                    <a:pt x="4926" y="7095"/>
                  </a:lnTo>
                  <a:lnTo>
                    <a:pt x="3767" y="7982"/>
                  </a:lnTo>
                  <a:lnTo>
                    <a:pt x="1738" y="7686"/>
                  </a:lnTo>
                  <a:lnTo>
                    <a:pt x="289" y="7095"/>
                  </a:lnTo>
                  <a:lnTo>
                    <a:pt x="0" y="6208"/>
                  </a:lnTo>
                  <a:lnTo>
                    <a:pt x="579" y="4730"/>
                  </a:lnTo>
                  <a:lnTo>
                    <a:pt x="1738" y="1773"/>
                  </a:lnTo>
                  <a:lnTo>
                    <a:pt x="4347" y="295"/>
                  </a:lnTo>
                  <a:lnTo>
                    <a:pt x="8983" y="0"/>
                  </a:lnTo>
                  <a:lnTo>
                    <a:pt x="10722" y="591"/>
                  </a:lnTo>
                  <a:lnTo>
                    <a:pt x="12461" y="591"/>
                  </a:lnTo>
                  <a:lnTo>
                    <a:pt x="14200" y="1478"/>
                  </a:lnTo>
                  <a:lnTo>
                    <a:pt x="17678" y="2660"/>
                  </a:lnTo>
                  <a:lnTo>
                    <a:pt x="19127" y="5321"/>
                  </a:lnTo>
                  <a:lnTo>
                    <a:pt x="18547" y="9164"/>
                  </a:lnTo>
                  <a:lnTo>
                    <a:pt x="18257" y="11825"/>
                  </a:lnTo>
                  <a:lnTo>
                    <a:pt x="17967" y="1419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6" name="Google Shape;1876;p13"/>
            <p:cNvSpPr/>
            <p:nvPr/>
          </p:nvSpPr>
          <p:spPr>
            <a:xfrm>
              <a:off x="738847" y="6900538"/>
              <a:ext cx="4600" cy="5721"/>
            </a:xfrm>
            <a:custGeom>
              <a:avLst/>
              <a:gdLst/>
              <a:ahLst/>
              <a:cxnLst/>
              <a:rect l="l" t="t" r="r" b="b"/>
              <a:pathLst>
                <a:path w="4600" h="5721" extrusionOk="0">
                  <a:moveTo>
                    <a:pt x="2012" y="5721"/>
                  </a:moveTo>
                  <a:lnTo>
                    <a:pt x="0" y="0"/>
                  </a:lnTo>
                  <a:lnTo>
                    <a:pt x="4600" y="858"/>
                  </a:lnTo>
                  <a:lnTo>
                    <a:pt x="3450" y="4863"/>
                  </a:lnTo>
                  <a:lnTo>
                    <a:pt x="2012" y="572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7" name="Google Shape;1877;p13"/>
            <p:cNvSpPr/>
            <p:nvPr/>
          </p:nvSpPr>
          <p:spPr>
            <a:xfrm>
              <a:off x="733959" y="6891956"/>
              <a:ext cx="24150" cy="26606"/>
            </a:xfrm>
            <a:custGeom>
              <a:avLst/>
              <a:gdLst/>
              <a:ahLst/>
              <a:cxnLst/>
              <a:rect l="l" t="t" r="r" b="b"/>
              <a:pathLst>
                <a:path w="24150" h="26606" extrusionOk="0">
                  <a:moveTo>
                    <a:pt x="6037" y="3146"/>
                  </a:moveTo>
                  <a:lnTo>
                    <a:pt x="7475" y="572"/>
                  </a:lnTo>
                  <a:lnTo>
                    <a:pt x="10062" y="0"/>
                  </a:lnTo>
                  <a:lnTo>
                    <a:pt x="12937" y="0"/>
                  </a:lnTo>
                  <a:lnTo>
                    <a:pt x="14662" y="286"/>
                  </a:lnTo>
                  <a:lnTo>
                    <a:pt x="16675" y="572"/>
                  </a:lnTo>
                  <a:lnTo>
                    <a:pt x="18400" y="1430"/>
                  </a:lnTo>
                  <a:lnTo>
                    <a:pt x="23000" y="3433"/>
                  </a:lnTo>
                  <a:lnTo>
                    <a:pt x="24150" y="6580"/>
                  </a:lnTo>
                  <a:lnTo>
                    <a:pt x="22713" y="11157"/>
                  </a:lnTo>
                  <a:lnTo>
                    <a:pt x="21850" y="13732"/>
                  </a:lnTo>
                  <a:lnTo>
                    <a:pt x="20988" y="16021"/>
                  </a:lnTo>
                  <a:lnTo>
                    <a:pt x="20125" y="18595"/>
                  </a:lnTo>
                  <a:lnTo>
                    <a:pt x="19550" y="20026"/>
                  </a:lnTo>
                  <a:lnTo>
                    <a:pt x="18687" y="21742"/>
                  </a:lnTo>
                  <a:lnTo>
                    <a:pt x="20125" y="23173"/>
                  </a:lnTo>
                  <a:lnTo>
                    <a:pt x="20413" y="23745"/>
                  </a:lnTo>
                  <a:lnTo>
                    <a:pt x="20125" y="25462"/>
                  </a:lnTo>
                  <a:lnTo>
                    <a:pt x="19550" y="25748"/>
                  </a:lnTo>
                  <a:lnTo>
                    <a:pt x="18687" y="26320"/>
                  </a:lnTo>
                  <a:lnTo>
                    <a:pt x="16675" y="26606"/>
                  </a:lnTo>
                  <a:lnTo>
                    <a:pt x="16387" y="26320"/>
                  </a:lnTo>
                  <a:lnTo>
                    <a:pt x="13512" y="23173"/>
                  </a:lnTo>
                  <a:lnTo>
                    <a:pt x="9775" y="23745"/>
                  </a:lnTo>
                  <a:lnTo>
                    <a:pt x="6325" y="22887"/>
                  </a:lnTo>
                  <a:lnTo>
                    <a:pt x="2300" y="22028"/>
                  </a:lnTo>
                  <a:lnTo>
                    <a:pt x="0" y="18309"/>
                  </a:lnTo>
                  <a:lnTo>
                    <a:pt x="862" y="14590"/>
                  </a:lnTo>
                  <a:lnTo>
                    <a:pt x="2012" y="10299"/>
                  </a:lnTo>
                  <a:lnTo>
                    <a:pt x="4887" y="8582"/>
                  </a:lnTo>
                  <a:lnTo>
                    <a:pt x="6900" y="14304"/>
                  </a:lnTo>
                  <a:lnTo>
                    <a:pt x="6612" y="15162"/>
                  </a:lnTo>
                  <a:lnTo>
                    <a:pt x="6325" y="16021"/>
                  </a:lnTo>
                  <a:lnTo>
                    <a:pt x="7187" y="17737"/>
                  </a:lnTo>
                  <a:lnTo>
                    <a:pt x="8050" y="18309"/>
                  </a:lnTo>
                  <a:lnTo>
                    <a:pt x="11212" y="20598"/>
                  </a:lnTo>
                  <a:lnTo>
                    <a:pt x="14662" y="18881"/>
                  </a:lnTo>
                  <a:lnTo>
                    <a:pt x="15525" y="14304"/>
                  </a:lnTo>
                  <a:lnTo>
                    <a:pt x="13512" y="13732"/>
                  </a:lnTo>
                  <a:lnTo>
                    <a:pt x="11500" y="13160"/>
                  </a:lnTo>
                  <a:lnTo>
                    <a:pt x="9487" y="13446"/>
                  </a:lnTo>
                  <a:lnTo>
                    <a:pt x="8337" y="13446"/>
                  </a:lnTo>
                  <a:lnTo>
                    <a:pt x="9487" y="9440"/>
                  </a:lnTo>
                  <a:lnTo>
                    <a:pt x="11500" y="9727"/>
                  </a:lnTo>
                  <a:lnTo>
                    <a:pt x="13512" y="10013"/>
                  </a:lnTo>
                  <a:lnTo>
                    <a:pt x="15237" y="10299"/>
                  </a:lnTo>
                  <a:lnTo>
                    <a:pt x="16100" y="10299"/>
                  </a:lnTo>
                  <a:lnTo>
                    <a:pt x="17537" y="9440"/>
                  </a:lnTo>
                  <a:lnTo>
                    <a:pt x="17825" y="8868"/>
                  </a:lnTo>
                  <a:lnTo>
                    <a:pt x="18112" y="8010"/>
                  </a:lnTo>
                  <a:lnTo>
                    <a:pt x="17537" y="6580"/>
                  </a:lnTo>
                  <a:lnTo>
                    <a:pt x="16675" y="6007"/>
                  </a:lnTo>
                  <a:lnTo>
                    <a:pt x="14950" y="4577"/>
                  </a:lnTo>
                  <a:lnTo>
                    <a:pt x="12937" y="4005"/>
                  </a:lnTo>
                  <a:lnTo>
                    <a:pt x="10925" y="5721"/>
                  </a:lnTo>
                  <a:lnTo>
                    <a:pt x="9200" y="7438"/>
                  </a:lnTo>
                  <a:lnTo>
                    <a:pt x="7475" y="6293"/>
                  </a:lnTo>
                  <a:lnTo>
                    <a:pt x="6037" y="5435"/>
                  </a:lnTo>
                  <a:lnTo>
                    <a:pt x="5750" y="5149"/>
                  </a:lnTo>
                  <a:lnTo>
                    <a:pt x="5750" y="3719"/>
                  </a:lnTo>
                  <a:lnTo>
                    <a:pt x="6037" y="314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8" name="Google Shape;1878;p13"/>
            <p:cNvSpPr/>
            <p:nvPr/>
          </p:nvSpPr>
          <p:spPr>
            <a:xfrm>
              <a:off x="777443" y="6913722"/>
              <a:ext cx="24149" cy="24187"/>
            </a:xfrm>
            <a:custGeom>
              <a:avLst/>
              <a:gdLst/>
              <a:ahLst/>
              <a:cxnLst/>
              <a:rect l="l" t="t" r="r" b="b"/>
              <a:pathLst>
                <a:path w="24149" h="24187" extrusionOk="0">
                  <a:moveTo>
                    <a:pt x="6773" y="10406"/>
                  </a:moveTo>
                  <a:lnTo>
                    <a:pt x="5890" y="10687"/>
                  </a:lnTo>
                  <a:lnTo>
                    <a:pt x="5595" y="13218"/>
                  </a:lnTo>
                  <a:lnTo>
                    <a:pt x="5301" y="16593"/>
                  </a:lnTo>
                  <a:lnTo>
                    <a:pt x="9129" y="19406"/>
                  </a:lnTo>
                  <a:lnTo>
                    <a:pt x="12369" y="18281"/>
                  </a:lnTo>
                  <a:lnTo>
                    <a:pt x="12958" y="18000"/>
                  </a:lnTo>
                  <a:lnTo>
                    <a:pt x="13547" y="17437"/>
                  </a:lnTo>
                  <a:lnTo>
                    <a:pt x="13841" y="17718"/>
                  </a:lnTo>
                  <a:lnTo>
                    <a:pt x="15314" y="18000"/>
                  </a:lnTo>
                  <a:lnTo>
                    <a:pt x="16786" y="18843"/>
                  </a:lnTo>
                  <a:lnTo>
                    <a:pt x="17964" y="19406"/>
                  </a:lnTo>
                  <a:lnTo>
                    <a:pt x="17375" y="20250"/>
                  </a:lnTo>
                  <a:lnTo>
                    <a:pt x="16786" y="21375"/>
                  </a:lnTo>
                  <a:lnTo>
                    <a:pt x="15608" y="21937"/>
                  </a:lnTo>
                  <a:lnTo>
                    <a:pt x="11780" y="24187"/>
                  </a:lnTo>
                  <a:lnTo>
                    <a:pt x="7951" y="23343"/>
                  </a:lnTo>
                  <a:lnTo>
                    <a:pt x="4417" y="20812"/>
                  </a:lnTo>
                  <a:lnTo>
                    <a:pt x="1178" y="18562"/>
                  </a:lnTo>
                  <a:lnTo>
                    <a:pt x="0" y="15187"/>
                  </a:lnTo>
                  <a:lnTo>
                    <a:pt x="588" y="11250"/>
                  </a:lnTo>
                  <a:lnTo>
                    <a:pt x="2061" y="4500"/>
                  </a:lnTo>
                  <a:lnTo>
                    <a:pt x="7068" y="0"/>
                  </a:lnTo>
                  <a:lnTo>
                    <a:pt x="13547" y="0"/>
                  </a:lnTo>
                  <a:lnTo>
                    <a:pt x="10896" y="4500"/>
                  </a:lnTo>
                  <a:lnTo>
                    <a:pt x="9129" y="7031"/>
                  </a:lnTo>
                  <a:lnTo>
                    <a:pt x="11780" y="8437"/>
                  </a:lnTo>
                  <a:lnTo>
                    <a:pt x="14430" y="9843"/>
                  </a:lnTo>
                  <a:lnTo>
                    <a:pt x="17375" y="11531"/>
                  </a:lnTo>
                  <a:lnTo>
                    <a:pt x="18848" y="8437"/>
                  </a:lnTo>
                  <a:lnTo>
                    <a:pt x="20615" y="1687"/>
                  </a:lnTo>
                  <a:lnTo>
                    <a:pt x="22382" y="5343"/>
                  </a:lnTo>
                  <a:lnTo>
                    <a:pt x="24149" y="9281"/>
                  </a:lnTo>
                  <a:lnTo>
                    <a:pt x="23560" y="13218"/>
                  </a:lnTo>
                  <a:lnTo>
                    <a:pt x="20909" y="16593"/>
                  </a:lnTo>
                  <a:lnTo>
                    <a:pt x="20615" y="17156"/>
                  </a:lnTo>
                  <a:lnTo>
                    <a:pt x="19142" y="17156"/>
                  </a:lnTo>
                  <a:lnTo>
                    <a:pt x="18553" y="16593"/>
                  </a:lnTo>
                  <a:lnTo>
                    <a:pt x="15314" y="15187"/>
                  </a:lnTo>
                  <a:lnTo>
                    <a:pt x="12074" y="13218"/>
                  </a:lnTo>
                  <a:lnTo>
                    <a:pt x="8835" y="11531"/>
                  </a:lnTo>
                  <a:lnTo>
                    <a:pt x="6773" y="1040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9" name="Google Shape;1879;p13"/>
            <p:cNvSpPr/>
            <p:nvPr/>
          </p:nvSpPr>
          <p:spPr>
            <a:xfrm>
              <a:off x="788340" y="6913722"/>
              <a:ext cx="9718" cy="8437"/>
            </a:xfrm>
            <a:custGeom>
              <a:avLst/>
              <a:gdLst/>
              <a:ahLst/>
              <a:cxnLst/>
              <a:rect l="l" t="t" r="r" b="b"/>
              <a:pathLst>
                <a:path w="9718" h="8437" extrusionOk="0">
                  <a:moveTo>
                    <a:pt x="2356" y="3656"/>
                  </a:moveTo>
                  <a:lnTo>
                    <a:pt x="0" y="4500"/>
                  </a:lnTo>
                  <a:lnTo>
                    <a:pt x="2650" y="0"/>
                  </a:lnTo>
                  <a:lnTo>
                    <a:pt x="6773" y="0"/>
                  </a:lnTo>
                  <a:lnTo>
                    <a:pt x="9718" y="1687"/>
                  </a:lnTo>
                  <a:lnTo>
                    <a:pt x="7951" y="8437"/>
                  </a:lnTo>
                  <a:lnTo>
                    <a:pt x="7068" y="6187"/>
                  </a:lnTo>
                  <a:lnTo>
                    <a:pt x="4712" y="4781"/>
                  </a:lnTo>
                  <a:lnTo>
                    <a:pt x="2356" y="365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0" name="Google Shape;1880;p13"/>
            <p:cNvSpPr/>
            <p:nvPr/>
          </p:nvSpPr>
          <p:spPr>
            <a:xfrm>
              <a:off x="842427" y="6961902"/>
              <a:ext cx="2557" cy="10125"/>
            </a:xfrm>
            <a:custGeom>
              <a:avLst/>
              <a:gdLst/>
              <a:ahLst/>
              <a:cxnLst/>
              <a:rect l="l" t="t" r="r" b="b"/>
              <a:pathLst>
                <a:path w="2557" h="10125" extrusionOk="0">
                  <a:moveTo>
                    <a:pt x="1420" y="10125"/>
                  </a:moveTo>
                  <a:lnTo>
                    <a:pt x="0" y="2531"/>
                  </a:lnTo>
                  <a:lnTo>
                    <a:pt x="1704" y="0"/>
                  </a:lnTo>
                  <a:lnTo>
                    <a:pt x="2557" y="9843"/>
                  </a:lnTo>
                  <a:lnTo>
                    <a:pt x="1420" y="1012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1" name="Google Shape;1881;p13"/>
            <p:cNvSpPr/>
            <p:nvPr/>
          </p:nvSpPr>
          <p:spPr>
            <a:xfrm>
              <a:off x="824528" y="6951215"/>
              <a:ext cx="24150" cy="24187"/>
            </a:xfrm>
            <a:custGeom>
              <a:avLst/>
              <a:gdLst/>
              <a:ahLst/>
              <a:cxnLst/>
              <a:rect l="l" t="t" r="r" b="b"/>
              <a:pathLst>
                <a:path w="24150" h="24187" extrusionOk="0">
                  <a:moveTo>
                    <a:pt x="9660" y="18843"/>
                  </a:moveTo>
                  <a:lnTo>
                    <a:pt x="11080" y="18562"/>
                  </a:lnTo>
                  <a:lnTo>
                    <a:pt x="13921" y="18562"/>
                  </a:lnTo>
                  <a:lnTo>
                    <a:pt x="15058" y="19406"/>
                  </a:lnTo>
                  <a:lnTo>
                    <a:pt x="16478" y="21656"/>
                  </a:lnTo>
                  <a:lnTo>
                    <a:pt x="13353" y="24187"/>
                  </a:lnTo>
                  <a:lnTo>
                    <a:pt x="8807" y="24187"/>
                  </a:lnTo>
                  <a:lnTo>
                    <a:pt x="5682" y="21656"/>
                  </a:lnTo>
                  <a:lnTo>
                    <a:pt x="1420" y="18843"/>
                  </a:lnTo>
                  <a:lnTo>
                    <a:pt x="0" y="14062"/>
                  </a:lnTo>
                  <a:lnTo>
                    <a:pt x="1988" y="9562"/>
                  </a:lnTo>
                  <a:lnTo>
                    <a:pt x="3693" y="5343"/>
                  </a:lnTo>
                  <a:lnTo>
                    <a:pt x="6818" y="2531"/>
                  </a:lnTo>
                  <a:lnTo>
                    <a:pt x="11364" y="1125"/>
                  </a:lnTo>
                  <a:lnTo>
                    <a:pt x="15342" y="0"/>
                  </a:lnTo>
                  <a:lnTo>
                    <a:pt x="18751" y="843"/>
                  </a:lnTo>
                  <a:lnTo>
                    <a:pt x="21593" y="3656"/>
                  </a:lnTo>
                  <a:lnTo>
                    <a:pt x="24150" y="6187"/>
                  </a:lnTo>
                  <a:lnTo>
                    <a:pt x="24150" y="9562"/>
                  </a:lnTo>
                  <a:lnTo>
                    <a:pt x="23581" y="13218"/>
                  </a:lnTo>
                  <a:lnTo>
                    <a:pt x="23297" y="13781"/>
                  </a:lnTo>
                  <a:lnTo>
                    <a:pt x="23297" y="14343"/>
                  </a:lnTo>
                  <a:lnTo>
                    <a:pt x="23013" y="14625"/>
                  </a:lnTo>
                  <a:lnTo>
                    <a:pt x="20456" y="20531"/>
                  </a:lnTo>
                  <a:lnTo>
                    <a:pt x="19604" y="10687"/>
                  </a:lnTo>
                  <a:lnTo>
                    <a:pt x="19604" y="8718"/>
                  </a:lnTo>
                  <a:lnTo>
                    <a:pt x="17899" y="6750"/>
                  </a:lnTo>
                  <a:lnTo>
                    <a:pt x="15910" y="4781"/>
                  </a:lnTo>
                  <a:lnTo>
                    <a:pt x="13921" y="4781"/>
                  </a:lnTo>
                  <a:lnTo>
                    <a:pt x="11648" y="6468"/>
                  </a:lnTo>
                  <a:lnTo>
                    <a:pt x="13637" y="8718"/>
                  </a:lnTo>
                  <a:lnTo>
                    <a:pt x="15626" y="10968"/>
                  </a:lnTo>
                  <a:lnTo>
                    <a:pt x="17899" y="13218"/>
                  </a:lnTo>
                  <a:lnTo>
                    <a:pt x="19320" y="20812"/>
                  </a:lnTo>
                  <a:lnTo>
                    <a:pt x="14774" y="16312"/>
                  </a:lnTo>
                  <a:lnTo>
                    <a:pt x="13069" y="14625"/>
                  </a:lnTo>
                  <a:lnTo>
                    <a:pt x="11364" y="12937"/>
                  </a:lnTo>
                  <a:lnTo>
                    <a:pt x="9375" y="10968"/>
                  </a:lnTo>
                  <a:lnTo>
                    <a:pt x="8239" y="9843"/>
                  </a:lnTo>
                  <a:lnTo>
                    <a:pt x="7102" y="10125"/>
                  </a:lnTo>
                  <a:lnTo>
                    <a:pt x="6534" y="11531"/>
                  </a:lnTo>
                  <a:lnTo>
                    <a:pt x="6250" y="13218"/>
                  </a:lnTo>
                  <a:lnTo>
                    <a:pt x="5966" y="15187"/>
                  </a:lnTo>
                  <a:lnTo>
                    <a:pt x="6818" y="16031"/>
                  </a:lnTo>
                  <a:lnTo>
                    <a:pt x="7671" y="17437"/>
                  </a:lnTo>
                  <a:lnTo>
                    <a:pt x="9660" y="1884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2" name="Google Shape;1882;p13"/>
            <p:cNvSpPr/>
            <p:nvPr/>
          </p:nvSpPr>
          <p:spPr>
            <a:xfrm>
              <a:off x="839026" y="6966939"/>
              <a:ext cx="27771" cy="29025"/>
            </a:xfrm>
            <a:custGeom>
              <a:avLst/>
              <a:gdLst/>
              <a:ahLst/>
              <a:cxnLst/>
              <a:rect l="l" t="t" r="r" b="b"/>
              <a:pathLst>
                <a:path w="27771" h="29025" extrusionOk="0">
                  <a:moveTo>
                    <a:pt x="13456" y="20816"/>
                  </a:moveTo>
                  <a:lnTo>
                    <a:pt x="16892" y="17884"/>
                  </a:lnTo>
                  <a:lnTo>
                    <a:pt x="20041" y="14659"/>
                  </a:lnTo>
                  <a:lnTo>
                    <a:pt x="21186" y="13779"/>
                  </a:lnTo>
                  <a:lnTo>
                    <a:pt x="21473" y="11727"/>
                  </a:lnTo>
                  <a:lnTo>
                    <a:pt x="21186" y="10554"/>
                  </a:lnTo>
                  <a:lnTo>
                    <a:pt x="20327" y="8502"/>
                  </a:lnTo>
                  <a:lnTo>
                    <a:pt x="18609" y="7622"/>
                  </a:lnTo>
                  <a:lnTo>
                    <a:pt x="16319" y="8209"/>
                  </a:lnTo>
                  <a:lnTo>
                    <a:pt x="14887" y="8502"/>
                  </a:lnTo>
                  <a:lnTo>
                    <a:pt x="13742" y="9381"/>
                  </a:lnTo>
                  <a:lnTo>
                    <a:pt x="12597" y="10261"/>
                  </a:lnTo>
                  <a:lnTo>
                    <a:pt x="10020" y="12313"/>
                  </a:lnTo>
                  <a:lnTo>
                    <a:pt x="7443" y="14366"/>
                  </a:lnTo>
                  <a:lnTo>
                    <a:pt x="4867" y="16711"/>
                  </a:lnTo>
                  <a:lnTo>
                    <a:pt x="3149" y="18177"/>
                  </a:lnTo>
                  <a:lnTo>
                    <a:pt x="2290" y="17591"/>
                  </a:lnTo>
                  <a:lnTo>
                    <a:pt x="1145" y="16125"/>
                  </a:lnTo>
                  <a:lnTo>
                    <a:pt x="0" y="14366"/>
                  </a:lnTo>
                  <a:lnTo>
                    <a:pt x="0" y="13486"/>
                  </a:lnTo>
                  <a:lnTo>
                    <a:pt x="1717" y="12313"/>
                  </a:lnTo>
                  <a:lnTo>
                    <a:pt x="6012" y="8795"/>
                  </a:lnTo>
                  <a:lnTo>
                    <a:pt x="10307" y="4984"/>
                  </a:lnTo>
                  <a:lnTo>
                    <a:pt x="14887" y="1172"/>
                  </a:lnTo>
                  <a:lnTo>
                    <a:pt x="15746" y="586"/>
                  </a:lnTo>
                  <a:lnTo>
                    <a:pt x="17751" y="0"/>
                  </a:lnTo>
                  <a:lnTo>
                    <a:pt x="18323" y="293"/>
                  </a:lnTo>
                  <a:lnTo>
                    <a:pt x="19755" y="1172"/>
                  </a:lnTo>
                  <a:lnTo>
                    <a:pt x="21186" y="2638"/>
                  </a:lnTo>
                  <a:lnTo>
                    <a:pt x="19468" y="4984"/>
                  </a:lnTo>
                  <a:lnTo>
                    <a:pt x="23763" y="5277"/>
                  </a:lnTo>
                  <a:lnTo>
                    <a:pt x="25767" y="7622"/>
                  </a:lnTo>
                  <a:lnTo>
                    <a:pt x="26912" y="10847"/>
                  </a:lnTo>
                  <a:lnTo>
                    <a:pt x="27771" y="13486"/>
                  </a:lnTo>
                  <a:lnTo>
                    <a:pt x="27199" y="15831"/>
                  </a:lnTo>
                  <a:lnTo>
                    <a:pt x="25481" y="17297"/>
                  </a:lnTo>
                  <a:lnTo>
                    <a:pt x="21473" y="21109"/>
                  </a:lnTo>
                  <a:lnTo>
                    <a:pt x="17464" y="24334"/>
                  </a:lnTo>
                  <a:lnTo>
                    <a:pt x="13170" y="27852"/>
                  </a:lnTo>
                  <a:lnTo>
                    <a:pt x="11738" y="29025"/>
                  </a:lnTo>
                  <a:lnTo>
                    <a:pt x="10879" y="28438"/>
                  </a:lnTo>
                  <a:lnTo>
                    <a:pt x="9734" y="27266"/>
                  </a:lnTo>
                  <a:lnTo>
                    <a:pt x="8875" y="25800"/>
                  </a:lnTo>
                  <a:lnTo>
                    <a:pt x="8302" y="24920"/>
                  </a:lnTo>
                  <a:lnTo>
                    <a:pt x="10020" y="23747"/>
                  </a:lnTo>
                  <a:lnTo>
                    <a:pt x="13456" y="2081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3" name="Google Shape;1883;p13"/>
            <p:cNvSpPr/>
            <p:nvPr/>
          </p:nvSpPr>
          <p:spPr>
            <a:xfrm>
              <a:off x="712242" y="6884701"/>
              <a:ext cx="22941" cy="26606"/>
            </a:xfrm>
            <a:custGeom>
              <a:avLst/>
              <a:gdLst/>
              <a:ahLst/>
              <a:cxnLst/>
              <a:rect l="l" t="t" r="r" b="b"/>
              <a:pathLst>
                <a:path w="22941" h="26606" extrusionOk="0">
                  <a:moveTo>
                    <a:pt x="12179" y="1981"/>
                  </a:moveTo>
                  <a:lnTo>
                    <a:pt x="13595" y="1415"/>
                  </a:lnTo>
                  <a:lnTo>
                    <a:pt x="15294" y="1415"/>
                  </a:lnTo>
                  <a:lnTo>
                    <a:pt x="20109" y="1698"/>
                  </a:lnTo>
                  <a:lnTo>
                    <a:pt x="22941" y="4811"/>
                  </a:lnTo>
                  <a:lnTo>
                    <a:pt x="22092" y="9623"/>
                  </a:lnTo>
                  <a:lnTo>
                    <a:pt x="21525" y="14718"/>
                  </a:lnTo>
                  <a:lnTo>
                    <a:pt x="20109" y="19530"/>
                  </a:lnTo>
                  <a:lnTo>
                    <a:pt x="18693" y="24625"/>
                  </a:lnTo>
                  <a:lnTo>
                    <a:pt x="18410" y="26606"/>
                  </a:lnTo>
                  <a:lnTo>
                    <a:pt x="16993" y="26040"/>
                  </a:lnTo>
                  <a:lnTo>
                    <a:pt x="15861" y="25757"/>
                  </a:lnTo>
                  <a:lnTo>
                    <a:pt x="14444" y="25474"/>
                  </a:lnTo>
                  <a:lnTo>
                    <a:pt x="13311" y="24908"/>
                  </a:lnTo>
                  <a:lnTo>
                    <a:pt x="13878" y="23209"/>
                  </a:lnTo>
                  <a:lnTo>
                    <a:pt x="14444" y="19813"/>
                  </a:lnTo>
                  <a:lnTo>
                    <a:pt x="15294" y="16416"/>
                  </a:lnTo>
                  <a:lnTo>
                    <a:pt x="16144" y="13303"/>
                  </a:lnTo>
                  <a:lnTo>
                    <a:pt x="16427" y="11887"/>
                  </a:lnTo>
                  <a:lnTo>
                    <a:pt x="16993" y="10755"/>
                  </a:lnTo>
                  <a:lnTo>
                    <a:pt x="16710" y="9340"/>
                  </a:lnTo>
                  <a:lnTo>
                    <a:pt x="16427" y="8208"/>
                  </a:lnTo>
                  <a:lnTo>
                    <a:pt x="15577" y="6510"/>
                  </a:lnTo>
                  <a:lnTo>
                    <a:pt x="14728" y="6227"/>
                  </a:lnTo>
                  <a:lnTo>
                    <a:pt x="13595" y="5660"/>
                  </a:lnTo>
                  <a:lnTo>
                    <a:pt x="11895" y="5943"/>
                  </a:lnTo>
                  <a:lnTo>
                    <a:pt x="10762" y="6793"/>
                  </a:lnTo>
                  <a:lnTo>
                    <a:pt x="9629" y="7642"/>
                  </a:lnTo>
                  <a:lnTo>
                    <a:pt x="8780" y="9340"/>
                  </a:lnTo>
                  <a:lnTo>
                    <a:pt x="8213" y="10755"/>
                  </a:lnTo>
                  <a:lnTo>
                    <a:pt x="7364" y="13869"/>
                  </a:lnTo>
                  <a:lnTo>
                    <a:pt x="6514" y="17265"/>
                  </a:lnTo>
                  <a:lnTo>
                    <a:pt x="5947" y="20379"/>
                  </a:lnTo>
                  <a:lnTo>
                    <a:pt x="5381" y="22077"/>
                  </a:lnTo>
                  <a:lnTo>
                    <a:pt x="5098" y="23209"/>
                  </a:lnTo>
                  <a:lnTo>
                    <a:pt x="3115" y="22643"/>
                  </a:lnTo>
                  <a:lnTo>
                    <a:pt x="1132" y="22077"/>
                  </a:lnTo>
                  <a:lnTo>
                    <a:pt x="0" y="21228"/>
                  </a:lnTo>
                  <a:lnTo>
                    <a:pt x="566" y="19247"/>
                  </a:lnTo>
                  <a:lnTo>
                    <a:pt x="2265" y="13869"/>
                  </a:lnTo>
                  <a:lnTo>
                    <a:pt x="3398" y="8208"/>
                  </a:lnTo>
                  <a:lnTo>
                    <a:pt x="4814" y="2830"/>
                  </a:lnTo>
                  <a:lnTo>
                    <a:pt x="5098" y="1698"/>
                  </a:lnTo>
                  <a:lnTo>
                    <a:pt x="6231" y="0"/>
                  </a:lnTo>
                  <a:lnTo>
                    <a:pt x="6514" y="0"/>
                  </a:lnTo>
                  <a:lnTo>
                    <a:pt x="7930" y="283"/>
                  </a:lnTo>
                  <a:lnTo>
                    <a:pt x="9346" y="1132"/>
                  </a:lnTo>
                  <a:lnTo>
                    <a:pt x="10762" y="1698"/>
                  </a:lnTo>
                  <a:lnTo>
                    <a:pt x="10762" y="1981"/>
                  </a:lnTo>
                  <a:lnTo>
                    <a:pt x="10479" y="2264"/>
                  </a:lnTo>
                  <a:lnTo>
                    <a:pt x="12179" y="198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4" name="Google Shape;1884;p13"/>
            <p:cNvSpPr/>
            <p:nvPr/>
          </p:nvSpPr>
          <p:spPr>
            <a:xfrm>
              <a:off x="853516" y="6981452"/>
              <a:ext cx="26564" cy="24187"/>
            </a:xfrm>
            <a:custGeom>
              <a:avLst/>
              <a:gdLst/>
              <a:ahLst/>
              <a:cxnLst/>
              <a:rect l="l" t="t" r="r" b="b"/>
              <a:pathLst>
                <a:path w="26564" h="24187" extrusionOk="0">
                  <a:moveTo>
                    <a:pt x="22890" y="0"/>
                  </a:moveTo>
                  <a:lnTo>
                    <a:pt x="24303" y="291"/>
                  </a:lnTo>
                  <a:lnTo>
                    <a:pt x="25433" y="2331"/>
                  </a:lnTo>
                  <a:lnTo>
                    <a:pt x="26564" y="4371"/>
                  </a:lnTo>
                  <a:lnTo>
                    <a:pt x="25716" y="4954"/>
                  </a:lnTo>
                  <a:lnTo>
                    <a:pt x="24303" y="5828"/>
                  </a:lnTo>
                  <a:lnTo>
                    <a:pt x="22607" y="6994"/>
                  </a:lnTo>
                  <a:lnTo>
                    <a:pt x="20912" y="8159"/>
                  </a:lnTo>
                  <a:lnTo>
                    <a:pt x="22607" y="10782"/>
                  </a:lnTo>
                  <a:lnTo>
                    <a:pt x="22890" y="11073"/>
                  </a:lnTo>
                  <a:lnTo>
                    <a:pt x="22042" y="12822"/>
                  </a:lnTo>
                  <a:lnTo>
                    <a:pt x="21194" y="13113"/>
                  </a:lnTo>
                  <a:lnTo>
                    <a:pt x="20912" y="13696"/>
                  </a:lnTo>
                  <a:lnTo>
                    <a:pt x="19499" y="13113"/>
                  </a:lnTo>
                  <a:lnTo>
                    <a:pt x="18934" y="12822"/>
                  </a:lnTo>
                  <a:lnTo>
                    <a:pt x="18368" y="12530"/>
                  </a:lnTo>
                  <a:lnTo>
                    <a:pt x="18086" y="11656"/>
                  </a:lnTo>
                  <a:lnTo>
                    <a:pt x="17521" y="11073"/>
                  </a:lnTo>
                  <a:lnTo>
                    <a:pt x="14129" y="13405"/>
                  </a:lnTo>
                  <a:lnTo>
                    <a:pt x="10738" y="15736"/>
                  </a:lnTo>
                  <a:lnTo>
                    <a:pt x="7630" y="18067"/>
                  </a:lnTo>
                  <a:lnTo>
                    <a:pt x="7064" y="18650"/>
                  </a:lnTo>
                  <a:lnTo>
                    <a:pt x="7064" y="20107"/>
                  </a:lnTo>
                  <a:lnTo>
                    <a:pt x="7347" y="20982"/>
                  </a:lnTo>
                  <a:lnTo>
                    <a:pt x="7912" y="22730"/>
                  </a:lnTo>
                  <a:lnTo>
                    <a:pt x="7347" y="23604"/>
                  </a:lnTo>
                  <a:lnTo>
                    <a:pt x="6217" y="24187"/>
                  </a:lnTo>
                  <a:lnTo>
                    <a:pt x="5369" y="24187"/>
                  </a:lnTo>
                  <a:lnTo>
                    <a:pt x="3956" y="23896"/>
                  </a:lnTo>
                  <a:lnTo>
                    <a:pt x="3108" y="23313"/>
                  </a:lnTo>
                  <a:lnTo>
                    <a:pt x="0" y="19816"/>
                  </a:lnTo>
                  <a:lnTo>
                    <a:pt x="282" y="16902"/>
                  </a:lnTo>
                  <a:lnTo>
                    <a:pt x="4238" y="13988"/>
                  </a:lnTo>
                  <a:lnTo>
                    <a:pt x="6782" y="11656"/>
                  </a:lnTo>
                  <a:lnTo>
                    <a:pt x="9608" y="9908"/>
                  </a:lnTo>
                  <a:lnTo>
                    <a:pt x="12434" y="7868"/>
                  </a:lnTo>
                  <a:lnTo>
                    <a:pt x="13564" y="6994"/>
                  </a:lnTo>
                  <a:lnTo>
                    <a:pt x="14412" y="6119"/>
                  </a:lnTo>
                  <a:lnTo>
                    <a:pt x="13564" y="4662"/>
                  </a:lnTo>
                  <a:lnTo>
                    <a:pt x="13282" y="4079"/>
                  </a:lnTo>
                  <a:lnTo>
                    <a:pt x="13564" y="2914"/>
                  </a:lnTo>
                  <a:lnTo>
                    <a:pt x="14129" y="2622"/>
                  </a:lnTo>
                  <a:lnTo>
                    <a:pt x="14695" y="2039"/>
                  </a:lnTo>
                  <a:lnTo>
                    <a:pt x="16390" y="1457"/>
                  </a:lnTo>
                  <a:lnTo>
                    <a:pt x="16390" y="1748"/>
                  </a:lnTo>
                  <a:lnTo>
                    <a:pt x="18368" y="4079"/>
                  </a:lnTo>
                  <a:lnTo>
                    <a:pt x="19781" y="2622"/>
                  </a:lnTo>
                  <a:lnTo>
                    <a:pt x="21194" y="1457"/>
                  </a:lnTo>
                  <a:lnTo>
                    <a:pt x="22890" y="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5" name="Google Shape;1885;p13"/>
            <p:cNvSpPr/>
            <p:nvPr/>
          </p:nvSpPr>
          <p:spPr>
            <a:xfrm>
              <a:off x="865592" y="7004434"/>
              <a:ext cx="33808" cy="29025"/>
            </a:xfrm>
            <a:custGeom>
              <a:avLst/>
              <a:gdLst/>
              <a:ahLst/>
              <a:cxnLst/>
              <a:rect l="l" t="t" r="r" b="b"/>
              <a:pathLst>
                <a:path w="33808" h="29025" extrusionOk="0">
                  <a:moveTo>
                    <a:pt x="16622" y="0"/>
                  </a:moveTo>
                  <a:lnTo>
                    <a:pt x="26483" y="0"/>
                  </a:lnTo>
                  <a:lnTo>
                    <a:pt x="30146" y="2561"/>
                  </a:lnTo>
                  <a:lnTo>
                    <a:pt x="32118" y="7683"/>
                  </a:lnTo>
                  <a:lnTo>
                    <a:pt x="33808" y="11951"/>
                  </a:lnTo>
                  <a:lnTo>
                    <a:pt x="33245" y="16220"/>
                  </a:lnTo>
                  <a:lnTo>
                    <a:pt x="30146" y="19065"/>
                  </a:lnTo>
                  <a:lnTo>
                    <a:pt x="29301" y="19634"/>
                  </a:lnTo>
                  <a:lnTo>
                    <a:pt x="27328" y="20204"/>
                  </a:lnTo>
                  <a:lnTo>
                    <a:pt x="27047" y="19919"/>
                  </a:lnTo>
                  <a:lnTo>
                    <a:pt x="26201" y="18496"/>
                  </a:lnTo>
                  <a:lnTo>
                    <a:pt x="24511" y="17073"/>
                  </a:lnTo>
                  <a:lnTo>
                    <a:pt x="25920" y="15081"/>
                  </a:lnTo>
                  <a:lnTo>
                    <a:pt x="28174" y="11951"/>
                  </a:lnTo>
                  <a:lnTo>
                    <a:pt x="28174" y="9106"/>
                  </a:lnTo>
                  <a:lnTo>
                    <a:pt x="25356" y="6829"/>
                  </a:lnTo>
                  <a:lnTo>
                    <a:pt x="24511" y="5975"/>
                  </a:lnTo>
                  <a:lnTo>
                    <a:pt x="22539" y="5406"/>
                  </a:lnTo>
                  <a:lnTo>
                    <a:pt x="21694" y="5975"/>
                  </a:lnTo>
                  <a:lnTo>
                    <a:pt x="20567" y="6260"/>
                  </a:lnTo>
                  <a:lnTo>
                    <a:pt x="19721" y="7967"/>
                  </a:lnTo>
                  <a:lnTo>
                    <a:pt x="19721" y="9106"/>
                  </a:lnTo>
                  <a:lnTo>
                    <a:pt x="20003" y="11951"/>
                  </a:lnTo>
                  <a:lnTo>
                    <a:pt x="20567" y="14512"/>
                  </a:lnTo>
                  <a:lnTo>
                    <a:pt x="21130" y="17358"/>
                  </a:lnTo>
                  <a:lnTo>
                    <a:pt x="21975" y="23334"/>
                  </a:lnTo>
                  <a:lnTo>
                    <a:pt x="19440" y="27318"/>
                  </a:lnTo>
                  <a:lnTo>
                    <a:pt x="14087" y="28740"/>
                  </a:lnTo>
                  <a:lnTo>
                    <a:pt x="13241" y="28740"/>
                  </a:lnTo>
                  <a:lnTo>
                    <a:pt x="12678" y="29025"/>
                  </a:lnTo>
                  <a:lnTo>
                    <a:pt x="12114" y="28740"/>
                  </a:lnTo>
                  <a:lnTo>
                    <a:pt x="7888" y="28740"/>
                  </a:lnTo>
                  <a:lnTo>
                    <a:pt x="3662" y="25041"/>
                  </a:lnTo>
                  <a:lnTo>
                    <a:pt x="1690" y="19919"/>
                  </a:lnTo>
                  <a:lnTo>
                    <a:pt x="0" y="14797"/>
                  </a:lnTo>
                  <a:lnTo>
                    <a:pt x="845" y="10528"/>
                  </a:lnTo>
                  <a:lnTo>
                    <a:pt x="4226" y="7683"/>
                  </a:lnTo>
                  <a:lnTo>
                    <a:pt x="5071" y="6829"/>
                  </a:lnTo>
                  <a:lnTo>
                    <a:pt x="7043" y="6260"/>
                  </a:lnTo>
                  <a:lnTo>
                    <a:pt x="7606" y="6829"/>
                  </a:lnTo>
                  <a:lnTo>
                    <a:pt x="9579" y="8252"/>
                  </a:lnTo>
                  <a:lnTo>
                    <a:pt x="9579" y="10244"/>
                  </a:lnTo>
                  <a:lnTo>
                    <a:pt x="8170" y="11667"/>
                  </a:lnTo>
                  <a:lnTo>
                    <a:pt x="5353" y="14797"/>
                  </a:lnTo>
                  <a:lnTo>
                    <a:pt x="5634" y="19919"/>
                  </a:lnTo>
                  <a:lnTo>
                    <a:pt x="9297" y="22196"/>
                  </a:lnTo>
                  <a:lnTo>
                    <a:pt x="10424" y="22765"/>
                  </a:lnTo>
                  <a:lnTo>
                    <a:pt x="12678" y="23049"/>
                  </a:lnTo>
                  <a:lnTo>
                    <a:pt x="13805" y="22480"/>
                  </a:lnTo>
                  <a:lnTo>
                    <a:pt x="14932" y="21626"/>
                  </a:lnTo>
                  <a:lnTo>
                    <a:pt x="15495" y="19634"/>
                  </a:lnTo>
                  <a:lnTo>
                    <a:pt x="15495" y="15366"/>
                  </a:lnTo>
                  <a:lnTo>
                    <a:pt x="14368" y="12520"/>
                  </a:lnTo>
                  <a:lnTo>
                    <a:pt x="13805" y="9959"/>
                  </a:lnTo>
                  <a:lnTo>
                    <a:pt x="12960" y="4268"/>
                  </a:lnTo>
                  <a:lnTo>
                    <a:pt x="16622" y="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6" name="Google Shape;1886;p13"/>
            <p:cNvSpPr/>
            <p:nvPr/>
          </p:nvSpPr>
          <p:spPr>
            <a:xfrm>
              <a:off x="893361" y="7110881"/>
              <a:ext cx="25356" cy="31445"/>
            </a:xfrm>
            <a:custGeom>
              <a:avLst/>
              <a:gdLst/>
              <a:ahLst/>
              <a:cxnLst/>
              <a:rect l="l" t="t" r="r" b="b"/>
              <a:pathLst>
                <a:path w="25356" h="31445" extrusionOk="0">
                  <a:moveTo>
                    <a:pt x="0" y="16013"/>
                  </a:moveTo>
                  <a:lnTo>
                    <a:pt x="0" y="13975"/>
                  </a:lnTo>
                  <a:lnTo>
                    <a:pt x="1165" y="13393"/>
                  </a:lnTo>
                  <a:lnTo>
                    <a:pt x="6995" y="13393"/>
                  </a:lnTo>
                  <a:lnTo>
                    <a:pt x="11366" y="13102"/>
                  </a:lnTo>
                  <a:lnTo>
                    <a:pt x="15447" y="12811"/>
                  </a:lnTo>
                  <a:lnTo>
                    <a:pt x="19236" y="12811"/>
                  </a:lnTo>
                  <a:lnTo>
                    <a:pt x="19527" y="10481"/>
                  </a:lnTo>
                  <a:lnTo>
                    <a:pt x="19819" y="8152"/>
                  </a:lnTo>
                  <a:lnTo>
                    <a:pt x="18653" y="6405"/>
                  </a:lnTo>
                  <a:lnTo>
                    <a:pt x="16613" y="6114"/>
                  </a:lnTo>
                  <a:lnTo>
                    <a:pt x="12532" y="5532"/>
                  </a:lnTo>
                  <a:lnTo>
                    <a:pt x="4080" y="5532"/>
                  </a:lnTo>
                  <a:lnTo>
                    <a:pt x="874" y="5823"/>
                  </a:lnTo>
                  <a:lnTo>
                    <a:pt x="0" y="5240"/>
                  </a:lnTo>
                  <a:lnTo>
                    <a:pt x="0" y="873"/>
                  </a:lnTo>
                  <a:lnTo>
                    <a:pt x="874" y="0"/>
                  </a:lnTo>
                  <a:lnTo>
                    <a:pt x="21859" y="0"/>
                  </a:lnTo>
                  <a:lnTo>
                    <a:pt x="23316" y="873"/>
                  </a:lnTo>
                  <a:lnTo>
                    <a:pt x="23316" y="1164"/>
                  </a:lnTo>
                  <a:lnTo>
                    <a:pt x="23608" y="2620"/>
                  </a:lnTo>
                  <a:lnTo>
                    <a:pt x="23025" y="4076"/>
                  </a:lnTo>
                  <a:lnTo>
                    <a:pt x="23025" y="5532"/>
                  </a:lnTo>
                  <a:lnTo>
                    <a:pt x="22733" y="5532"/>
                  </a:lnTo>
                  <a:lnTo>
                    <a:pt x="22442" y="5823"/>
                  </a:lnTo>
                  <a:lnTo>
                    <a:pt x="22150" y="5823"/>
                  </a:lnTo>
                  <a:lnTo>
                    <a:pt x="24774" y="9317"/>
                  </a:lnTo>
                  <a:lnTo>
                    <a:pt x="25356" y="13102"/>
                  </a:lnTo>
                  <a:lnTo>
                    <a:pt x="22442" y="16887"/>
                  </a:lnTo>
                  <a:lnTo>
                    <a:pt x="22150" y="17178"/>
                  </a:lnTo>
                  <a:lnTo>
                    <a:pt x="22442" y="18343"/>
                  </a:lnTo>
                  <a:lnTo>
                    <a:pt x="22733" y="18925"/>
                  </a:lnTo>
                  <a:lnTo>
                    <a:pt x="24774" y="21545"/>
                  </a:lnTo>
                  <a:lnTo>
                    <a:pt x="24482" y="24457"/>
                  </a:lnTo>
                  <a:lnTo>
                    <a:pt x="23899" y="27369"/>
                  </a:lnTo>
                  <a:lnTo>
                    <a:pt x="23025" y="30280"/>
                  </a:lnTo>
                  <a:lnTo>
                    <a:pt x="20693" y="31154"/>
                  </a:lnTo>
                  <a:lnTo>
                    <a:pt x="18361" y="31445"/>
                  </a:lnTo>
                  <a:lnTo>
                    <a:pt x="582" y="31445"/>
                  </a:lnTo>
                  <a:lnTo>
                    <a:pt x="291" y="29989"/>
                  </a:lnTo>
                  <a:lnTo>
                    <a:pt x="291" y="28242"/>
                  </a:lnTo>
                  <a:lnTo>
                    <a:pt x="0" y="26204"/>
                  </a:lnTo>
                  <a:lnTo>
                    <a:pt x="6995" y="26204"/>
                  </a:lnTo>
                  <a:lnTo>
                    <a:pt x="10783" y="26495"/>
                  </a:lnTo>
                  <a:lnTo>
                    <a:pt x="14572" y="26204"/>
                  </a:lnTo>
                  <a:lnTo>
                    <a:pt x="18070" y="26204"/>
                  </a:lnTo>
                  <a:lnTo>
                    <a:pt x="19527" y="25039"/>
                  </a:lnTo>
                  <a:lnTo>
                    <a:pt x="19527" y="20090"/>
                  </a:lnTo>
                  <a:lnTo>
                    <a:pt x="17779" y="18634"/>
                  </a:lnTo>
                  <a:lnTo>
                    <a:pt x="1165" y="18634"/>
                  </a:lnTo>
                  <a:lnTo>
                    <a:pt x="0" y="18051"/>
                  </a:lnTo>
                  <a:lnTo>
                    <a:pt x="0" y="1601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7" name="Google Shape;1887;p13"/>
            <p:cNvSpPr/>
            <p:nvPr/>
          </p:nvSpPr>
          <p:spPr>
            <a:xfrm>
              <a:off x="905496" y="7085719"/>
              <a:ext cx="10801" cy="20028"/>
            </a:xfrm>
            <a:custGeom>
              <a:avLst/>
              <a:gdLst/>
              <a:ahLst/>
              <a:cxnLst/>
              <a:rect l="l" t="t" r="r" b="b"/>
              <a:pathLst>
                <a:path w="10801" h="20028" extrusionOk="0">
                  <a:moveTo>
                    <a:pt x="8173" y="1741"/>
                  </a:moveTo>
                  <a:lnTo>
                    <a:pt x="10801" y="6095"/>
                  </a:lnTo>
                  <a:lnTo>
                    <a:pt x="9925" y="11320"/>
                  </a:lnTo>
                  <a:lnTo>
                    <a:pt x="9341" y="15674"/>
                  </a:lnTo>
                  <a:lnTo>
                    <a:pt x="4378" y="19737"/>
                  </a:lnTo>
                  <a:lnTo>
                    <a:pt x="0" y="20028"/>
                  </a:lnTo>
                  <a:lnTo>
                    <a:pt x="875" y="14222"/>
                  </a:lnTo>
                  <a:lnTo>
                    <a:pt x="3795" y="13352"/>
                  </a:lnTo>
                  <a:lnTo>
                    <a:pt x="5254" y="11900"/>
                  </a:lnTo>
                  <a:lnTo>
                    <a:pt x="5254" y="6966"/>
                  </a:lnTo>
                  <a:lnTo>
                    <a:pt x="3795" y="5514"/>
                  </a:lnTo>
                  <a:lnTo>
                    <a:pt x="1751" y="4934"/>
                  </a:lnTo>
                  <a:lnTo>
                    <a:pt x="3211" y="0"/>
                  </a:lnTo>
                  <a:lnTo>
                    <a:pt x="8173" y="174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8" name="Google Shape;1888;p13"/>
            <p:cNvSpPr/>
            <p:nvPr/>
          </p:nvSpPr>
          <p:spPr>
            <a:xfrm>
              <a:off x="889732" y="7084268"/>
              <a:ext cx="18975" cy="21769"/>
            </a:xfrm>
            <a:custGeom>
              <a:avLst/>
              <a:gdLst/>
              <a:ahLst/>
              <a:cxnLst/>
              <a:rect l="l" t="t" r="r" b="b"/>
              <a:pathLst>
                <a:path w="18975" h="21769" extrusionOk="0">
                  <a:moveTo>
                    <a:pt x="5546" y="13352"/>
                  </a:moveTo>
                  <a:lnTo>
                    <a:pt x="6422" y="15383"/>
                  </a:lnTo>
                  <a:lnTo>
                    <a:pt x="8757" y="16544"/>
                  </a:lnTo>
                  <a:lnTo>
                    <a:pt x="11093" y="17705"/>
                  </a:lnTo>
                  <a:lnTo>
                    <a:pt x="10509" y="19737"/>
                  </a:lnTo>
                  <a:lnTo>
                    <a:pt x="10801" y="21479"/>
                  </a:lnTo>
                  <a:lnTo>
                    <a:pt x="6422" y="21769"/>
                  </a:lnTo>
                  <a:lnTo>
                    <a:pt x="3211" y="19447"/>
                  </a:lnTo>
                  <a:lnTo>
                    <a:pt x="1751" y="15093"/>
                  </a:lnTo>
                  <a:lnTo>
                    <a:pt x="0" y="10739"/>
                  </a:lnTo>
                  <a:lnTo>
                    <a:pt x="1459" y="6095"/>
                  </a:lnTo>
                  <a:lnTo>
                    <a:pt x="4962" y="3483"/>
                  </a:lnTo>
                  <a:lnTo>
                    <a:pt x="9341" y="580"/>
                  </a:lnTo>
                  <a:lnTo>
                    <a:pt x="14012" y="0"/>
                  </a:lnTo>
                  <a:lnTo>
                    <a:pt x="18975" y="1451"/>
                  </a:lnTo>
                  <a:lnTo>
                    <a:pt x="17515" y="6385"/>
                  </a:lnTo>
                  <a:lnTo>
                    <a:pt x="15764" y="5805"/>
                  </a:lnTo>
                  <a:lnTo>
                    <a:pt x="15180" y="6385"/>
                  </a:lnTo>
                  <a:lnTo>
                    <a:pt x="15180" y="8127"/>
                  </a:lnTo>
                  <a:lnTo>
                    <a:pt x="15764" y="10449"/>
                  </a:lnTo>
                  <a:lnTo>
                    <a:pt x="16056" y="12771"/>
                  </a:lnTo>
                  <a:lnTo>
                    <a:pt x="16639" y="15674"/>
                  </a:lnTo>
                  <a:lnTo>
                    <a:pt x="15764" y="21479"/>
                  </a:lnTo>
                  <a:lnTo>
                    <a:pt x="13720" y="21769"/>
                  </a:lnTo>
                  <a:lnTo>
                    <a:pt x="13136" y="20608"/>
                  </a:lnTo>
                  <a:lnTo>
                    <a:pt x="12844" y="18576"/>
                  </a:lnTo>
                  <a:lnTo>
                    <a:pt x="12260" y="14803"/>
                  </a:lnTo>
                  <a:lnTo>
                    <a:pt x="11677" y="10739"/>
                  </a:lnTo>
                  <a:lnTo>
                    <a:pt x="11093" y="6676"/>
                  </a:lnTo>
                  <a:lnTo>
                    <a:pt x="7882" y="7256"/>
                  </a:lnTo>
                  <a:lnTo>
                    <a:pt x="6130" y="8707"/>
                  </a:lnTo>
                  <a:lnTo>
                    <a:pt x="5838" y="11029"/>
                  </a:lnTo>
                  <a:lnTo>
                    <a:pt x="5546" y="1335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9" name="Google Shape;1889;p13"/>
            <p:cNvSpPr/>
            <p:nvPr/>
          </p:nvSpPr>
          <p:spPr>
            <a:xfrm>
              <a:off x="866788" y="7028626"/>
              <a:ext cx="36225" cy="20559"/>
            </a:xfrm>
            <a:custGeom>
              <a:avLst/>
              <a:gdLst/>
              <a:ahLst/>
              <a:cxnLst/>
              <a:rect l="l" t="t" r="r" b="b"/>
              <a:pathLst>
                <a:path w="36225" h="20559" extrusionOk="0">
                  <a:moveTo>
                    <a:pt x="570" y="15772"/>
                  </a:moveTo>
                  <a:lnTo>
                    <a:pt x="0" y="14363"/>
                  </a:lnTo>
                  <a:lnTo>
                    <a:pt x="0" y="13237"/>
                  </a:lnTo>
                  <a:lnTo>
                    <a:pt x="1711" y="12392"/>
                  </a:lnTo>
                  <a:lnTo>
                    <a:pt x="3422" y="11547"/>
                  </a:lnTo>
                  <a:lnTo>
                    <a:pt x="4278" y="11828"/>
                  </a:lnTo>
                  <a:lnTo>
                    <a:pt x="5134" y="13518"/>
                  </a:lnTo>
                  <a:lnTo>
                    <a:pt x="6275" y="16053"/>
                  </a:lnTo>
                  <a:lnTo>
                    <a:pt x="9127" y="16053"/>
                  </a:lnTo>
                  <a:lnTo>
                    <a:pt x="11694" y="14082"/>
                  </a:lnTo>
                  <a:lnTo>
                    <a:pt x="16544" y="9857"/>
                  </a:lnTo>
                  <a:lnTo>
                    <a:pt x="21393" y="5632"/>
                  </a:lnTo>
                  <a:lnTo>
                    <a:pt x="26242" y="1126"/>
                  </a:lnTo>
                  <a:lnTo>
                    <a:pt x="26812" y="844"/>
                  </a:lnTo>
                  <a:lnTo>
                    <a:pt x="27383" y="281"/>
                  </a:lnTo>
                  <a:lnTo>
                    <a:pt x="27953" y="0"/>
                  </a:lnTo>
                  <a:lnTo>
                    <a:pt x="30806" y="3379"/>
                  </a:lnTo>
                  <a:lnTo>
                    <a:pt x="30806" y="4787"/>
                  </a:lnTo>
                  <a:lnTo>
                    <a:pt x="27668" y="7322"/>
                  </a:lnTo>
                  <a:lnTo>
                    <a:pt x="24530" y="9575"/>
                  </a:lnTo>
                  <a:lnTo>
                    <a:pt x="21678" y="12110"/>
                  </a:lnTo>
                  <a:lnTo>
                    <a:pt x="18825" y="14645"/>
                  </a:lnTo>
                  <a:lnTo>
                    <a:pt x="18825" y="15208"/>
                  </a:lnTo>
                  <a:lnTo>
                    <a:pt x="19111" y="15490"/>
                  </a:lnTo>
                  <a:lnTo>
                    <a:pt x="22534" y="15208"/>
                  </a:lnTo>
                  <a:lnTo>
                    <a:pt x="26242" y="14927"/>
                  </a:lnTo>
                  <a:lnTo>
                    <a:pt x="29665" y="14363"/>
                  </a:lnTo>
                  <a:lnTo>
                    <a:pt x="33943" y="14082"/>
                  </a:lnTo>
                  <a:lnTo>
                    <a:pt x="34799" y="14645"/>
                  </a:lnTo>
                  <a:lnTo>
                    <a:pt x="35655" y="17180"/>
                  </a:lnTo>
                  <a:lnTo>
                    <a:pt x="36225" y="18588"/>
                  </a:lnTo>
                  <a:lnTo>
                    <a:pt x="35940" y="19151"/>
                  </a:lnTo>
                  <a:lnTo>
                    <a:pt x="34229" y="19151"/>
                  </a:lnTo>
                  <a:lnTo>
                    <a:pt x="21545" y="19776"/>
                  </a:lnTo>
                  <a:lnTo>
                    <a:pt x="8831" y="20208"/>
                  </a:lnTo>
                  <a:lnTo>
                    <a:pt x="6560" y="20278"/>
                  </a:lnTo>
                  <a:lnTo>
                    <a:pt x="3422" y="20559"/>
                  </a:lnTo>
                  <a:lnTo>
                    <a:pt x="1711" y="18870"/>
                  </a:lnTo>
                  <a:lnTo>
                    <a:pt x="570" y="1577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0" name="Google Shape;1890;p13"/>
            <p:cNvSpPr/>
            <p:nvPr/>
          </p:nvSpPr>
          <p:spPr>
            <a:xfrm>
              <a:off x="881282" y="7050398"/>
              <a:ext cx="27772" cy="24188"/>
            </a:xfrm>
            <a:custGeom>
              <a:avLst/>
              <a:gdLst/>
              <a:ahLst/>
              <a:cxnLst/>
              <a:rect l="l" t="t" r="r" b="b"/>
              <a:pathLst>
                <a:path w="27772" h="24188" extrusionOk="0">
                  <a:moveTo>
                    <a:pt x="24909" y="15651"/>
                  </a:moveTo>
                  <a:lnTo>
                    <a:pt x="24050" y="16789"/>
                  </a:lnTo>
                  <a:lnTo>
                    <a:pt x="22332" y="17358"/>
                  </a:lnTo>
                  <a:lnTo>
                    <a:pt x="21187" y="18212"/>
                  </a:lnTo>
                  <a:lnTo>
                    <a:pt x="20328" y="16504"/>
                  </a:lnTo>
                  <a:lnTo>
                    <a:pt x="19183" y="14797"/>
                  </a:lnTo>
                  <a:lnTo>
                    <a:pt x="20614" y="12805"/>
                  </a:lnTo>
                  <a:lnTo>
                    <a:pt x="20900" y="12236"/>
                  </a:lnTo>
                  <a:lnTo>
                    <a:pt x="21473" y="10813"/>
                  </a:lnTo>
                  <a:lnTo>
                    <a:pt x="21187" y="10244"/>
                  </a:lnTo>
                  <a:lnTo>
                    <a:pt x="20614" y="8821"/>
                  </a:lnTo>
                  <a:lnTo>
                    <a:pt x="19469" y="7967"/>
                  </a:lnTo>
                  <a:lnTo>
                    <a:pt x="18610" y="6829"/>
                  </a:lnTo>
                  <a:lnTo>
                    <a:pt x="18037" y="7967"/>
                  </a:lnTo>
                  <a:lnTo>
                    <a:pt x="17178" y="9106"/>
                  </a:lnTo>
                  <a:lnTo>
                    <a:pt x="16892" y="10244"/>
                  </a:lnTo>
                  <a:lnTo>
                    <a:pt x="16606" y="11382"/>
                  </a:lnTo>
                  <a:lnTo>
                    <a:pt x="16892" y="12521"/>
                  </a:lnTo>
                  <a:lnTo>
                    <a:pt x="16892" y="21342"/>
                  </a:lnTo>
                  <a:lnTo>
                    <a:pt x="11738" y="24188"/>
                  </a:lnTo>
                  <a:lnTo>
                    <a:pt x="6871" y="21627"/>
                  </a:lnTo>
                  <a:lnTo>
                    <a:pt x="1431" y="18781"/>
                  </a:lnTo>
                  <a:lnTo>
                    <a:pt x="0" y="9106"/>
                  </a:lnTo>
                  <a:lnTo>
                    <a:pt x="4581" y="5406"/>
                  </a:lnTo>
                  <a:lnTo>
                    <a:pt x="5439" y="4837"/>
                  </a:lnTo>
                  <a:lnTo>
                    <a:pt x="7444" y="4268"/>
                  </a:lnTo>
                  <a:lnTo>
                    <a:pt x="7730" y="4553"/>
                  </a:lnTo>
                  <a:lnTo>
                    <a:pt x="8589" y="5975"/>
                  </a:lnTo>
                  <a:lnTo>
                    <a:pt x="9734" y="7398"/>
                  </a:lnTo>
                  <a:lnTo>
                    <a:pt x="8016" y="9390"/>
                  </a:lnTo>
                  <a:lnTo>
                    <a:pt x="6012" y="11667"/>
                  </a:lnTo>
                  <a:lnTo>
                    <a:pt x="6012" y="13659"/>
                  </a:lnTo>
                  <a:lnTo>
                    <a:pt x="8016" y="16220"/>
                  </a:lnTo>
                  <a:lnTo>
                    <a:pt x="9162" y="17927"/>
                  </a:lnTo>
                  <a:lnTo>
                    <a:pt x="10879" y="17643"/>
                  </a:lnTo>
                  <a:lnTo>
                    <a:pt x="11738" y="15651"/>
                  </a:lnTo>
                  <a:lnTo>
                    <a:pt x="12025" y="14797"/>
                  </a:lnTo>
                  <a:lnTo>
                    <a:pt x="12025" y="9959"/>
                  </a:lnTo>
                  <a:lnTo>
                    <a:pt x="11738" y="7967"/>
                  </a:lnTo>
                  <a:lnTo>
                    <a:pt x="12311" y="5691"/>
                  </a:lnTo>
                  <a:lnTo>
                    <a:pt x="13170" y="1707"/>
                  </a:lnTo>
                  <a:lnTo>
                    <a:pt x="17751" y="0"/>
                  </a:lnTo>
                  <a:lnTo>
                    <a:pt x="21473" y="1991"/>
                  </a:lnTo>
                  <a:lnTo>
                    <a:pt x="25481" y="4268"/>
                  </a:lnTo>
                  <a:lnTo>
                    <a:pt x="27772" y="11951"/>
                  </a:lnTo>
                  <a:lnTo>
                    <a:pt x="24909" y="1565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1" name="Google Shape;1891;p13"/>
            <p:cNvSpPr/>
            <p:nvPr/>
          </p:nvSpPr>
          <p:spPr>
            <a:xfrm>
              <a:off x="888533" y="7069751"/>
              <a:ext cx="30186" cy="16931"/>
            </a:xfrm>
            <a:custGeom>
              <a:avLst/>
              <a:gdLst/>
              <a:ahLst/>
              <a:cxnLst/>
              <a:rect l="l" t="t" r="r" b="b"/>
              <a:pathLst>
                <a:path w="30186" h="16931" extrusionOk="0">
                  <a:moveTo>
                    <a:pt x="17705" y="9470"/>
                  </a:moveTo>
                  <a:lnTo>
                    <a:pt x="15964" y="10044"/>
                  </a:lnTo>
                  <a:lnTo>
                    <a:pt x="13351" y="10618"/>
                  </a:lnTo>
                  <a:lnTo>
                    <a:pt x="10158" y="11192"/>
                  </a:lnTo>
                  <a:lnTo>
                    <a:pt x="7546" y="12053"/>
                  </a:lnTo>
                  <a:lnTo>
                    <a:pt x="6675" y="12340"/>
                  </a:lnTo>
                  <a:lnTo>
                    <a:pt x="5514" y="13775"/>
                  </a:lnTo>
                  <a:lnTo>
                    <a:pt x="5514" y="14636"/>
                  </a:lnTo>
                  <a:lnTo>
                    <a:pt x="5224" y="16070"/>
                  </a:lnTo>
                  <a:lnTo>
                    <a:pt x="4644" y="16931"/>
                  </a:lnTo>
                  <a:lnTo>
                    <a:pt x="2612" y="16931"/>
                  </a:lnTo>
                  <a:lnTo>
                    <a:pt x="1451" y="16070"/>
                  </a:lnTo>
                  <a:lnTo>
                    <a:pt x="870" y="15209"/>
                  </a:lnTo>
                  <a:lnTo>
                    <a:pt x="290" y="14636"/>
                  </a:lnTo>
                  <a:lnTo>
                    <a:pt x="290" y="13201"/>
                  </a:lnTo>
                  <a:lnTo>
                    <a:pt x="0" y="12627"/>
                  </a:lnTo>
                  <a:lnTo>
                    <a:pt x="290" y="9757"/>
                  </a:lnTo>
                  <a:lnTo>
                    <a:pt x="870" y="8035"/>
                  </a:lnTo>
                  <a:lnTo>
                    <a:pt x="3483" y="7461"/>
                  </a:lnTo>
                  <a:lnTo>
                    <a:pt x="7256" y="6600"/>
                  </a:lnTo>
                  <a:lnTo>
                    <a:pt x="11319" y="5452"/>
                  </a:lnTo>
                  <a:lnTo>
                    <a:pt x="15093" y="4591"/>
                  </a:lnTo>
                  <a:lnTo>
                    <a:pt x="16544" y="4304"/>
                  </a:lnTo>
                  <a:lnTo>
                    <a:pt x="17705" y="4017"/>
                  </a:lnTo>
                  <a:lnTo>
                    <a:pt x="17415" y="2008"/>
                  </a:lnTo>
                  <a:lnTo>
                    <a:pt x="17415" y="1434"/>
                  </a:lnTo>
                  <a:lnTo>
                    <a:pt x="18576" y="573"/>
                  </a:lnTo>
                  <a:lnTo>
                    <a:pt x="19156" y="286"/>
                  </a:lnTo>
                  <a:lnTo>
                    <a:pt x="19737" y="0"/>
                  </a:lnTo>
                  <a:lnTo>
                    <a:pt x="21188" y="573"/>
                  </a:lnTo>
                  <a:lnTo>
                    <a:pt x="21478" y="1147"/>
                  </a:lnTo>
                  <a:lnTo>
                    <a:pt x="22349" y="3443"/>
                  </a:lnTo>
                  <a:lnTo>
                    <a:pt x="24091" y="2869"/>
                  </a:lnTo>
                  <a:lnTo>
                    <a:pt x="25542" y="2295"/>
                  </a:lnTo>
                  <a:lnTo>
                    <a:pt x="27574" y="1721"/>
                  </a:lnTo>
                  <a:lnTo>
                    <a:pt x="29025" y="1721"/>
                  </a:lnTo>
                  <a:lnTo>
                    <a:pt x="29605" y="4304"/>
                  </a:lnTo>
                  <a:lnTo>
                    <a:pt x="30186" y="6600"/>
                  </a:lnTo>
                  <a:lnTo>
                    <a:pt x="28735" y="7174"/>
                  </a:lnTo>
                  <a:lnTo>
                    <a:pt x="26703" y="7461"/>
                  </a:lnTo>
                  <a:lnTo>
                    <a:pt x="24671" y="7748"/>
                  </a:lnTo>
                  <a:lnTo>
                    <a:pt x="23220" y="8322"/>
                  </a:lnTo>
                  <a:lnTo>
                    <a:pt x="23800" y="10905"/>
                  </a:lnTo>
                  <a:lnTo>
                    <a:pt x="23800" y="11479"/>
                  </a:lnTo>
                  <a:lnTo>
                    <a:pt x="22639" y="12627"/>
                  </a:lnTo>
                  <a:lnTo>
                    <a:pt x="21769" y="12627"/>
                  </a:lnTo>
                  <a:lnTo>
                    <a:pt x="21188" y="12914"/>
                  </a:lnTo>
                  <a:lnTo>
                    <a:pt x="19737" y="12340"/>
                  </a:lnTo>
                  <a:lnTo>
                    <a:pt x="19737" y="11766"/>
                  </a:lnTo>
                  <a:lnTo>
                    <a:pt x="19156" y="9470"/>
                  </a:lnTo>
                  <a:lnTo>
                    <a:pt x="17705" y="947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2" name="Google Shape;1892;p13"/>
            <p:cNvSpPr/>
            <p:nvPr/>
          </p:nvSpPr>
          <p:spPr>
            <a:xfrm>
              <a:off x="605970" y="6876246"/>
              <a:ext cx="33810" cy="37492"/>
            </a:xfrm>
            <a:custGeom>
              <a:avLst/>
              <a:gdLst/>
              <a:ahLst/>
              <a:cxnLst/>
              <a:rect l="l" t="t" r="r" b="b"/>
              <a:pathLst>
                <a:path w="33810" h="37492" extrusionOk="0">
                  <a:moveTo>
                    <a:pt x="288" y="9158"/>
                  </a:moveTo>
                  <a:lnTo>
                    <a:pt x="577" y="8872"/>
                  </a:lnTo>
                  <a:lnTo>
                    <a:pt x="2889" y="8299"/>
                  </a:lnTo>
                  <a:lnTo>
                    <a:pt x="2600" y="6868"/>
                  </a:lnTo>
                  <a:lnTo>
                    <a:pt x="2311" y="5151"/>
                  </a:lnTo>
                  <a:lnTo>
                    <a:pt x="2311" y="4006"/>
                  </a:lnTo>
                  <a:lnTo>
                    <a:pt x="2600" y="2289"/>
                  </a:lnTo>
                  <a:lnTo>
                    <a:pt x="3178" y="1717"/>
                  </a:lnTo>
                  <a:lnTo>
                    <a:pt x="5201" y="0"/>
                  </a:lnTo>
                  <a:lnTo>
                    <a:pt x="6646" y="858"/>
                  </a:lnTo>
                  <a:lnTo>
                    <a:pt x="7224" y="3434"/>
                  </a:lnTo>
                  <a:lnTo>
                    <a:pt x="8380" y="7154"/>
                  </a:lnTo>
                  <a:lnTo>
                    <a:pt x="12136" y="6582"/>
                  </a:lnTo>
                  <a:lnTo>
                    <a:pt x="18005" y="5613"/>
                  </a:lnTo>
                  <a:lnTo>
                    <a:pt x="20517" y="10589"/>
                  </a:lnTo>
                  <a:lnTo>
                    <a:pt x="22251" y="13737"/>
                  </a:lnTo>
                  <a:lnTo>
                    <a:pt x="23696" y="16599"/>
                  </a:lnTo>
                  <a:lnTo>
                    <a:pt x="25140" y="19747"/>
                  </a:lnTo>
                  <a:lnTo>
                    <a:pt x="25429" y="19461"/>
                  </a:lnTo>
                  <a:lnTo>
                    <a:pt x="25718" y="19461"/>
                  </a:lnTo>
                  <a:lnTo>
                    <a:pt x="26585" y="15168"/>
                  </a:lnTo>
                  <a:lnTo>
                    <a:pt x="27163" y="10875"/>
                  </a:lnTo>
                  <a:lnTo>
                    <a:pt x="28030" y="6582"/>
                  </a:lnTo>
                  <a:lnTo>
                    <a:pt x="28319" y="5724"/>
                  </a:lnTo>
                  <a:lnTo>
                    <a:pt x="29186" y="4292"/>
                  </a:lnTo>
                  <a:lnTo>
                    <a:pt x="30053" y="4006"/>
                  </a:lnTo>
                  <a:lnTo>
                    <a:pt x="32943" y="2861"/>
                  </a:lnTo>
                  <a:lnTo>
                    <a:pt x="33810" y="3720"/>
                  </a:lnTo>
                  <a:lnTo>
                    <a:pt x="33232" y="6868"/>
                  </a:lnTo>
                  <a:lnTo>
                    <a:pt x="31787" y="14882"/>
                  </a:lnTo>
                  <a:lnTo>
                    <a:pt x="30053" y="23182"/>
                  </a:lnTo>
                  <a:lnTo>
                    <a:pt x="28319" y="31195"/>
                  </a:lnTo>
                  <a:lnTo>
                    <a:pt x="27452" y="35488"/>
                  </a:lnTo>
                  <a:lnTo>
                    <a:pt x="25140" y="37205"/>
                  </a:lnTo>
                  <a:lnTo>
                    <a:pt x="21673" y="37492"/>
                  </a:lnTo>
                  <a:lnTo>
                    <a:pt x="19939" y="37492"/>
                  </a:lnTo>
                  <a:lnTo>
                    <a:pt x="19072" y="37205"/>
                  </a:lnTo>
                  <a:lnTo>
                    <a:pt x="18783" y="35488"/>
                  </a:lnTo>
                  <a:lnTo>
                    <a:pt x="18494" y="33771"/>
                  </a:lnTo>
                  <a:lnTo>
                    <a:pt x="18783" y="32912"/>
                  </a:lnTo>
                  <a:lnTo>
                    <a:pt x="20517" y="32340"/>
                  </a:lnTo>
                  <a:lnTo>
                    <a:pt x="23118" y="31768"/>
                  </a:lnTo>
                  <a:lnTo>
                    <a:pt x="24273" y="29192"/>
                  </a:lnTo>
                  <a:lnTo>
                    <a:pt x="23118" y="26616"/>
                  </a:lnTo>
                  <a:lnTo>
                    <a:pt x="19939" y="20606"/>
                  </a:lnTo>
                  <a:lnTo>
                    <a:pt x="16471" y="14309"/>
                  </a:lnTo>
                  <a:lnTo>
                    <a:pt x="13292" y="8585"/>
                  </a:lnTo>
                  <a:lnTo>
                    <a:pt x="10692" y="11161"/>
                  </a:lnTo>
                  <a:lnTo>
                    <a:pt x="10114" y="12020"/>
                  </a:lnTo>
                  <a:lnTo>
                    <a:pt x="9536" y="12878"/>
                  </a:lnTo>
                  <a:lnTo>
                    <a:pt x="9536" y="13451"/>
                  </a:lnTo>
                  <a:lnTo>
                    <a:pt x="10114" y="16599"/>
                  </a:lnTo>
                  <a:lnTo>
                    <a:pt x="10692" y="19747"/>
                  </a:lnTo>
                  <a:lnTo>
                    <a:pt x="11559" y="22895"/>
                  </a:lnTo>
                  <a:lnTo>
                    <a:pt x="11848" y="24326"/>
                  </a:lnTo>
                  <a:lnTo>
                    <a:pt x="12714" y="25471"/>
                  </a:lnTo>
                  <a:lnTo>
                    <a:pt x="14448" y="25185"/>
                  </a:lnTo>
                  <a:lnTo>
                    <a:pt x="16182" y="24899"/>
                  </a:lnTo>
                  <a:lnTo>
                    <a:pt x="16760" y="26044"/>
                  </a:lnTo>
                  <a:lnTo>
                    <a:pt x="16471" y="27188"/>
                  </a:lnTo>
                  <a:lnTo>
                    <a:pt x="16471" y="28047"/>
                  </a:lnTo>
                  <a:lnTo>
                    <a:pt x="15893" y="29192"/>
                  </a:lnTo>
                  <a:lnTo>
                    <a:pt x="15026" y="29478"/>
                  </a:lnTo>
                  <a:lnTo>
                    <a:pt x="10692" y="31481"/>
                  </a:lnTo>
                  <a:lnTo>
                    <a:pt x="7513" y="30050"/>
                  </a:lnTo>
                  <a:lnTo>
                    <a:pt x="6357" y="25185"/>
                  </a:lnTo>
                  <a:lnTo>
                    <a:pt x="5779" y="21751"/>
                  </a:lnTo>
                  <a:lnTo>
                    <a:pt x="4912" y="18316"/>
                  </a:lnTo>
                  <a:lnTo>
                    <a:pt x="4334" y="14882"/>
                  </a:lnTo>
                  <a:lnTo>
                    <a:pt x="4045" y="13451"/>
                  </a:lnTo>
                  <a:lnTo>
                    <a:pt x="3467" y="12878"/>
                  </a:lnTo>
                  <a:lnTo>
                    <a:pt x="1155" y="12878"/>
                  </a:lnTo>
                  <a:lnTo>
                    <a:pt x="288" y="12020"/>
                  </a:lnTo>
                  <a:lnTo>
                    <a:pt x="0" y="11161"/>
                  </a:lnTo>
                  <a:lnTo>
                    <a:pt x="0" y="10589"/>
                  </a:lnTo>
                  <a:lnTo>
                    <a:pt x="288" y="9158"/>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3" name="Google Shape;1893;p13"/>
            <p:cNvSpPr/>
            <p:nvPr/>
          </p:nvSpPr>
          <p:spPr>
            <a:xfrm>
              <a:off x="623598" y="6881111"/>
              <a:ext cx="1444" cy="748"/>
            </a:xfrm>
            <a:custGeom>
              <a:avLst/>
              <a:gdLst/>
              <a:ahLst/>
              <a:cxnLst/>
              <a:rect l="l" t="t" r="r" b="b"/>
              <a:pathLst>
                <a:path w="1444" h="748" extrusionOk="0">
                  <a:moveTo>
                    <a:pt x="1444" y="572"/>
                  </a:moveTo>
                  <a:lnTo>
                    <a:pt x="377" y="748"/>
                  </a:lnTo>
                  <a:lnTo>
                    <a:pt x="0" y="0"/>
                  </a:lnTo>
                  <a:lnTo>
                    <a:pt x="1444" y="57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4" name="Google Shape;1894;p13"/>
            <p:cNvSpPr/>
            <p:nvPr/>
          </p:nvSpPr>
          <p:spPr>
            <a:xfrm>
              <a:off x="493671" y="6920985"/>
              <a:ext cx="32602" cy="33863"/>
            </a:xfrm>
            <a:custGeom>
              <a:avLst/>
              <a:gdLst/>
              <a:ahLst/>
              <a:cxnLst/>
              <a:rect l="l" t="t" r="r" b="b"/>
              <a:pathLst>
                <a:path w="32602" h="33863" extrusionOk="0">
                  <a:moveTo>
                    <a:pt x="11061" y="15209"/>
                  </a:moveTo>
                  <a:lnTo>
                    <a:pt x="13972" y="14348"/>
                  </a:lnTo>
                  <a:lnTo>
                    <a:pt x="16301" y="13200"/>
                  </a:lnTo>
                  <a:lnTo>
                    <a:pt x="18921" y="12339"/>
                  </a:lnTo>
                  <a:lnTo>
                    <a:pt x="23869" y="10044"/>
                  </a:lnTo>
                  <a:lnTo>
                    <a:pt x="28818" y="11479"/>
                  </a:lnTo>
                  <a:lnTo>
                    <a:pt x="31147" y="16070"/>
                  </a:lnTo>
                  <a:lnTo>
                    <a:pt x="32020" y="17218"/>
                  </a:lnTo>
                  <a:lnTo>
                    <a:pt x="32020" y="18940"/>
                  </a:lnTo>
                  <a:lnTo>
                    <a:pt x="32602" y="20375"/>
                  </a:lnTo>
                  <a:lnTo>
                    <a:pt x="32311" y="25827"/>
                  </a:lnTo>
                  <a:lnTo>
                    <a:pt x="29109" y="28984"/>
                  </a:lnTo>
                  <a:lnTo>
                    <a:pt x="25034" y="31280"/>
                  </a:lnTo>
                  <a:lnTo>
                    <a:pt x="20958" y="33576"/>
                  </a:lnTo>
                  <a:lnTo>
                    <a:pt x="16883" y="33863"/>
                  </a:lnTo>
                  <a:lnTo>
                    <a:pt x="12808" y="30993"/>
                  </a:lnTo>
                  <a:lnTo>
                    <a:pt x="11643" y="30419"/>
                  </a:lnTo>
                  <a:lnTo>
                    <a:pt x="9606" y="29558"/>
                  </a:lnTo>
                  <a:lnTo>
                    <a:pt x="11061" y="27549"/>
                  </a:lnTo>
                  <a:lnTo>
                    <a:pt x="12517" y="25253"/>
                  </a:lnTo>
                  <a:lnTo>
                    <a:pt x="14263" y="24966"/>
                  </a:lnTo>
                  <a:lnTo>
                    <a:pt x="16301" y="26401"/>
                  </a:lnTo>
                  <a:lnTo>
                    <a:pt x="20376" y="29558"/>
                  </a:lnTo>
                  <a:lnTo>
                    <a:pt x="26489" y="24966"/>
                  </a:lnTo>
                  <a:lnTo>
                    <a:pt x="26780" y="21523"/>
                  </a:lnTo>
                  <a:lnTo>
                    <a:pt x="27363" y="18653"/>
                  </a:lnTo>
                  <a:lnTo>
                    <a:pt x="24451" y="16357"/>
                  </a:lnTo>
                  <a:lnTo>
                    <a:pt x="21541" y="17505"/>
                  </a:lnTo>
                  <a:lnTo>
                    <a:pt x="18921" y="18366"/>
                  </a:lnTo>
                  <a:lnTo>
                    <a:pt x="16592" y="19514"/>
                  </a:lnTo>
                  <a:lnTo>
                    <a:pt x="14263" y="20375"/>
                  </a:lnTo>
                  <a:lnTo>
                    <a:pt x="9023" y="22384"/>
                  </a:lnTo>
                  <a:lnTo>
                    <a:pt x="5239" y="21523"/>
                  </a:lnTo>
                  <a:lnTo>
                    <a:pt x="2619" y="17792"/>
                  </a:lnTo>
                  <a:lnTo>
                    <a:pt x="0" y="13774"/>
                  </a:lnTo>
                  <a:lnTo>
                    <a:pt x="873" y="8322"/>
                  </a:lnTo>
                  <a:lnTo>
                    <a:pt x="4657" y="4878"/>
                  </a:lnTo>
                  <a:lnTo>
                    <a:pt x="8150" y="2008"/>
                  </a:lnTo>
                  <a:lnTo>
                    <a:pt x="11934" y="0"/>
                  </a:lnTo>
                  <a:lnTo>
                    <a:pt x="16592" y="1721"/>
                  </a:lnTo>
                  <a:lnTo>
                    <a:pt x="17465" y="1721"/>
                  </a:lnTo>
                  <a:lnTo>
                    <a:pt x="18339" y="2008"/>
                  </a:lnTo>
                  <a:lnTo>
                    <a:pt x="18921" y="2582"/>
                  </a:lnTo>
                  <a:lnTo>
                    <a:pt x="19503" y="3730"/>
                  </a:lnTo>
                  <a:lnTo>
                    <a:pt x="20958" y="5165"/>
                  </a:lnTo>
                  <a:lnTo>
                    <a:pt x="20667" y="5739"/>
                  </a:lnTo>
                  <a:lnTo>
                    <a:pt x="19794" y="7748"/>
                  </a:lnTo>
                  <a:lnTo>
                    <a:pt x="17174" y="8609"/>
                  </a:lnTo>
                  <a:lnTo>
                    <a:pt x="15428" y="7461"/>
                  </a:lnTo>
                  <a:lnTo>
                    <a:pt x="12225" y="5739"/>
                  </a:lnTo>
                  <a:lnTo>
                    <a:pt x="7277" y="8035"/>
                  </a:lnTo>
                  <a:lnTo>
                    <a:pt x="6695" y="11479"/>
                  </a:lnTo>
                  <a:lnTo>
                    <a:pt x="6404" y="14061"/>
                  </a:lnTo>
                  <a:lnTo>
                    <a:pt x="8441" y="15783"/>
                  </a:lnTo>
                  <a:lnTo>
                    <a:pt x="11061" y="15209"/>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5" name="Google Shape;1895;p13"/>
            <p:cNvSpPr/>
            <p:nvPr/>
          </p:nvSpPr>
          <p:spPr>
            <a:xfrm>
              <a:off x="522666" y="6914934"/>
              <a:ext cx="22942" cy="25397"/>
            </a:xfrm>
            <a:custGeom>
              <a:avLst/>
              <a:gdLst/>
              <a:ahLst/>
              <a:cxnLst/>
              <a:rect l="l" t="t" r="r" b="b"/>
              <a:pathLst>
                <a:path w="22942" h="25397" extrusionOk="0">
                  <a:moveTo>
                    <a:pt x="6764" y="12409"/>
                  </a:moveTo>
                  <a:lnTo>
                    <a:pt x="9117" y="11255"/>
                  </a:lnTo>
                  <a:lnTo>
                    <a:pt x="11470" y="9523"/>
                  </a:lnTo>
                  <a:lnTo>
                    <a:pt x="13824" y="8080"/>
                  </a:lnTo>
                  <a:lnTo>
                    <a:pt x="12059" y="5772"/>
                  </a:lnTo>
                  <a:lnTo>
                    <a:pt x="10294" y="4906"/>
                  </a:lnTo>
                  <a:lnTo>
                    <a:pt x="7941" y="5772"/>
                  </a:lnTo>
                  <a:lnTo>
                    <a:pt x="7647" y="865"/>
                  </a:lnTo>
                  <a:lnTo>
                    <a:pt x="12647" y="0"/>
                  </a:lnTo>
                  <a:lnTo>
                    <a:pt x="18824" y="3174"/>
                  </a:lnTo>
                  <a:lnTo>
                    <a:pt x="20294" y="7215"/>
                  </a:lnTo>
                  <a:lnTo>
                    <a:pt x="20294" y="7792"/>
                  </a:lnTo>
                  <a:lnTo>
                    <a:pt x="19706" y="9235"/>
                  </a:lnTo>
                  <a:lnTo>
                    <a:pt x="18824" y="9812"/>
                  </a:lnTo>
                  <a:lnTo>
                    <a:pt x="15882" y="11832"/>
                  </a:lnTo>
                  <a:lnTo>
                    <a:pt x="12941" y="13564"/>
                  </a:lnTo>
                  <a:lnTo>
                    <a:pt x="9706" y="15584"/>
                  </a:lnTo>
                  <a:lnTo>
                    <a:pt x="7647" y="16738"/>
                  </a:lnTo>
                  <a:lnTo>
                    <a:pt x="8235" y="17893"/>
                  </a:lnTo>
                  <a:lnTo>
                    <a:pt x="9706" y="18759"/>
                  </a:lnTo>
                  <a:lnTo>
                    <a:pt x="12941" y="20779"/>
                  </a:lnTo>
                  <a:lnTo>
                    <a:pt x="17059" y="19047"/>
                  </a:lnTo>
                  <a:lnTo>
                    <a:pt x="17941" y="15584"/>
                  </a:lnTo>
                  <a:lnTo>
                    <a:pt x="17941" y="15007"/>
                  </a:lnTo>
                  <a:lnTo>
                    <a:pt x="17647" y="14141"/>
                  </a:lnTo>
                  <a:lnTo>
                    <a:pt x="18235" y="13852"/>
                  </a:lnTo>
                  <a:lnTo>
                    <a:pt x="19118" y="12698"/>
                  </a:lnTo>
                  <a:lnTo>
                    <a:pt x="20294" y="12121"/>
                  </a:lnTo>
                  <a:lnTo>
                    <a:pt x="21471" y="11255"/>
                  </a:lnTo>
                  <a:lnTo>
                    <a:pt x="21765" y="12121"/>
                  </a:lnTo>
                  <a:lnTo>
                    <a:pt x="22647" y="12987"/>
                  </a:lnTo>
                  <a:lnTo>
                    <a:pt x="22647" y="13852"/>
                  </a:lnTo>
                  <a:lnTo>
                    <a:pt x="22942" y="17893"/>
                  </a:lnTo>
                  <a:lnTo>
                    <a:pt x="21177" y="20779"/>
                  </a:lnTo>
                  <a:lnTo>
                    <a:pt x="17941" y="23088"/>
                  </a:lnTo>
                  <a:lnTo>
                    <a:pt x="14118" y="25108"/>
                  </a:lnTo>
                  <a:lnTo>
                    <a:pt x="10294" y="25397"/>
                  </a:lnTo>
                  <a:lnTo>
                    <a:pt x="6764" y="22799"/>
                  </a:lnTo>
                  <a:lnTo>
                    <a:pt x="2353" y="19913"/>
                  </a:lnTo>
                  <a:lnTo>
                    <a:pt x="0" y="16161"/>
                  </a:lnTo>
                  <a:lnTo>
                    <a:pt x="0" y="5483"/>
                  </a:lnTo>
                  <a:lnTo>
                    <a:pt x="2941" y="1731"/>
                  </a:lnTo>
                  <a:lnTo>
                    <a:pt x="4706" y="11544"/>
                  </a:lnTo>
                  <a:lnTo>
                    <a:pt x="5000" y="13275"/>
                  </a:lnTo>
                  <a:lnTo>
                    <a:pt x="6764" y="12409"/>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6" name="Google Shape;1896;p13"/>
            <p:cNvSpPr/>
            <p:nvPr/>
          </p:nvSpPr>
          <p:spPr>
            <a:xfrm>
              <a:off x="525607" y="6915800"/>
              <a:ext cx="5000" cy="10678"/>
            </a:xfrm>
            <a:custGeom>
              <a:avLst/>
              <a:gdLst/>
              <a:ahLst/>
              <a:cxnLst/>
              <a:rect l="l" t="t" r="r" b="b"/>
              <a:pathLst>
                <a:path w="5000" h="10678" extrusionOk="0">
                  <a:moveTo>
                    <a:pt x="1764" y="7215"/>
                  </a:moveTo>
                  <a:lnTo>
                    <a:pt x="1764" y="10678"/>
                  </a:lnTo>
                  <a:lnTo>
                    <a:pt x="0" y="865"/>
                  </a:lnTo>
                  <a:lnTo>
                    <a:pt x="4706" y="0"/>
                  </a:lnTo>
                  <a:lnTo>
                    <a:pt x="5000" y="4906"/>
                  </a:lnTo>
                  <a:lnTo>
                    <a:pt x="2941" y="5483"/>
                  </a:lnTo>
                  <a:lnTo>
                    <a:pt x="1764" y="721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7" name="Google Shape;1897;p13"/>
            <p:cNvSpPr/>
            <p:nvPr/>
          </p:nvSpPr>
          <p:spPr>
            <a:xfrm>
              <a:off x="562513" y="6891973"/>
              <a:ext cx="26564" cy="27817"/>
            </a:xfrm>
            <a:custGeom>
              <a:avLst/>
              <a:gdLst/>
              <a:ahLst/>
              <a:cxnLst/>
              <a:rect l="l" t="t" r="r" b="b"/>
              <a:pathLst>
                <a:path w="26564" h="27817" extrusionOk="0">
                  <a:moveTo>
                    <a:pt x="25678" y="19213"/>
                  </a:moveTo>
                  <a:lnTo>
                    <a:pt x="26564" y="20934"/>
                  </a:lnTo>
                  <a:lnTo>
                    <a:pt x="26269" y="22081"/>
                  </a:lnTo>
                  <a:lnTo>
                    <a:pt x="24498" y="22368"/>
                  </a:lnTo>
                  <a:lnTo>
                    <a:pt x="23022" y="22655"/>
                  </a:lnTo>
                  <a:lnTo>
                    <a:pt x="21841" y="22655"/>
                  </a:lnTo>
                  <a:lnTo>
                    <a:pt x="20661" y="22941"/>
                  </a:lnTo>
                  <a:lnTo>
                    <a:pt x="20661" y="23228"/>
                  </a:lnTo>
                  <a:lnTo>
                    <a:pt x="18595" y="24375"/>
                  </a:lnTo>
                  <a:lnTo>
                    <a:pt x="16824" y="25809"/>
                  </a:lnTo>
                  <a:lnTo>
                    <a:pt x="14758" y="26669"/>
                  </a:lnTo>
                  <a:lnTo>
                    <a:pt x="11216" y="27817"/>
                  </a:lnTo>
                  <a:lnTo>
                    <a:pt x="8264" y="26669"/>
                  </a:lnTo>
                  <a:lnTo>
                    <a:pt x="6788" y="23515"/>
                  </a:lnTo>
                  <a:lnTo>
                    <a:pt x="4132" y="18640"/>
                  </a:lnTo>
                  <a:lnTo>
                    <a:pt x="2361" y="13478"/>
                  </a:lnTo>
                  <a:lnTo>
                    <a:pt x="295" y="8603"/>
                  </a:lnTo>
                  <a:lnTo>
                    <a:pt x="0" y="8029"/>
                  </a:lnTo>
                  <a:lnTo>
                    <a:pt x="1180" y="6595"/>
                  </a:lnTo>
                  <a:lnTo>
                    <a:pt x="2066" y="6022"/>
                  </a:lnTo>
                  <a:lnTo>
                    <a:pt x="3541" y="5161"/>
                  </a:lnTo>
                  <a:lnTo>
                    <a:pt x="4722" y="5448"/>
                  </a:lnTo>
                  <a:lnTo>
                    <a:pt x="5608" y="7169"/>
                  </a:lnTo>
                  <a:lnTo>
                    <a:pt x="6788" y="10323"/>
                  </a:lnTo>
                  <a:lnTo>
                    <a:pt x="7969" y="13191"/>
                  </a:lnTo>
                  <a:lnTo>
                    <a:pt x="9149" y="16346"/>
                  </a:lnTo>
                  <a:lnTo>
                    <a:pt x="9740" y="17493"/>
                  </a:lnTo>
                  <a:lnTo>
                    <a:pt x="10330" y="18927"/>
                  </a:lnTo>
                  <a:lnTo>
                    <a:pt x="11216" y="20074"/>
                  </a:lnTo>
                  <a:lnTo>
                    <a:pt x="12101" y="21221"/>
                  </a:lnTo>
                  <a:lnTo>
                    <a:pt x="13577" y="22655"/>
                  </a:lnTo>
                  <a:lnTo>
                    <a:pt x="15053" y="21508"/>
                  </a:lnTo>
                  <a:lnTo>
                    <a:pt x="16529" y="20647"/>
                  </a:lnTo>
                  <a:lnTo>
                    <a:pt x="17709" y="19213"/>
                  </a:lnTo>
                  <a:lnTo>
                    <a:pt x="18299" y="17779"/>
                  </a:lnTo>
                  <a:lnTo>
                    <a:pt x="18595" y="16632"/>
                  </a:lnTo>
                  <a:lnTo>
                    <a:pt x="18004" y="14912"/>
                  </a:lnTo>
                  <a:lnTo>
                    <a:pt x="17414" y="13478"/>
                  </a:lnTo>
                  <a:lnTo>
                    <a:pt x="16233" y="10323"/>
                  </a:lnTo>
                  <a:lnTo>
                    <a:pt x="15053" y="7169"/>
                  </a:lnTo>
                  <a:lnTo>
                    <a:pt x="13577" y="3728"/>
                  </a:lnTo>
                  <a:lnTo>
                    <a:pt x="12691" y="1720"/>
                  </a:lnTo>
                  <a:lnTo>
                    <a:pt x="14167" y="1433"/>
                  </a:lnTo>
                  <a:lnTo>
                    <a:pt x="15348" y="860"/>
                  </a:lnTo>
                  <a:lnTo>
                    <a:pt x="16824" y="286"/>
                  </a:lnTo>
                  <a:lnTo>
                    <a:pt x="18004" y="0"/>
                  </a:lnTo>
                  <a:lnTo>
                    <a:pt x="18890" y="2007"/>
                  </a:lnTo>
                  <a:lnTo>
                    <a:pt x="20956" y="7742"/>
                  </a:lnTo>
                  <a:lnTo>
                    <a:pt x="23317" y="13478"/>
                  </a:lnTo>
                  <a:lnTo>
                    <a:pt x="25678" y="1921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8" name="Google Shape;1898;p13"/>
            <p:cNvSpPr/>
            <p:nvPr/>
          </p:nvSpPr>
          <p:spPr>
            <a:xfrm>
              <a:off x="543196" y="6902836"/>
              <a:ext cx="21734" cy="25396"/>
            </a:xfrm>
            <a:custGeom>
              <a:avLst/>
              <a:gdLst/>
              <a:ahLst/>
              <a:cxnLst/>
              <a:rect l="l" t="t" r="r" b="b"/>
              <a:pathLst>
                <a:path w="21734" h="25396" extrusionOk="0">
                  <a:moveTo>
                    <a:pt x="5015" y="13544"/>
                  </a:moveTo>
                  <a:lnTo>
                    <a:pt x="6687" y="16648"/>
                  </a:lnTo>
                  <a:lnTo>
                    <a:pt x="10031" y="19188"/>
                  </a:lnTo>
                  <a:lnTo>
                    <a:pt x="12817" y="21163"/>
                  </a:lnTo>
                  <a:lnTo>
                    <a:pt x="16440" y="19188"/>
                  </a:lnTo>
                  <a:lnTo>
                    <a:pt x="16440" y="15520"/>
                  </a:lnTo>
                  <a:lnTo>
                    <a:pt x="16718" y="14391"/>
                  </a:lnTo>
                  <a:lnTo>
                    <a:pt x="16718" y="12980"/>
                  </a:lnTo>
                  <a:lnTo>
                    <a:pt x="17276" y="12416"/>
                  </a:lnTo>
                  <a:lnTo>
                    <a:pt x="18112" y="11851"/>
                  </a:lnTo>
                  <a:lnTo>
                    <a:pt x="19505" y="11569"/>
                  </a:lnTo>
                  <a:lnTo>
                    <a:pt x="20619" y="11287"/>
                  </a:lnTo>
                  <a:lnTo>
                    <a:pt x="20898" y="12134"/>
                  </a:lnTo>
                  <a:lnTo>
                    <a:pt x="21455" y="13262"/>
                  </a:lnTo>
                  <a:lnTo>
                    <a:pt x="21455" y="14109"/>
                  </a:lnTo>
                  <a:lnTo>
                    <a:pt x="21734" y="19188"/>
                  </a:lnTo>
                  <a:lnTo>
                    <a:pt x="19505" y="22292"/>
                  </a:lnTo>
                  <a:lnTo>
                    <a:pt x="15325" y="23985"/>
                  </a:lnTo>
                  <a:lnTo>
                    <a:pt x="10588" y="25396"/>
                  </a:lnTo>
                  <a:lnTo>
                    <a:pt x="6408" y="24268"/>
                  </a:lnTo>
                  <a:lnTo>
                    <a:pt x="3622" y="20317"/>
                  </a:lnTo>
                  <a:lnTo>
                    <a:pt x="1114" y="16931"/>
                  </a:lnTo>
                  <a:lnTo>
                    <a:pt x="0" y="13262"/>
                  </a:lnTo>
                  <a:lnTo>
                    <a:pt x="557" y="9029"/>
                  </a:lnTo>
                  <a:lnTo>
                    <a:pt x="835" y="5361"/>
                  </a:lnTo>
                  <a:lnTo>
                    <a:pt x="3901" y="1975"/>
                  </a:lnTo>
                  <a:lnTo>
                    <a:pt x="7802" y="1128"/>
                  </a:lnTo>
                  <a:lnTo>
                    <a:pt x="12539" y="0"/>
                  </a:lnTo>
                  <a:lnTo>
                    <a:pt x="15604" y="1128"/>
                  </a:lnTo>
                  <a:lnTo>
                    <a:pt x="17833" y="5079"/>
                  </a:lnTo>
                  <a:lnTo>
                    <a:pt x="15882" y="6490"/>
                  </a:lnTo>
                  <a:lnTo>
                    <a:pt x="14211" y="7901"/>
                  </a:lnTo>
                  <a:lnTo>
                    <a:pt x="11703" y="5925"/>
                  </a:lnTo>
                  <a:lnTo>
                    <a:pt x="9474" y="4232"/>
                  </a:lnTo>
                  <a:lnTo>
                    <a:pt x="5851" y="6490"/>
                  </a:lnTo>
                  <a:lnTo>
                    <a:pt x="5572" y="9594"/>
                  </a:lnTo>
                  <a:lnTo>
                    <a:pt x="5015" y="1354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9" name="Google Shape;1899;p13"/>
            <p:cNvSpPr/>
            <p:nvPr/>
          </p:nvSpPr>
          <p:spPr>
            <a:xfrm>
              <a:off x="598719" y="6885922"/>
              <a:ext cx="10867" cy="22979"/>
            </a:xfrm>
            <a:custGeom>
              <a:avLst/>
              <a:gdLst/>
              <a:ahLst/>
              <a:cxnLst/>
              <a:rect l="l" t="t" r="r" b="b"/>
              <a:pathLst>
                <a:path w="10867" h="22979" extrusionOk="0">
                  <a:moveTo>
                    <a:pt x="3717" y="0"/>
                  </a:moveTo>
                  <a:lnTo>
                    <a:pt x="4289" y="0"/>
                  </a:lnTo>
                  <a:lnTo>
                    <a:pt x="5433" y="567"/>
                  </a:lnTo>
                  <a:lnTo>
                    <a:pt x="5433" y="1134"/>
                  </a:lnTo>
                  <a:lnTo>
                    <a:pt x="7435" y="7375"/>
                  </a:lnTo>
                  <a:lnTo>
                    <a:pt x="8865" y="13617"/>
                  </a:lnTo>
                  <a:lnTo>
                    <a:pt x="10581" y="19858"/>
                  </a:lnTo>
                  <a:lnTo>
                    <a:pt x="10581" y="20425"/>
                  </a:lnTo>
                  <a:lnTo>
                    <a:pt x="10867" y="21276"/>
                  </a:lnTo>
                  <a:lnTo>
                    <a:pt x="10009" y="21560"/>
                  </a:lnTo>
                  <a:lnTo>
                    <a:pt x="9151" y="22127"/>
                  </a:lnTo>
                  <a:lnTo>
                    <a:pt x="8293" y="22411"/>
                  </a:lnTo>
                  <a:lnTo>
                    <a:pt x="6863" y="22979"/>
                  </a:lnTo>
                  <a:lnTo>
                    <a:pt x="5719" y="22695"/>
                  </a:lnTo>
                  <a:lnTo>
                    <a:pt x="5433" y="20993"/>
                  </a:lnTo>
                  <a:lnTo>
                    <a:pt x="4289" y="16737"/>
                  </a:lnTo>
                  <a:lnTo>
                    <a:pt x="3145" y="12198"/>
                  </a:lnTo>
                  <a:lnTo>
                    <a:pt x="2001" y="7943"/>
                  </a:lnTo>
                  <a:lnTo>
                    <a:pt x="1715" y="6524"/>
                  </a:lnTo>
                  <a:lnTo>
                    <a:pt x="1143" y="5390"/>
                  </a:lnTo>
                  <a:lnTo>
                    <a:pt x="857" y="3971"/>
                  </a:lnTo>
                  <a:lnTo>
                    <a:pt x="0" y="851"/>
                  </a:lnTo>
                  <a:lnTo>
                    <a:pt x="571" y="0"/>
                  </a:lnTo>
                  <a:lnTo>
                    <a:pt x="3717" y="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0" name="Google Shape;1900;p13"/>
            <p:cNvSpPr/>
            <p:nvPr/>
          </p:nvSpPr>
          <p:spPr>
            <a:xfrm>
              <a:off x="418820" y="7033452"/>
              <a:ext cx="31394" cy="36281"/>
            </a:xfrm>
            <a:custGeom>
              <a:avLst/>
              <a:gdLst/>
              <a:ahLst/>
              <a:cxnLst/>
              <a:rect l="l" t="t" r="r" b="b"/>
              <a:pathLst>
                <a:path w="31394" h="36281" extrusionOk="0">
                  <a:moveTo>
                    <a:pt x="2016" y="16254"/>
                  </a:moveTo>
                  <a:lnTo>
                    <a:pt x="6048" y="13641"/>
                  </a:lnTo>
                  <a:lnTo>
                    <a:pt x="6624" y="13351"/>
                  </a:lnTo>
                  <a:lnTo>
                    <a:pt x="6624" y="11319"/>
                  </a:lnTo>
                  <a:lnTo>
                    <a:pt x="6912" y="9288"/>
                  </a:lnTo>
                  <a:lnTo>
                    <a:pt x="6336" y="6966"/>
                  </a:lnTo>
                  <a:lnTo>
                    <a:pt x="6912" y="5224"/>
                  </a:lnTo>
                  <a:lnTo>
                    <a:pt x="8064" y="1451"/>
                  </a:lnTo>
                  <a:lnTo>
                    <a:pt x="11232" y="0"/>
                  </a:lnTo>
                  <a:lnTo>
                    <a:pt x="14689" y="1160"/>
                  </a:lnTo>
                  <a:lnTo>
                    <a:pt x="19585" y="2612"/>
                  </a:lnTo>
                  <a:lnTo>
                    <a:pt x="24481" y="4353"/>
                  </a:lnTo>
                  <a:lnTo>
                    <a:pt x="29378" y="6095"/>
                  </a:lnTo>
                  <a:lnTo>
                    <a:pt x="31394" y="6675"/>
                  </a:lnTo>
                  <a:lnTo>
                    <a:pt x="31106" y="7836"/>
                  </a:lnTo>
                  <a:lnTo>
                    <a:pt x="30818" y="9578"/>
                  </a:lnTo>
                  <a:lnTo>
                    <a:pt x="30242" y="11029"/>
                  </a:lnTo>
                  <a:lnTo>
                    <a:pt x="29378" y="11900"/>
                  </a:lnTo>
                  <a:lnTo>
                    <a:pt x="27650" y="11319"/>
                  </a:lnTo>
                  <a:lnTo>
                    <a:pt x="23617" y="9578"/>
                  </a:lnTo>
                  <a:lnTo>
                    <a:pt x="19297" y="8417"/>
                  </a:lnTo>
                  <a:lnTo>
                    <a:pt x="15265" y="6966"/>
                  </a:lnTo>
                  <a:lnTo>
                    <a:pt x="13249" y="6385"/>
                  </a:lnTo>
                  <a:lnTo>
                    <a:pt x="11808" y="6385"/>
                  </a:lnTo>
                  <a:lnTo>
                    <a:pt x="10944" y="8127"/>
                  </a:lnTo>
                  <a:lnTo>
                    <a:pt x="9792" y="10158"/>
                  </a:lnTo>
                  <a:lnTo>
                    <a:pt x="10080" y="11900"/>
                  </a:lnTo>
                  <a:lnTo>
                    <a:pt x="11808" y="13061"/>
                  </a:lnTo>
                  <a:lnTo>
                    <a:pt x="12961" y="13932"/>
                  </a:lnTo>
                  <a:lnTo>
                    <a:pt x="14401" y="14512"/>
                  </a:lnTo>
                  <a:lnTo>
                    <a:pt x="15841" y="15093"/>
                  </a:lnTo>
                  <a:lnTo>
                    <a:pt x="18721" y="16254"/>
                  </a:lnTo>
                  <a:lnTo>
                    <a:pt x="21889" y="17124"/>
                  </a:lnTo>
                  <a:lnTo>
                    <a:pt x="25057" y="18285"/>
                  </a:lnTo>
                  <a:lnTo>
                    <a:pt x="27074" y="18866"/>
                  </a:lnTo>
                  <a:lnTo>
                    <a:pt x="27362" y="19737"/>
                  </a:lnTo>
                  <a:lnTo>
                    <a:pt x="26786" y="21768"/>
                  </a:lnTo>
                  <a:lnTo>
                    <a:pt x="25922" y="23800"/>
                  </a:lnTo>
                  <a:lnTo>
                    <a:pt x="25057" y="24090"/>
                  </a:lnTo>
                  <a:lnTo>
                    <a:pt x="23041" y="23510"/>
                  </a:lnTo>
                  <a:lnTo>
                    <a:pt x="19297" y="22059"/>
                  </a:lnTo>
                  <a:lnTo>
                    <a:pt x="15553" y="20898"/>
                  </a:lnTo>
                  <a:lnTo>
                    <a:pt x="11808" y="19737"/>
                  </a:lnTo>
                  <a:lnTo>
                    <a:pt x="10080" y="19156"/>
                  </a:lnTo>
                  <a:lnTo>
                    <a:pt x="7776" y="18285"/>
                  </a:lnTo>
                  <a:lnTo>
                    <a:pt x="6624" y="20898"/>
                  </a:lnTo>
                  <a:lnTo>
                    <a:pt x="5760" y="23220"/>
                  </a:lnTo>
                  <a:lnTo>
                    <a:pt x="6912" y="25542"/>
                  </a:lnTo>
                  <a:lnTo>
                    <a:pt x="9504" y="26703"/>
                  </a:lnTo>
                  <a:lnTo>
                    <a:pt x="12961" y="27864"/>
                  </a:lnTo>
                  <a:lnTo>
                    <a:pt x="16417" y="29025"/>
                  </a:lnTo>
                  <a:lnTo>
                    <a:pt x="20161" y="30186"/>
                  </a:lnTo>
                  <a:lnTo>
                    <a:pt x="21889" y="30766"/>
                  </a:lnTo>
                  <a:lnTo>
                    <a:pt x="23329" y="31347"/>
                  </a:lnTo>
                  <a:lnTo>
                    <a:pt x="22465" y="33959"/>
                  </a:lnTo>
                  <a:lnTo>
                    <a:pt x="21601" y="36281"/>
                  </a:lnTo>
                  <a:lnTo>
                    <a:pt x="20449" y="36281"/>
                  </a:lnTo>
                  <a:lnTo>
                    <a:pt x="18433" y="35700"/>
                  </a:lnTo>
                  <a:lnTo>
                    <a:pt x="13537" y="33669"/>
                  </a:lnTo>
                  <a:lnTo>
                    <a:pt x="8352" y="32217"/>
                  </a:lnTo>
                  <a:lnTo>
                    <a:pt x="3168" y="30186"/>
                  </a:lnTo>
                  <a:lnTo>
                    <a:pt x="2016" y="29895"/>
                  </a:lnTo>
                  <a:lnTo>
                    <a:pt x="0" y="28734"/>
                  </a:lnTo>
                  <a:lnTo>
                    <a:pt x="0" y="28154"/>
                  </a:lnTo>
                  <a:lnTo>
                    <a:pt x="288" y="26412"/>
                  </a:lnTo>
                  <a:lnTo>
                    <a:pt x="1440" y="24961"/>
                  </a:lnTo>
                  <a:lnTo>
                    <a:pt x="2016" y="23510"/>
                  </a:lnTo>
                  <a:lnTo>
                    <a:pt x="1440" y="19737"/>
                  </a:lnTo>
                  <a:lnTo>
                    <a:pt x="2016" y="1625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1" name="Google Shape;1901;p13"/>
            <p:cNvSpPr/>
            <p:nvPr/>
          </p:nvSpPr>
          <p:spPr>
            <a:xfrm>
              <a:off x="433292" y="7011703"/>
              <a:ext cx="23013" cy="22979"/>
            </a:xfrm>
            <a:custGeom>
              <a:avLst/>
              <a:gdLst/>
              <a:ahLst/>
              <a:cxnLst/>
              <a:rect l="l" t="t" r="r" b="b"/>
              <a:pathLst>
                <a:path w="23013" h="22979" extrusionOk="0">
                  <a:moveTo>
                    <a:pt x="6818" y="15973"/>
                  </a:moveTo>
                  <a:lnTo>
                    <a:pt x="6818" y="16253"/>
                  </a:lnTo>
                  <a:lnTo>
                    <a:pt x="5114" y="16533"/>
                  </a:lnTo>
                  <a:lnTo>
                    <a:pt x="4830" y="16253"/>
                  </a:lnTo>
                  <a:lnTo>
                    <a:pt x="3977" y="15693"/>
                  </a:lnTo>
                  <a:lnTo>
                    <a:pt x="3125" y="14852"/>
                  </a:lnTo>
                  <a:lnTo>
                    <a:pt x="2841" y="13731"/>
                  </a:lnTo>
                  <a:lnTo>
                    <a:pt x="0" y="8126"/>
                  </a:lnTo>
                  <a:lnTo>
                    <a:pt x="4545" y="0"/>
                  </a:lnTo>
                  <a:lnTo>
                    <a:pt x="11648" y="0"/>
                  </a:lnTo>
                  <a:lnTo>
                    <a:pt x="13069" y="280"/>
                  </a:lnTo>
                  <a:lnTo>
                    <a:pt x="15058" y="1401"/>
                  </a:lnTo>
                  <a:lnTo>
                    <a:pt x="17331" y="2241"/>
                  </a:lnTo>
                  <a:lnTo>
                    <a:pt x="15626" y="10648"/>
                  </a:lnTo>
                  <a:lnTo>
                    <a:pt x="15342" y="11489"/>
                  </a:lnTo>
                  <a:lnTo>
                    <a:pt x="15058" y="12610"/>
                  </a:lnTo>
                  <a:lnTo>
                    <a:pt x="14774" y="13170"/>
                  </a:lnTo>
                  <a:lnTo>
                    <a:pt x="14490" y="16253"/>
                  </a:lnTo>
                  <a:lnTo>
                    <a:pt x="16194" y="17654"/>
                  </a:lnTo>
                  <a:lnTo>
                    <a:pt x="18467" y="16813"/>
                  </a:lnTo>
                  <a:lnTo>
                    <a:pt x="20740" y="15693"/>
                  </a:lnTo>
                  <a:lnTo>
                    <a:pt x="21593" y="11489"/>
                  </a:lnTo>
                  <a:lnTo>
                    <a:pt x="23013" y="21017"/>
                  </a:lnTo>
                  <a:lnTo>
                    <a:pt x="20172" y="22979"/>
                  </a:lnTo>
                  <a:lnTo>
                    <a:pt x="16194" y="22418"/>
                  </a:lnTo>
                  <a:lnTo>
                    <a:pt x="12217" y="22138"/>
                  </a:lnTo>
                  <a:lnTo>
                    <a:pt x="9944" y="19336"/>
                  </a:lnTo>
                  <a:lnTo>
                    <a:pt x="10512" y="15412"/>
                  </a:lnTo>
                  <a:lnTo>
                    <a:pt x="10796" y="13170"/>
                  </a:lnTo>
                  <a:lnTo>
                    <a:pt x="11648" y="10929"/>
                  </a:lnTo>
                  <a:lnTo>
                    <a:pt x="12217" y="8687"/>
                  </a:lnTo>
                  <a:lnTo>
                    <a:pt x="12217" y="7566"/>
                  </a:lnTo>
                  <a:lnTo>
                    <a:pt x="11648" y="6445"/>
                  </a:lnTo>
                  <a:lnTo>
                    <a:pt x="11364" y="5044"/>
                  </a:lnTo>
                  <a:lnTo>
                    <a:pt x="9944" y="5884"/>
                  </a:lnTo>
                  <a:lnTo>
                    <a:pt x="8523" y="6165"/>
                  </a:lnTo>
                  <a:lnTo>
                    <a:pt x="7671" y="7005"/>
                  </a:lnTo>
                  <a:lnTo>
                    <a:pt x="6534" y="8126"/>
                  </a:lnTo>
                  <a:lnTo>
                    <a:pt x="6534" y="9808"/>
                  </a:lnTo>
                  <a:lnTo>
                    <a:pt x="7387" y="11769"/>
                  </a:lnTo>
                  <a:lnTo>
                    <a:pt x="7671" y="12890"/>
                  </a:lnTo>
                  <a:lnTo>
                    <a:pt x="7103" y="14572"/>
                  </a:lnTo>
                  <a:lnTo>
                    <a:pt x="6818" y="1597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2" name="Google Shape;1902;p13"/>
            <p:cNvSpPr/>
            <p:nvPr/>
          </p:nvSpPr>
          <p:spPr>
            <a:xfrm>
              <a:off x="448919" y="7013945"/>
              <a:ext cx="13353" cy="18775"/>
            </a:xfrm>
            <a:custGeom>
              <a:avLst/>
              <a:gdLst/>
              <a:ahLst/>
              <a:cxnLst/>
              <a:rect l="l" t="t" r="r" b="b"/>
              <a:pathLst>
                <a:path w="13353" h="18775" extrusionOk="0">
                  <a:moveTo>
                    <a:pt x="10796" y="1961"/>
                  </a:moveTo>
                  <a:lnTo>
                    <a:pt x="12217" y="2241"/>
                  </a:lnTo>
                  <a:lnTo>
                    <a:pt x="12785" y="3643"/>
                  </a:lnTo>
                  <a:lnTo>
                    <a:pt x="13353" y="4763"/>
                  </a:lnTo>
                  <a:lnTo>
                    <a:pt x="12785" y="7005"/>
                  </a:lnTo>
                  <a:lnTo>
                    <a:pt x="12217" y="7566"/>
                  </a:lnTo>
                  <a:lnTo>
                    <a:pt x="9091" y="8967"/>
                  </a:lnTo>
                  <a:lnTo>
                    <a:pt x="9376" y="11769"/>
                  </a:lnTo>
                  <a:lnTo>
                    <a:pt x="8523" y="14291"/>
                  </a:lnTo>
                  <a:lnTo>
                    <a:pt x="7387" y="18775"/>
                  </a:lnTo>
                  <a:lnTo>
                    <a:pt x="5966" y="9247"/>
                  </a:lnTo>
                  <a:lnTo>
                    <a:pt x="3977" y="7286"/>
                  </a:lnTo>
                  <a:lnTo>
                    <a:pt x="1988" y="5604"/>
                  </a:lnTo>
                  <a:lnTo>
                    <a:pt x="852" y="5884"/>
                  </a:lnTo>
                  <a:lnTo>
                    <a:pt x="0" y="8407"/>
                  </a:lnTo>
                  <a:lnTo>
                    <a:pt x="1704" y="0"/>
                  </a:lnTo>
                  <a:lnTo>
                    <a:pt x="3409" y="840"/>
                  </a:lnTo>
                  <a:lnTo>
                    <a:pt x="5114" y="1681"/>
                  </a:lnTo>
                  <a:lnTo>
                    <a:pt x="6818" y="2522"/>
                  </a:lnTo>
                  <a:lnTo>
                    <a:pt x="7671" y="2802"/>
                  </a:lnTo>
                  <a:lnTo>
                    <a:pt x="8523" y="3082"/>
                  </a:lnTo>
                  <a:lnTo>
                    <a:pt x="9091" y="2802"/>
                  </a:lnTo>
                  <a:lnTo>
                    <a:pt x="10796" y="196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3" name="Google Shape;1903;p13"/>
            <p:cNvSpPr/>
            <p:nvPr/>
          </p:nvSpPr>
          <p:spPr>
            <a:xfrm>
              <a:off x="411567" y="7083041"/>
              <a:ext cx="24149" cy="22978"/>
            </a:xfrm>
            <a:custGeom>
              <a:avLst/>
              <a:gdLst/>
              <a:ahLst/>
              <a:cxnLst/>
              <a:rect l="l" t="t" r="r" b="b"/>
              <a:pathLst>
                <a:path w="24149" h="22978" extrusionOk="0">
                  <a:moveTo>
                    <a:pt x="12785" y="17308"/>
                  </a:moveTo>
                  <a:lnTo>
                    <a:pt x="14205" y="17308"/>
                  </a:lnTo>
                  <a:lnTo>
                    <a:pt x="14774" y="17009"/>
                  </a:lnTo>
                  <a:lnTo>
                    <a:pt x="17046" y="16711"/>
                  </a:lnTo>
                  <a:lnTo>
                    <a:pt x="19319" y="15219"/>
                  </a:lnTo>
                  <a:lnTo>
                    <a:pt x="19319" y="11041"/>
                  </a:lnTo>
                  <a:lnTo>
                    <a:pt x="18467" y="8952"/>
                  </a:lnTo>
                  <a:lnTo>
                    <a:pt x="17046" y="7758"/>
                  </a:lnTo>
                  <a:lnTo>
                    <a:pt x="19319" y="0"/>
                  </a:lnTo>
                  <a:lnTo>
                    <a:pt x="24149" y="4476"/>
                  </a:lnTo>
                  <a:lnTo>
                    <a:pt x="24149" y="18502"/>
                  </a:lnTo>
                  <a:lnTo>
                    <a:pt x="19604" y="22978"/>
                  </a:lnTo>
                  <a:lnTo>
                    <a:pt x="5114" y="22978"/>
                  </a:lnTo>
                  <a:lnTo>
                    <a:pt x="0" y="18203"/>
                  </a:lnTo>
                  <a:lnTo>
                    <a:pt x="0" y="4476"/>
                  </a:lnTo>
                  <a:lnTo>
                    <a:pt x="4545" y="0"/>
                  </a:lnTo>
                  <a:lnTo>
                    <a:pt x="4261" y="8057"/>
                  </a:lnTo>
                  <a:lnTo>
                    <a:pt x="3409" y="12235"/>
                  </a:lnTo>
                  <a:lnTo>
                    <a:pt x="6250" y="14622"/>
                  </a:lnTo>
                  <a:lnTo>
                    <a:pt x="7955" y="16114"/>
                  </a:lnTo>
                  <a:lnTo>
                    <a:pt x="10228" y="16711"/>
                  </a:lnTo>
                  <a:lnTo>
                    <a:pt x="12501" y="17905"/>
                  </a:lnTo>
                  <a:lnTo>
                    <a:pt x="12501" y="17606"/>
                  </a:lnTo>
                  <a:lnTo>
                    <a:pt x="12785" y="17308"/>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4" name="Google Shape;1904;p13"/>
            <p:cNvSpPr/>
            <p:nvPr/>
          </p:nvSpPr>
          <p:spPr>
            <a:xfrm>
              <a:off x="415828" y="7083041"/>
              <a:ext cx="15058" cy="8057"/>
            </a:xfrm>
            <a:custGeom>
              <a:avLst/>
              <a:gdLst/>
              <a:ahLst/>
              <a:cxnLst/>
              <a:rect l="l" t="t" r="r" b="b"/>
              <a:pathLst>
                <a:path w="15058" h="8057" extrusionOk="0">
                  <a:moveTo>
                    <a:pt x="10228" y="5073"/>
                  </a:moveTo>
                  <a:lnTo>
                    <a:pt x="6818" y="5073"/>
                  </a:lnTo>
                  <a:lnTo>
                    <a:pt x="3409" y="6565"/>
                  </a:lnTo>
                  <a:lnTo>
                    <a:pt x="0" y="8057"/>
                  </a:lnTo>
                  <a:lnTo>
                    <a:pt x="284" y="0"/>
                  </a:lnTo>
                  <a:lnTo>
                    <a:pt x="15058" y="0"/>
                  </a:lnTo>
                  <a:lnTo>
                    <a:pt x="12785" y="7758"/>
                  </a:lnTo>
                  <a:lnTo>
                    <a:pt x="10228" y="507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5" name="Google Shape;1905;p13"/>
            <p:cNvSpPr/>
            <p:nvPr/>
          </p:nvSpPr>
          <p:spPr>
            <a:xfrm>
              <a:off x="459856" y="6971786"/>
              <a:ext cx="24150" cy="22978"/>
            </a:xfrm>
            <a:custGeom>
              <a:avLst/>
              <a:gdLst/>
              <a:ahLst/>
              <a:cxnLst/>
              <a:rect l="l" t="t" r="r" b="b"/>
              <a:pathLst>
                <a:path w="24150" h="22978" extrusionOk="0">
                  <a:moveTo>
                    <a:pt x="9892" y="5324"/>
                  </a:moveTo>
                  <a:lnTo>
                    <a:pt x="6983" y="5324"/>
                  </a:lnTo>
                  <a:lnTo>
                    <a:pt x="4655" y="7566"/>
                  </a:lnTo>
                  <a:lnTo>
                    <a:pt x="4655" y="10088"/>
                  </a:lnTo>
                  <a:lnTo>
                    <a:pt x="4946" y="13451"/>
                  </a:lnTo>
                  <a:lnTo>
                    <a:pt x="10183" y="17934"/>
                  </a:lnTo>
                  <a:lnTo>
                    <a:pt x="16585" y="17934"/>
                  </a:lnTo>
                  <a:lnTo>
                    <a:pt x="18912" y="15692"/>
                  </a:lnTo>
                  <a:lnTo>
                    <a:pt x="18912" y="9247"/>
                  </a:lnTo>
                  <a:lnTo>
                    <a:pt x="17167" y="0"/>
                  </a:lnTo>
                  <a:lnTo>
                    <a:pt x="24150" y="6445"/>
                  </a:lnTo>
                  <a:lnTo>
                    <a:pt x="24150" y="18214"/>
                  </a:lnTo>
                  <a:lnTo>
                    <a:pt x="19203" y="22978"/>
                  </a:lnTo>
                  <a:lnTo>
                    <a:pt x="6692" y="22978"/>
                  </a:lnTo>
                  <a:lnTo>
                    <a:pt x="0" y="16813"/>
                  </a:lnTo>
                  <a:lnTo>
                    <a:pt x="0" y="4763"/>
                  </a:lnTo>
                  <a:lnTo>
                    <a:pt x="4655" y="0"/>
                  </a:lnTo>
                  <a:lnTo>
                    <a:pt x="10474" y="0"/>
                  </a:lnTo>
                  <a:lnTo>
                    <a:pt x="9892" y="532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6" name="Google Shape;1906;p13"/>
            <p:cNvSpPr/>
            <p:nvPr/>
          </p:nvSpPr>
          <p:spPr>
            <a:xfrm>
              <a:off x="469749" y="6971786"/>
              <a:ext cx="9020" cy="9247"/>
            </a:xfrm>
            <a:custGeom>
              <a:avLst/>
              <a:gdLst/>
              <a:ahLst/>
              <a:cxnLst/>
              <a:rect l="l" t="t" r="r" b="b"/>
              <a:pathLst>
                <a:path w="9020" h="9247" extrusionOk="0">
                  <a:moveTo>
                    <a:pt x="4364" y="5324"/>
                  </a:moveTo>
                  <a:lnTo>
                    <a:pt x="0" y="5324"/>
                  </a:lnTo>
                  <a:lnTo>
                    <a:pt x="581" y="0"/>
                  </a:lnTo>
                  <a:lnTo>
                    <a:pt x="7274" y="0"/>
                  </a:lnTo>
                  <a:lnTo>
                    <a:pt x="9020" y="9247"/>
                  </a:lnTo>
                  <a:lnTo>
                    <a:pt x="4364" y="532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7" name="Google Shape;1907;p13"/>
            <p:cNvSpPr/>
            <p:nvPr/>
          </p:nvSpPr>
          <p:spPr>
            <a:xfrm>
              <a:off x="473135" y="6952433"/>
              <a:ext cx="28980" cy="27816"/>
            </a:xfrm>
            <a:custGeom>
              <a:avLst/>
              <a:gdLst/>
              <a:ahLst/>
              <a:cxnLst/>
              <a:rect l="l" t="t" r="r" b="b"/>
              <a:pathLst>
                <a:path w="28980" h="27816" extrusionOk="0">
                  <a:moveTo>
                    <a:pt x="9091" y="7305"/>
                  </a:moveTo>
                  <a:lnTo>
                    <a:pt x="7103" y="8991"/>
                  </a:lnTo>
                  <a:lnTo>
                    <a:pt x="7103" y="11800"/>
                  </a:lnTo>
                  <a:lnTo>
                    <a:pt x="9376" y="14048"/>
                  </a:lnTo>
                  <a:lnTo>
                    <a:pt x="11933" y="16577"/>
                  </a:lnTo>
                  <a:lnTo>
                    <a:pt x="14774" y="19106"/>
                  </a:lnTo>
                  <a:lnTo>
                    <a:pt x="17615" y="21634"/>
                  </a:lnTo>
                  <a:lnTo>
                    <a:pt x="19604" y="23320"/>
                  </a:lnTo>
                  <a:lnTo>
                    <a:pt x="18467" y="24725"/>
                  </a:lnTo>
                  <a:lnTo>
                    <a:pt x="17331" y="26130"/>
                  </a:lnTo>
                  <a:lnTo>
                    <a:pt x="15910" y="27816"/>
                  </a:lnTo>
                  <a:lnTo>
                    <a:pt x="14774" y="26411"/>
                  </a:lnTo>
                  <a:lnTo>
                    <a:pt x="13921" y="25568"/>
                  </a:lnTo>
                  <a:lnTo>
                    <a:pt x="9944" y="21915"/>
                  </a:lnTo>
                  <a:lnTo>
                    <a:pt x="5682" y="17982"/>
                  </a:lnTo>
                  <a:lnTo>
                    <a:pt x="1988" y="14329"/>
                  </a:lnTo>
                  <a:lnTo>
                    <a:pt x="1136" y="13486"/>
                  </a:lnTo>
                  <a:lnTo>
                    <a:pt x="0" y="11800"/>
                  </a:lnTo>
                  <a:lnTo>
                    <a:pt x="284" y="10957"/>
                  </a:lnTo>
                  <a:lnTo>
                    <a:pt x="852" y="9834"/>
                  </a:lnTo>
                  <a:lnTo>
                    <a:pt x="2557" y="8991"/>
                  </a:lnTo>
                  <a:lnTo>
                    <a:pt x="3693" y="8148"/>
                  </a:lnTo>
                  <a:lnTo>
                    <a:pt x="4546" y="5338"/>
                  </a:lnTo>
                  <a:lnTo>
                    <a:pt x="5682" y="2809"/>
                  </a:lnTo>
                  <a:lnTo>
                    <a:pt x="8807" y="1123"/>
                  </a:lnTo>
                  <a:lnTo>
                    <a:pt x="11364" y="0"/>
                  </a:lnTo>
                  <a:lnTo>
                    <a:pt x="13921" y="281"/>
                  </a:lnTo>
                  <a:lnTo>
                    <a:pt x="16195" y="1966"/>
                  </a:lnTo>
                  <a:lnTo>
                    <a:pt x="19888" y="5338"/>
                  </a:lnTo>
                  <a:lnTo>
                    <a:pt x="23582" y="8710"/>
                  </a:lnTo>
                  <a:lnTo>
                    <a:pt x="27275" y="12081"/>
                  </a:lnTo>
                  <a:lnTo>
                    <a:pt x="28980" y="13486"/>
                  </a:lnTo>
                  <a:lnTo>
                    <a:pt x="28128" y="14329"/>
                  </a:lnTo>
                  <a:lnTo>
                    <a:pt x="26991" y="15734"/>
                  </a:lnTo>
                  <a:lnTo>
                    <a:pt x="25855" y="16858"/>
                  </a:lnTo>
                  <a:lnTo>
                    <a:pt x="25002" y="17139"/>
                  </a:lnTo>
                  <a:lnTo>
                    <a:pt x="23582" y="15734"/>
                  </a:lnTo>
                  <a:lnTo>
                    <a:pt x="20741" y="13205"/>
                  </a:lnTo>
                  <a:lnTo>
                    <a:pt x="17899" y="10677"/>
                  </a:lnTo>
                  <a:lnTo>
                    <a:pt x="15058" y="8148"/>
                  </a:lnTo>
                  <a:lnTo>
                    <a:pt x="12501" y="5619"/>
                  </a:lnTo>
                  <a:lnTo>
                    <a:pt x="10796" y="5619"/>
                  </a:lnTo>
                  <a:lnTo>
                    <a:pt x="9091" y="730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8" name="Google Shape;1908;p13"/>
            <p:cNvSpPr/>
            <p:nvPr/>
          </p:nvSpPr>
          <p:spPr>
            <a:xfrm>
              <a:off x="407942" y="7119326"/>
              <a:ext cx="25357" cy="19350"/>
            </a:xfrm>
            <a:custGeom>
              <a:avLst/>
              <a:gdLst/>
              <a:ahLst/>
              <a:cxnLst/>
              <a:rect l="l" t="t" r="r" b="b"/>
              <a:pathLst>
                <a:path w="25357" h="19350" extrusionOk="0">
                  <a:moveTo>
                    <a:pt x="24794" y="5122"/>
                  </a:moveTo>
                  <a:lnTo>
                    <a:pt x="23667" y="5691"/>
                  </a:lnTo>
                  <a:lnTo>
                    <a:pt x="18595" y="5691"/>
                  </a:lnTo>
                  <a:lnTo>
                    <a:pt x="14932" y="5406"/>
                  </a:lnTo>
                  <a:lnTo>
                    <a:pt x="11269" y="5691"/>
                  </a:lnTo>
                  <a:lnTo>
                    <a:pt x="7889" y="5691"/>
                  </a:lnTo>
                  <a:lnTo>
                    <a:pt x="6480" y="6829"/>
                  </a:lnTo>
                  <a:lnTo>
                    <a:pt x="6480" y="9390"/>
                  </a:lnTo>
                  <a:lnTo>
                    <a:pt x="6198" y="11951"/>
                  </a:lnTo>
                  <a:lnTo>
                    <a:pt x="8452" y="13943"/>
                  </a:lnTo>
                  <a:lnTo>
                    <a:pt x="11833" y="14228"/>
                  </a:lnTo>
                  <a:lnTo>
                    <a:pt x="24230" y="14228"/>
                  </a:lnTo>
                  <a:lnTo>
                    <a:pt x="25357" y="14512"/>
                  </a:lnTo>
                  <a:lnTo>
                    <a:pt x="25357" y="18781"/>
                  </a:lnTo>
                  <a:lnTo>
                    <a:pt x="24230" y="19350"/>
                  </a:lnTo>
                  <a:lnTo>
                    <a:pt x="22540" y="19350"/>
                  </a:lnTo>
                  <a:lnTo>
                    <a:pt x="19440" y="19065"/>
                  </a:lnTo>
                  <a:lnTo>
                    <a:pt x="16623" y="19350"/>
                  </a:lnTo>
                  <a:lnTo>
                    <a:pt x="5635" y="19350"/>
                  </a:lnTo>
                  <a:lnTo>
                    <a:pt x="2817" y="19065"/>
                  </a:lnTo>
                  <a:lnTo>
                    <a:pt x="1690" y="17643"/>
                  </a:lnTo>
                  <a:lnTo>
                    <a:pt x="2817" y="14797"/>
                  </a:lnTo>
                  <a:lnTo>
                    <a:pt x="3099" y="13943"/>
                  </a:lnTo>
                  <a:lnTo>
                    <a:pt x="3099" y="12805"/>
                  </a:lnTo>
                  <a:lnTo>
                    <a:pt x="2817" y="11951"/>
                  </a:lnTo>
                  <a:lnTo>
                    <a:pt x="0" y="7114"/>
                  </a:lnTo>
                  <a:lnTo>
                    <a:pt x="2253" y="0"/>
                  </a:lnTo>
                  <a:lnTo>
                    <a:pt x="9861" y="569"/>
                  </a:lnTo>
                  <a:lnTo>
                    <a:pt x="13805" y="853"/>
                  </a:lnTo>
                  <a:lnTo>
                    <a:pt x="18032" y="569"/>
                  </a:lnTo>
                  <a:lnTo>
                    <a:pt x="23948" y="569"/>
                  </a:lnTo>
                  <a:lnTo>
                    <a:pt x="24794" y="1138"/>
                  </a:lnTo>
                  <a:lnTo>
                    <a:pt x="24794" y="512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9" name="Google Shape;1909;p13"/>
            <p:cNvSpPr/>
            <p:nvPr/>
          </p:nvSpPr>
          <p:spPr>
            <a:xfrm>
              <a:off x="400708" y="7104812"/>
              <a:ext cx="33809" cy="13303"/>
            </a:xfrm>
            <a:custGeom>
              <a:avLst/>
              <a:gdLst/>
              <a:ahLst/>
              <a:cxnLst/>
              <a:rect l="l" t="t" r="r" b="b"/>
              <a:pathLst>
                <a:path w="33809" h="13303" extrusionOk="0">
                  <a:moveTo>
                    <a:pt x="6467" y="9623"/>
                  </a:moveTo>
                  <a:lnTo>
                    <a:pt x="2057" y="9057"/>
                  </a:lnTo>
                  <a:lnTo>
                    <a:pt x="0" y="6227"/>
                  </a:lnTo>
                  <a:lnTo>
                    <a:pt x="1175" y="1981"/>
                  </a:lnTo>
                  <a:lnTo>
                    <a:pt x="1469" y="1132"/>
                  </a:lnTo>
                  <a:lnTo>
                    <a:pt x="2645" y="0"/>
                  </a:lnTo>
                  <a:lnTo>
                    <a:pt x="4115" y="0"/>
                  </a:lnTo>
                  <a:lnTo>
                    <a:pt x="4997" y="1132"/>
                  </a:lnTo>
                  <a:lnTo>
                    <a:pt x="5879" y="1981"/>
                  </a:lnTo>
                  <a:lnTo>
                    <a:pt x="5879" y="3113"/>
                  </a:lnTo>
                  <a:lnTo>
                    <a:pt x="6761" y="3679"/>
                  </a:lnTo>
                  <a:lnTo>
                    <a:pt x="7349" y="4245"/>
                  </a:lnTo>
                  <a:lnTo>
                    <a:pt x="8231" y="4528"/>
                  </a:lnTo>
                  <a:lnTo>
                    <a:pt x="8525" y="4528"/>
                  </a:lnTo>
                  <a:lnTo>
                    <a:pt x="9113" y="3396"/>
                  </a:lnTo>
                  <a:lnTo>
                    <a:pt x="9701" y="3113"/>
                  </a:lnTo>
                  <a:lnTo>
                    <a:pt x="10583" y="2264"/>
                  </a:lnTo>
                  <a:lnTo>
                    <a:pt x="11171" y="1132"/>
                  </a:lnTo>
                  <a:lnTo>
                    <a:pt x="12935" y="1132"/>
                  </a:lnTo>
                  <a:lnTo>
                    <a:pt x="14111" y="2264"/>
                  </a:lnTo>
                  <a:lnTo>
                    <a:pt x="14111" y="3113"/>
                  </a:lnTo>
                  <a:lnTo>
                    <a:pt x="14405" y="4811"/>
                  </a:lnTo>
                  <a:lnTo>
                    <a:pt x="15581" y="5094"/>
                  </a:lnTo>
                  <a:lnTo>
                    <a:pt x="17051" y="5094"/>
                  </a:lnTo>
                  <a:lnTo>
                    <a:pt x="21755" y="5377"/>
                  </a:lnTo>
                  <a:lnTo>
                    <a:pt x="26165" y="5661"/>
                  </a:lnTo>
                  <a:lnTo>
                    <a:pt x="30575" y="5661"/>
                  </a:lnTo>
                  <a:lnTo>
                    <a:pt x="32339" y="5944"/>
                  </a:lnTo>
                  <a:lnTo>
                    <a:pt x="33809" y="6227"/>
                  </a:lnTo>
                  <a:lnTo>
                    <a:pt x="33221" y="8208"/>
                  </a:lnTo>
                  <a:lnTo>
                    <a:pt x="33221" y="9906"/>
                  </a:lnTo>
                  <a:lnTo>
                    <a:pt x="32633" y="11605"/>
                  </a:lnTo>
                  <a:lnTo>
                    <a:pt x="29987" y="11038"/>
                  </a:lnTo>
                  <a:lnTo>
                    <a:pt x="26165" y="10755"/>
                  </a:lnTo>
                  <a:lnTo>
                    <a:pt x="22049" y="10472"/>
                  </a:lnTo>
                  <a:lnTo>
                    <a:pt x="17933" y="10189"/>
                  </a:lnTo>
                  <a:lnTo>
                    <a:pt x="16169" y="10189"/>
                  </a:lnTo>
                  <a:lnTo>
                    <a:pt x="14111" y="9623"/>
                  </a:lnTo>
                  <a:lnTo>
                    <a:pt x="13523" y="12454"/>
                  </a:lnTo>
                  <a:lnTo>
                    <a:pt x="13229" y="12737"/>
                  </a:lnTo>
                  <a:lnTo>
                    <a:pt x="12053" y="13303"/>
                  </a:lnTo>
                  <a:lnTo>
                    <a:pt x="10583" y="13303"/>
                  </a:lnTo>
                  <a:lnTo>
                    <a:pt x="9407" y="12454"/>
                  </a:lnTo>
                  <a:lnTo>
                    <a:pt x="9407" y="11888"/>
                  </a:lnTo>
                  <a:lnTo>
                    <a:pt x="9113" y="10189"/>
                  </a:lnTo>
                  <a:lnTo>
                    <a:pt x="7937" y="9906"/>
                  </a:lnTo>
                  <a:lnTo>
                    <a:pt x="6467" y="962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10" name="Google Shape;1910;p13"/>
            <p:cNvSpPr/>
            <p:nvPr/>
          </p:nvSpPr>
          <p:spPr>
            <a:xfrm>
              <a:off x="438146" y="6994769"/>
              <a:ext cx="31394" cy="18141"/>
            </a:xfrm>
            <a:custGeom>
              <a:avLst/>
              <a:gdLst/>
              <a:ahLst/>
              <a:cxnLst/>
              <a:rect l="l" t="t" r="r" b="b"/>
              <a:pathLst>
                <a:path w="31394" h="18141" extrusionOk="0">
                  <a:moveTo>
                    <a:pt x="0" y="5102"/>
                  </a:moveTo>
                  <a:lnTo>
                    <a:pt x="1184" y="2834"/>
                  </a:lnTo>
                  <a:lnTo>
                    <a:pt x="2369" y="283"/>
                  </a:lnTo>
                  <a:lnTo>
                    <a:pt x="2961" y="0"/>
                  </a:lnTo>
                  <a:lnTo>
                    <a:pt x="5627" y="1700"/>
                  </a:lnTo>
                  <a:lnTo>
                    <a:pt x="7404" y="2551"/>
                  </a:lnTo>
                  <a:lnTo>
                    <a:pt x="8885" y="3684"/>
                  </a:lnTo>
                  <a:lnTo>
                    <a:pt x="10365" y="1417"/>
                  </a:lnTo>
                  <a:lnTo>
                    <a:pt x="10662" y="850"/>
                  </a:lnTo>
                  <a:lnTo>
                    <a:pt x="12143" y="566"/>
                  </a:lnTo>
                  <a:lnTo>
                    <a:pt x="12735" y="1133"/>
                  </a:lnTo>
                  <a:lnTo>
                    <a:pt x="13327" y="1417"/>
                  </a:lnTo>
                  <a:lnTo>
                    <a:pt x="14216" y="2834"/>
                  </a:lnTo>
                  <a:lnTo>
                    <a:pt x="13920" y="3401"/>
                  </a:lnTo>
                  <a:lnTo>
                    <a:pt x="12735" y="5669"/>
                  </a:lnTo>
                  <a:lnTo>
                    <a:pt x="13920" y="6519"/>
                  </a:lnTo>
                  <a:lnTo>
                    <a:pt x="15697" y="7369"/>
                  </a:lnTo>
                  <a:lnTo>
                    <a:pt x="18066" y="8787"/>
                  </a:lnTo>
                  <a:lnTo>
                    <a:pt x="20435" y="10204"/>
                  </a:lnTo>
                  <a:lnTo>
                    <a:pt x="22805" y="11621"/>
                  </a:lnTo>
                  <a:lnTo>
                    <a:pt x="24286" y="12472"/>
                  </a:lnTo>
                  <a:lnTo>
                    <a:pt x="25766" y="12755"/>
                  </a:lnTo>
                  <a:lnTo>
                    <a:pt x="26951" y="11054"/>
                  </a:lnTo>
                  <a:lnTo>
                    <a:pt x="27247" y="10487"/>
                  </a:lnTo>
                  <a:lnTo>
                    <a:pt x="28728" y="10204"/>
                  </a:lnTo>
                  <a:lnTo>
                    <a:pt x="29321" y="10487"/>
                  </a:lnTo>
                  <a:lnTo>
                    <a:pt x="29913" y="11054"/>
                  </a:lnTo>
                  <a:lnTo>
                    <a:pt x="31098" y="11905"/>
                  </a:lnTo>
                  <a:lnTo>
                    <a:pt x="31098" y="12472"/>
                  </a:lnTo>
                  <a:lnTo>
                    <a:pt x="31394" y="15023"/>
                  </a:lnTo>
                  <a:lnTo>
                    <a:pt x="27543" y="18141"/>
                  </a:lnTo>
                  <a:lnTo>
                    <a:pt x="23989" y="18141"/>
                  </a:lnTo>
                  <a:lnTo>
                    <a:pt x="23101" y="17574"/>
                  </a:lnTo>
                  <a:lnTo>
                    <a:pt x="21324" y="17007"/>
                  </a:lnTo>
                  <a:lnTo>
                    <a:pt x="19843" y="16157"/>
                  </a:lnTo>
                  <a:lnTo>
                    <a:pt x="17177" y="14739"/>
                  </a:lnTo>
                  <a:lnTo>
                    <a:pt x="14808" y="13039"/>
                  </a:lnTo>
                  <a:lnTo>
                    <a:pt x="12143" y="11621"/>
                  </a:lnTo>
                  <a:lnTo>
                    <a:pt x="10958" y="10771"/>
                  </a:lnTo>
                  <a:lnTo>
                    <a:pt x="9773" y="10204"/>
                  </a:lnTo>
                  <a:lnTo>
                    <a:pt x="8885" y="11905"/>
                  </a:lnTo>
                  <a:lnTo>
                    <a:pt x="8589" y="12472"/>
                  </a:lnTo>
                  <a:lnTo>
                    <a:pt x="7108" y="12472"/>
                  </a:lnTo>
                  <a:lnTo>
                    <a:pt x="6515" y="12188"/>
                  </a:lnTo>
                  <a:lnTo>
                    <a:pt x="5627" y="11905"/>
                  </a:lnTo>
                  <a:lnTo>
                    <a:pt x="4738" y="10487"/>
                  </a:lnTo>
                  <a:lnTo>
                    <a:pt x="5034" y="10204"/>
                  </a:lnTo>
                  <a:lnTo>
                    <a:pt x="6219" y="7653"/>
                  </a:lnTo>
                  <a:lnTo>
                    <a:pt x="4146" y="7086"/>
                  </a:lnTo>
                  <a:lnTo>
                    <a:pt x="2961" y="6236"/>
                  </a:lnTo>
                  <a:lnTo>
                    <a:pt x="1777" y="5385"/>
                  </a:lnTo>
                  <a:lnTo>
                    <a:pt x="0" y="510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11" name="Google Shape;1911;p13"/>
            <p:cNvSpPr/>
            <p:nvPr/>
          </p:nvSpPr>
          <p:spPr>
            <a:xfrm>
              <a:off x="401918" y="7141097"/>
              <a:ext cx="32601" cy="8465"/>
            </a:xfrm>
            <a:custGeom>
              <a:avLst/>
              <a:gdLst/>
              <a:ahLst/>
              <a:cxnLst/>
              <a:rect l="l" t="t" r="r" b="b"/>
              <a:pathLst>
                <a:path w="32601" h="8465" extrusionOk="0">
                  <a:moveTo>
                    <a:pt x="0" y="5139"/>
                  </a:moveTo>
                  <a:lnTo>
                    <a:pt x="0" y="3325"/>
                  </a:lnTo>
                  <a:lnTo>
                    <a:pt x="873" y="2116"/>
                  </a:lnTo>
                  <a:lnTo>
                    <a:pt x="2910" y="2116"/>
                  </a:lnTo>
                  <a:lnTo>
                    <a:pt x="15581" y="1229"/>
                  </a:lnTo>
                  <a:lnTo>
                    <a:pt x="28242" y="342"/>
                  </a:lnTo>
                  <a:lnTo>
                    <a:pt x="28817" y="302"/>
                  </a:lnTo>
                  <a:lnTo>
                    <a:pt x="30855" y="0"/>
                  </a:lnTo>
                  <a:lnTo>
                    <a:pt x="32019" y="907"/>
                  </a:lnTo>
                  <a:lnTo>
                    <a:pt x="32310" y="3023"/>
                  </a:lnTo>
                  <a:lnTo>
                    <a:pt x="32601" y="5442"/>
                  </a:lnTo>
                  <a:lnTo>
                    <a:pt x="31728" y="6047"/>
                  </a:lnTo>
                  <a:lnTo>
                    <a:pt x="29690" y="6047"/>
                  </a:lnTo>
                  <a:lnTo>
                    <a:pt x="17026" y="7043"/>
                  </a:lnTo>
                  <a:lnTo>
                    <a:pt x="4383" y="8062"/>
                  </a:lnTo>
                  <a:lnTo>
                    <a:pt x="2910" y="8163"/>
                  </a:lnTo>
                  <a:lnTo>
                    <a:pt x="582" y="8465"/>
                  </a:lnTo>
                  <a:lnTo>
                    <a:pt x="0" y="7256"/>
                  </a:lnTo>
                  <a:lnTo>
                    <a:pt x="0" y="5139"/>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12" name="Google Shape;1912;p13"/>
            <p:cNvSpPr/>
            <p:nvPr/>
          </p:nvSpPr>
          <p:spPr>
            <a:xfrm>
              <a:off x="415180" y="7064898"/>
              <a:ext cx="24150" cy="18140"/>
            </a:xfrm>
            <a:custGeom>
              <a:avLst/>
              <a:gdLst/>
              <a:ahLst/>
              <a:cxnLst/>
              <a:rect l="l" t="t" r="r" b="b"/>
              <a:pathLst>
                <a:path w="24150" h="18140" extrusionOk="0">
                  <a:moveTo>
                    <a:pt x="11486" y="9655"/>
                  </a:moveTo>
                  <a:lnTo>
                    <a:pt x="14725" y="10825"/>
                  </a:lnTo>
                  <a:lnTo>
                    <a:pt x="18259" y="11411"/>
                  </a:lnTo>
                  <a:lnTo>
                    <a:pt x="21499" y="12288"/>
                  </a:lnTo>
                  <a:lnTo>
                    <a:pt x="23266" y="12581"/>
                  </a:lnTo>
                  <a:lnTo>
                    <a:pt x="24150" y="13166"/>
                  </a:lnTo>
                  <a:lnTo>
                    <a:pt x="23855" y="15214"/>
                  </a:lnTo>
                  <a:lnTo>
                    <a:pt x="23266" y="17262"/>
                  </a:lnTo>
                  <a:lnTo>
                    <a:pt x="22677" y="18140"/>
                  </a:lnTo>
                  <a:lnTo>
                    <a:pt x="20321" y="17555"/>
                  </a:lnTo>
                  <a:lnTo>
                    <a:pt x="14725" y="16092"/>
                  </a:lnTo>
                  <a:lnTo>
                    <a:pt x="8835" y="14922"/>
                  </a:lnTo>
                  <a:lnTo>
                    <a:pt x="3239" y="13459"/>
                  </a:lnTo>
                  <a:lnTo>
                    <a:pt x="1767" y="13166"/>
                  </a:lnTo>
                  <a:lnTo>
                    <a:pt x="0" y="13459"/>
                  </a:lnTo>
                  <a:lnTo>
                    <a:pt x="294" y="11118"/>
                  </a:lnTo>
                  <a:lnTo>
                    <a:pt x="589" y="9655"/>
                  </a:lnTo>
                  <a:lnTo>
                    <a:pt x="589" y="7607"/>
                  </a:lnTo>
                  <a:lnTo>
                    <a:pt x="2945" y="8192"/>
                  </a:lnTo>
                  <a:lnTo>
                    <a:pt x="2356" y="6144"/>
                  </a:lnTo>
                  <a:lnTo>
                    <a:pt x="1767" y="4388"/>
                  </a:lnTo>
                  <a:lnTo>
                    <a:pt x="1767" y="877"/>
                  </a:lnTo>
                  <a:lnTo>
                    <a:pt x="2650" y="0"/>
                  </a:lnTo>
                  <a:lnTo>
                    <a:pt x="4712" y="292"/>
                  </a:lnTo>
                  <a:lnTo>
                    <a:pt x="6479" y="877"/>
                  </a:lnTo>
                  <a:lnTo>
                    <a:pt x="7951" y="877"/>
                  </a:lnTo>
                  <a:lnTo>
                    <a:pt x="7362" y="3511"/>
                  </a:lnTo>
                  <a:lnTo>
                    <a:pt x="6479" y="6144"/>
                  </a:lnTo>
                  <a:lnTo>
                    <a:pt x="8246" y="8777"/>
                  </a:lnTo>
                  <a:lnTo>
                    <a:pt x="11486" y="965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13" name="Google Shape;1913;p13"/>
            <p:cNvSpPr/>
            <p:nvPr/>
          </p:nvSpPr>
          <p:spPr>
            <a:xfrm>
              <a:off x="451419" y="6988720"/>
              <a:ext cx="21734" cy="16931"/>
            </a:xfrm>
            <a:custGeom>
              <a:avLst/>
              <a:gdLst/>
              <a:ahLst/>
              <a:cxnLst/>
              <a:rect l="l" t="t" r="r" b="b"/>
              <a:pathLst>
                <a:path w="21734" h="16931" extrusionOk="0">
                  <a:moveTo>
                    <a:pt x="6375" y="8896"/>
                  </a:moveTo>
                  <a:lnTo>
                    <a:pt x="1159" y="5165"/>
                  </a:lnTo>
                  <a:lnTo>
                    <a:pt x="579" y="4878"/>
                  </a:lnTo>
                  <a:lnTo>
                    <a:pt x="0" y="3443"/>
                  </a:lnTo>
                  <a:lnTo>
                    <a:pt x="289" y="2869"/>
                  </a:lnTo>
                  <a:lnTo>
                    <a:pt x="579" y="1721"/>
                  </a:lnTo>
                  <a:lnTo>
                    <a:pt x="1448" y="860"/>
                  </a:lnTo>
                  <a:lnTo>
                    <a:pt x="2318" y="0"/>
                  </a:lnTo>
                  <a:lnTo>
                    <a:pt x="3187" y="287"/>
                  </a:lnTo>
                  <a:lnTo>
                    <a:pt x="3767" y="573"/>
                  </a:lnTo>
                  <a:lnTo>
                    <a:pt x="4346" y="1147"/>
                  </a:lnTo>
                  <a:lnTo>
                    <a:pt x="9563" y="4304"/>
                  </a:lnTo>
                  <a:lnTo>
                    <a:pt x="14489" y="7748"/>
                  </a:lnTo>
                  <a:lnTo>
                    <a:pt x="19706" y="10905"/>
                  </a:lnTo>
                  <a:lnTo>
                    <a:pt x="21444" y="12053"/>
                  </a:lnTo>
                  <a:lnTo>
                    <a:pt x="21734" y="12914"/>
                  </a:lnTo>
                  <a:lnTo>
                    <a:pt x="20575" y="14349"/>
                  </a:lnTo>
                  <a:lnTo>
                    <a:pt x="19416" y="16070"/>
                  </a:lnTo>
                  <a:lnTo>
                    <a:pt x="18546" y="16931"/>
                  </a:lnTo>
                  <a:lnTo>
                    <a:pt x="16518" y="15496"/>
                  </a:lnTo>
                  <a:lnTo>
                    <a:pt x="11591" y="12053"/>
                  </a:lnTo>
                  <a:lnTo>
                    <a:pt x="6375" y="889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14" name="Google Shape;1914;p13"/>
            <p:cNvSpPr/>
            <p:nvPr/>
          </p:nvSpPr>
          <p:spPr>
            <a:xfrm>
              <a:off x="444180" y="6982672"/>
              <a:ext cx="6037" cy="7256"/>
            </a:xfrm>
            <a:custGeom>
              <a:avLst/>
              <a:gdLst/>
              <a:ahLst/>
              <a:cxnLst/>
              <a:rect l="l" t="t" r="r" b="b"/>
              <a:pathLst>
                <a:path w="6037" h="7256" extrusionOk="0">
                  <a:moveTo>
                    <a:pt x="274" y="4535"/>
                  </a:moveTo>
                  <a:lnTo>
                    <a:pt x="0" y="3325"/>
                  </a:lnTo>
                  <a:lnTo>
                    <a:pt x="1646" y="1814"/>
                  </a:lnTo>
                  <a:lnTo>
                    <a:pt x="2469" y="0"/>
                  </a:lnTo>
                  <a:lnTo>
                    <a:pt x="4116" y="1511"/>
                  </a:lnTo>
                  <a:lnTo>
                    <a:pt x="5762" y="2721"/>
                  </a:lnTo>
                  <a:lnTo>
                    <a:pt x="6037" y="3930"/>
                  </a:lnTo>
                  <a:lnTo>
                    <a:pt x="6037" y="5140"/>
                  </a:lnTo>
                  <a:lnTo>
                    <a:pt x="4390" y="7256"/>
                  </a:lnTo>
                  <a:lnTo>
                    <a:pt x="2469" y="7256"/>
                  </a:lnTo>
                  <a:lnTo>
                    <a:pt x="548" y="5744"/>
                  </a:lnTo>
                  <a:lnTo>
                    <a:pt x="274" y="453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15" name="Google Shape;1915;p13"/>
            <p:cNvSpPr/>
            <p:nvPr/>
          </p:nvSpPr>
          <p:spPr>
            <a:xfrm>
              <a:off x="596322" y="6877454"/>
              <a:ext cx="6037" cy="7256"/>
            </a:xfrm>
            <a:custGeom>
              <a:avLst/>
              <a:gdLst/>
              <a:ahLst/>
              <a:cxnLst/>
              <a:rect l="l" t="t" r="r" b="b"/>
              <a:pathLst>
                <a:path w="6037" h="7256" extrusionOk="0">
                  <a:moveTo>
                    <a:pt x="2299" y="302"/>
                  </a:moveTo>
                  <a:lnTo>
                    <a:pt x="3449" y="302"/>
                  </a:lnTo>
                  <a:lnTo>
                    <a:pt x="6037" y="0"/>
                  </a:lnTo>
                  <a:lnTo>
                    <a:pt x="5749" y="2721"/>
                  </a:lnTo>
                  <a:lnTo>
                    <a:pt x="5749" y="3930"/>
                  </a:lnTo>
                  <a:lnTo>
                    <a:pt x="5462" y="5140"/>
                  </a:lnTo>
                  <a:lnTo>
                    <a:pt x="3737" y="5744"/>
                  </a:lnTo>
                  <a:lnTo>
                    <a:pt x="2012" y="7256"/>
                  </a:lnTo>
                  <a:lnTo>
                    <a:pt x="1150" y="5140"/>
                  </a:lnTo>
                  <a:lnTo>
                    <a:pt x="287" y="3930"/>
                  </a:lnTo>
                  <a:lnTo>
                    <a:pt x="0" y="2418"/>
                  </a:lnTo>
                  <a:lnTo>
                    <a:pt x="0" y="0"/>
                  </a:lnTo>
                  <a:lnTo>
                    <a:pt x="2299" y="30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16" name="Google Shape;1916;p13"/>
            <p:cNvSpPr/>
            <p:nvPr/>
          </p:nvSpPr>
          <p:spPr>
            <a:xfrm>
              <a:off x="735699" y="7073431"/>
              <a:ext cx="56235" cy="73846"/>
            </a:xfrm>
            <a:custGeom>
              <a:avLst/>
              <a:gdLst/>
              <a:ahLst/>
              <a:cxnLst/>
              <a:rect l="l" t="t" r="r" b="b"/>
              <a:pathLst>
                <a:path w="56235" h="73846" extrusionOk="0">
                  <a:moveTo>
                    <a:pt x="54691" y="22414"/>
                  </a:moveTo>
                  <a:lnTo>
                    <a:pt x="54787" y="22914"/>
                  </a:lnTo>
                  <a:lnTo>
                    <a:pt x="55655" y="27541"/>
                  </a:lnTo>
                  <a:lnTo>
                    <a:pt x="55945" y="32458"/>
                  </a:lnTo>
                  <a:lnTo>
                    <a:pt x="56235" y="36796"/>
                  </a:lnTo>
                  <a:lnTo>
                    <a:pt x="55945" y="42001"/>
                  </a:lnTo>
                  <a:lnTo>
                    <a:pt x="55366" y="46628"/>
                  </a:lnTo>
                  <a:lnTo>
                    <a:pt x="55076" y="51256"/>
                  </a:lnTo>
                  <a:lnTo>
                    <a:pt x="50247" y="63609"/>
                  </a:lnTo>
                  <a:lnTo>
                    <a:pt x="39664" y="71452"/>
                  </a:lnTo>
                  <a:lnTo>
                    <a:pt x="38862" y="71789"/>
                  </a:lnTo>
                  <a:lnTo>
                    <a:pt x="26844" y="73846"/>
                  </a:lnTo>
                  <a:lnTo>
                    <a:pt x="14768" y="70966"/>
                  </a:lnTo>
                  <a:lnTo>
                    <a:pt x="6722" y="65427"/>
                  </a:lnTo>
                  <a:lnTo>
                    <a:pt x="2958" y="61667"/>
                  </a:lnTo>
                  <a:lnTo>
                    <a:pt x="931" y="56751"/>
                  </a:lnTo>
                  <a:lnTo>
                    <a:pt x="642" y="51545"/>
                  </a:lnTo>
                  <a:lnTo>
                    <a:pt x="0" y="38897"/>
                  </a:lnTo>
                  <a:lnTo>
                    <a:pt x="515" y="26233"/>
                  </a:lnTo>
                  <a:lnTo>
                    <a:pt x="642" y="25228"/>
                  </a:lnTo>
                  <a:lnTo>
                    <a:pt x="5387" y="11187"/>
                  </a:lnTo>
                  <a:lnTo>
                    <a:pt x="14309" y="2971"/>
                  </a:lnTo>
                  <a:lnTo>
                    <a:pt x="25792" y="0"/>
                  </a:lnTo>
                  <a:lnTo>
                    <a:pt x="38222" y="1693"/>
                  </a:lnTo>
                  <a:lnTo>
                    <a:pt x="39441" y="2091"/>
                  </a:lnTo>
                  <a:lnTo>
                    <a:pt x="49913" y="10028"/>
                  </a:lnTo>
                  <a:lnTo>
                    <a:pt x="54691" y="22414"/>
                  </a:lnTo>
                  <a:close/>
                </a:path>
              </a:pathLst>
            </a:custGeom>
            <a:solidFill>
              <a:srgbClr val="CECFC8"/>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17" name="Google Shape;1917;p13"/>
            <p:cNvSpPr/>
            <p:nvPr/>
          </p:nvSpPr>
          <p:spPr>
            <a:xfrm>
              <a:off x="701361" y="7051578"/>
              <a:ext cx="125007" cy="120254"/>
            </a:xfrm>
            <a:custGeom>
              <a:avLst/>
              <a:gdLst/>
              <a:ahLst/>
              <a:cxnLst/>
              <a:rect l="l" t="t" r="r" b="b"/>
              <a:pathLst>
                <a:path w="125007" h="120254" extrusionOk="0">
                  <a:moveTo>
                    <a:pt x="4610" y="83141"/>
                  </a:moveTo>
                  <a:lnTo>
                    <a:pt x="1440" y="75045"/>
                  </a:lnTo>
                  <a:lnTo>
                    <a:pt x="0" y="66660"/>
                  </a:lnTo>
                  <a:lnTo>
                    <a:pt x="288" y="59431"/>
                  </a:lnTo>
                  <a:lnTo>
                    <a:pt x="1277" y="45907"/>
                  </a:lnTo>
                  <a:lnTo>
                    <a:pt x="4783" y="33805"/>
                  </a:lnTo>
                  <a:lnTo>
                    <a:pt x="10806" y="22861"/>
                  </a:lnTo>
                  <a:lnTo>
                    <a:pt x="21608" y="11275"/>
                  </a:lnTo>
                  <a:lnTo>
                    <a:pt x="32290" y="4363"/>
                  </a:lnTo>
                  <a:lnTo>
                    <a:pt x="44437" y="0"/>
                  </a:lnTo>
                  <a:lnTo>
                    <a:pt x="50028" y="24545"/>
                  </a:lnTo>
                  <a:lnTo>
                    <a:pt x="40822" y="32275"/>
                  </a:lnTo>
                  <a:lnTo>
                    <a:pt x="35650" y="45806"/>
                  </a:lnTo>
                  <a:lnTo>
                    <a:pt x="35443" y="47287"/>
                  </a:lnTo>
                  <a:lnTo>
                    <a:pt x="34787" y="59936"/>
                  </a:lnTo>
                  <a:lnTo>
                    <a:pt x="35377" y="72600"/>
                  </a:lnTo>
                  <a:lnTo>
                    <a:pt x="35443" y="73599"/>
                  </a:lnTo>
                  <a:lnTo>
                    <a:pt x="35731" y="78804"/>
                  </a:lnTo>
                  <a:lnTo>
                    <a:pt x="37748" y="83719"/>
                  </a:lnTo>
                  <a:lnTo>
                    <a:pt x="41494" y="87478"/>
                  </a:lnTo>
                  <a:lnTo>
                    <a:pt x="51911" y="94011"/>
                  </a:lnTo>
                  <a:lnTo>
                    <a:pt x="64164" y="95884"/>
                  </a:lnTo>
                  <a:lnTo>
                    <a:pt x="73479" y="93839"/>
                  </a:lnTo>
                  <a:lnTo>
                    <a:pt x="84347" y="86236"/>
                  </a:lnTo>
                  <a:lnTo>
                    <a:pt x="89512" y="74130"/>
                  </a:lnTo>
                  <a:lnTo>
                    <a:pt x="89616" y="73310"/>
                  </a:lnTo>
                  <a:lnTo>
                    <a:pt x="89904" y="68684"/>
                  </a:lnTo>
                  <a:lnTo>
                    <a:pt x="90481" y="64057"/>
                  </a:lnTo>
                  <a:lnTo>
                    <a:pt x="90769" y="58853"/>
                  </a:lnTo>
                  <a:lnTo>
                    <a:pt x="90481" y="54516"/>
                  </a:lnTo>
                  <a:lnTo>
                    <a:pt x="90192" y="49600"/>
                  </a:lnTo>
                  <a:lnTo>
                    <a:pt x="89328" y="44974"/>
                  </a:lnTo>
                  <a:lnTo>
                    <a:pt x="84726" y="32466"/>
                  </a:lnTo>
                  <a:lnTo>
                    <a:pt x="74515" y="24315"/>
                  </a:lnTo>
                  <a:lnTo>
                    <a:pt x="85190" y="1099"/>
                  </a:lnTo>
                  <a:lnTo>
                    <a:pt x="92210" y="3915"/>
                  </a:lnTo>
                  <a:lnTo>
                    <a:pt x="103500" y="10795"/>
                  </a:lnTo>
                  <a:lnTo>
                    <a:pt x="112452" y="19880"/>
                  </a:lnTo>
                  <a:lnTo>
                    <a:pt x="119066" y="31029"/>
                  </a:lnTo>
                  <a:lnTo>
                    <a:pt x="120737" y="35143"/>
                  </a:lnTo>
                  <a:lnTo>
                    <a:pt x="123967" y="47531"/>
                  </a:lnTo>
                  <a:lnTo>
                    <a:pt x="125007" y="59925"/>
                  </a:lnTo>
                  <a:lnTo>
                    <a:pt x="123812" y="72230"/>
                  </a:lnTo>
                  <a:lnTo>
                    <a:pt x="120334" y="84355"/>
                  </a:lnTo>
                  <a:lnTo>
                    <a:pt x="112500" y="98378"/>
                  </a:lnTo>
                  <a:lnTo>
                    <a:pt x="103466" y="107438"/>
                  </a:lnTo>
                  <a:lnTo>
                    <a:pt x="92365" y="114080"/>
                  </a:lnTo>
                  <a:lnTo>
                    <a:pt x="83565" y="117260"/>
                  </a:lnTo>
                  <a:lnTo>
                    <a:pt x="71015" y="119731"/>
                  </a:lnTo>
                  <a:lnTo>
                    <a:pt x="58646" y="120254"/>
                  </a:lnTo>
                  <a:lnTo>
                    <a:pt x="46457" y="118601"/>
                  </a:lnTo>
                  <a:lnTo>
                    <a:pt x="34449" y="114545"/>
                  </a:lnTo>
                  <a:lnTo>
                    <a:pt x="29968" y="112345"/>
                  </a:lnTo>
                  <a:lnTo>
                    <a:pt x="19247" y="104903"/>
                  </a:lnTo>
                  <a:lnTo>
                    <a:pt x="10889" y="95276"/>
                  </a:lnTo>
                  <a:lnTo>
                    <a:pt x="4831" y="83708"/>
                  </a:lnTo>
                  <a:lnTo>
                    <a:pt x="4610" y="83141"/>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18" name="Google Shape;1918;p13"/>
            <p:cNvSpPr/>
            <p:nvPr/>
          </p:nvSpPr>
          <p:spPr>
            <a:xfrm>
              <a:off x="745798" y="7049369"/>
              <a:ext cx="40753" cy="26753"/>
            </a:xfrm>
            <a:custGeom>
              <a:avLst/>
              <a:gdLst/>
              <a:ahLst/>
              <a:cxnLst/>
              <a:rect l="l" t="t" r="r" b="b"/>
              <a:pathLst>
                <a:path w="40753" h="26753" extrusionOk="0">
                  <a:moveTo>
                    <a:pt x="0" y="2208"/>
                  </a:moveTo>
                  <a:lnTo>
                    <a:pt x="3396" y="1497"/>
                  </a:lnTo>
                  <a:lnTo>
                    <a:pt x="16083" y="0"/>
                  </a:lnTo>
                  <a:lnTo>
                    <a:pt x="28560" y="515"/>
                  </a:lnTo>
                  <a:lnTo>
                    <a:pt x="40753" y="3308"/>
                  </a:lnTo>
                  <a:lnTo>
                    <a:pt x="30078" y="26523"/>
                  </a:lnTo>
                  <a:lnTo>
                    <a:pt x="29619" y="26364"/>
                  </a:lnTo>
                  <a:lnTo>
                    <a:pt x="17208" y="24242"/>
                  </a:lnTo>
                  <a:lnTo>
                    <a:pt x="5591" y="26753"/>
                  </a:lnTo>
                  <a:lnTo>
                    <a:pt x="0" y="2208"/>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19" name="Google Shape;1919;p13"/>
            <p:cNvSpPr/>
            <p:nvPr/>
          </p:nvSpPr>
          <p:spPr>
            <a:xfrm>
              <a:off x="590856" y="7050977"/>
              <a:ext cx="106379" cy="119178"/>
            </a:xfrm>
            <a:custGeom>
              <a:avLst/>
              <a:gdLst/>
              <a:ahLst/>
              <a:cxnLst/>
              <a:rect l="l" t="t" r="r" b="b"/>
              <a:pathLst>
                <a:path w="106379" h="119178" extrusionOk="0">
                  <a:moveTo>
                    <a:pt x="80573" y="2221"/>
                  </a:moveTo>
                  <a:lnTo>
                    <a:pt x="102651" y="2221"/>
                  </a:lnTo>
                  <a:lnTo>
                    <a:pt x="103512" y="2793"/>
                  </a:lnTo>
                  <a:lnTo>
                    <a:pt x="103512" y="38265"/>
                  </a:lnTo>
                  <a:lnTo>
                    <a:pt x="102651" y="39124"/>
                  </a:lnTo>
                  <a:lnTo>
                    <a:pt x="100644" y="39124"/>
                  </a:lnTo>
                  <a:lnTo>
                    <a:pt x="94623" y="38838"/>
                  </a:lnTo>
                  <a:lnTo>
                    <a:pt x="88888" y="38838"/>
                  </a:lnTo>
                  <a:lnTo>
                    <a:pt x="83153" y="39124"/>
                  </a:lnTo>
                  <a:lnTo>
                    <a:pt x="81146" y="39124"/>
                  </a:lnTo>
                  <a:lnTo>
                    <a:pt x="79712" y="38265"/>
                  </a:lnTo>
                  <a:lnTo>
                    <a:pt x="78852" y="36549"/>
                  </a:lnTo>
                  <a:lnTo>
                    <a:pt x="75698" y="31400"/>
                  </a:lnTo>
                  <a:lnTo>
                    <a:pt x="72257" y="26537"/>
                  </a:lnTo>
                  <a:lnTo>
                    <a:pt x="67096" y="23390"/>
                  </a:lnTo>
                  <a:lnTo>
                    <a:pt x="60788" y="19099"/>
                  </a:lnTo>
                  <a:lnTo>
                    <a:pt x="53619" y="17668"/>
                  </a:lnTo>
                  <a:lnTo>
                    <a:pt x="46164" y="18527"/>
                  </a:lnTo>
                  <a:lnTo>
                    <a:pt x="43297" y="18813"/>
                  </a:lnTo>
                  <a:lnTo>
                    <a:pt x="40716" y="19099"/>
                  </a:lnTo>
                  <a:lnTo>
                    <a:pt x="38136" y="19671"/>
                  </a:lnTo>
                  <a:lnTo>
                    <a:pt x="34121" y="20815"/>
                  </a:lnTo>
                  <a:lnTo>
                    <a:pt x="30967" y="22818"/>
                  </a:lnTo>
                  <a:lnTo>
                    <a:pt x="30394" y="27109"/>
                  </a:lnTo>
                  <a:lnTo>
                    <a:pt x="29533" y="32544"/>
                  </a:lnTo>
                  <a:lnTo>
                    <a:pt x="31541" y="36835"/>
                  </a:lnTo>
                  <a:lnTo>
                    <a:pt x="35842" y="39410"/>
                  </a:lnTo>
                  <a:lnTo>
                    <a:pt x="41290" y="42270"/>
                  </a:lnTo>
                  <a:lnTo>
                    <a:pt x="47311" y="43415"/>
                  </a:lnTo>
                  <a:lnTo>
                    <a:pt x="53333" y="43987"/>
                  </a:lnTo>
                  <a:lnTo>
                    <a:pt x="66019" y="45516"/>
                  </a:lnTo>
                  <a:lnTo>
                    <a:pt x="78335" y="48567"/>
                  </a:lnTo>
                  <a:lnTo>
                    <a:pt x="84874" y="51139"/>
                  </a:lnTo>
                  <a:lnTo>
                    <a:pt x="96093" y="58274"/>
                  </a:lnTo>
                  <a:lnTo>
                    <a:pt x="103885" y="68412"/>
                  </a:lnTo>
                  <a:lnTo>
                    <a:pt x="106379" y="76599"/>
                  </a:lnTo>
                  <a:lnTo>
                    <a:pt x="106275" y="89243"/>
                  </a:lnTo>
                  <a:lnTo>
                    <a:pt x="101285" y="100537"/>
                  </a:lnTo>
                  <a:lnTo>
                    <a:pt x="99211" y="103203"/>
                  </a:lnTo>
                  <a:lnTo>
                    <a:pt x="89276" y="112122"/>
                  </a:lnTo>
                  <a:lnTo>
                    <a:pt x="77925" y="117262"/>
                  </a:lnTo>
                  <a:lnTo>
                    <a:pt x="65399" y="119178"/>
                  </a:lnTo>
                  <a:lnTo>
                    <a:pt x="56487" y="118937"/>
                  </a:lnTo>
                  <a:lnTo>
                    <a:pt x="43793" y="116069"/>
                  </a:lnTo>
                  <a:lnTo>
                    <a:pt x="32497" y="110196"/>
                  </a:lnTo>
                  <a:lnTo>
                    <a:pt x="26666" y="105492"/>
                  </a:lnTo>
                  <a:lnTo>
                    <a:pt x="26379" y="105206"/>
                  </a:lnTo>
                  <a:lnTo>
                    <a:pt x="25806" y="104920"/>
                  </a:lnTo>
                  <a:lnTo>
                    <a:pt x="24659" y="104348"/>
                  </a:lnTo>
                  <a:lnTo>
                    <a:pt x="24659" y="110927"/>
                  </a:lnTo>
                  <a:lnTo>
                    <a:pt x="24946" y="113788"/>
                  </a:lnTo>
                  <a:lnTo>
                    <a:pt x="24946" y="116076"/>
                  </a:lnTo>
                  <a:lnTo>
                    <a:pt x="24085" y="116935"/>
                  </a:lnTo>
                  <a:lnTo>
                    <a:pt x="860" y="116935"/>
                  </a:lnTo>
                  <a:lnTo>
                    <a:pt x="0" y="116362"/>
                  </a:lnTo>
                  <a:lnTo>
                    <a:pt x="0" y="77171"/>
                  </a:lnTo>
                  <a:lnTo>
                    <a:pt x="860" y="76313"/>
                  </a:lnTo>
                  <a:lnTo>
                    <a:pt x="23799" y="76313"/>
                  </a:lnTo>
                  <a:lnTo>
                    <a:pt x="24946" y="77171"/>
                  </a:lnTo>
                  <a:lnTo>
                    <a:pt x="25806" y="78887"/>
                  </a:lnTo>
                  <a:lnTo>
                    <a:pt x="33789" y="89515"/>
                  </a:lnTo>
                  <a:lnTo>
                    <a:pt x="44852" y="95939"/>
                  </a:lnTo>
                  <a:lnTo>
                    <a:pt x="51899" y="97482"/>
                  </a:lnTo>
                  <a:lnTo>
                    <a:pt x="59354" y="98340"/>
                  </a:lnTo>
                  <a:lnTo>
                    <a:pt x="66809" y="98054"/>
                  </a:lnTo>
                  <a:lnTo>
                    <a:pt x="73978" y="94049"/>
                  </a:lnTo>
                  <a:lnTo>
                    <a:pt x="80438" y="84554"/>
                  </a:lnTo>
                  <a:lnTo>
                    <a:pt x="75363" y="74674"/>
                  </a:lnTo>
                  <a:lnTo>
                    <a:pt x="74264" y="74024"/>
                  </a:lnTo>
                  <a:lnTo>
                    <a:pt x="69677" y="71736"/>
                  </a:lnTo>
                  <a:lnTo>
                    <a:pt x="64515" y="70877"/>
                  </a:lnTo>
                  <a:lnTo>
                    <a:pt x="59354" y="69733"/>
                  </a:lnTo>
                  <a:lnTo>
                    <a:pt x="51325" y="68303"/>
                  </a:lnTo>
                  <a:lnTo>
                    <a:pt x="43297" y="67731"/>
                  </a:lnTo>
                  <a:lnTo>
                    <a:pt x="35268" y="66300"/>
                  </a:lnTo>
                  <a:lnTo>
                    <a:pt x="22733" y="62086"/>
                  </a:lnTo>
                  <a:lnTo>
                    <a:pt x="12330" y="54736"/>
                  </a:lnTo>
                  <a:lnTo>
                    <a:pt x="5734" y="46275"/>
                  </a:lnTo>
                  <a:lnTo>
                    <a:pt x="1916" y="34564"/>
                  </a:lnTo>
                  <a:lnTo>
                    <a:pt x="3817" y="22939"/>
                  </a:lnTo>
                  <a:lnTo>
                    <a:pt x="9462" y="14522"/>
                  </a:lnTo>
                  <a:lnTo>
                    <a:pt x="19700" y="6331"/>
                  </a:lnTo>
                  <a:lnTo>
                    <a:pt x="31067" y="1611"/>
                  </a:lnTo>
                  <a:lnTo>
                    <a:pt x="43413" y="0"/>
                  </a:lnTo>
                  <a:lnTo>
                    <a:pt x="54480" y="790"/>
                  </a:lnTo>
                  <a:lnTo>
                    <a:pt x="62508" y="1935"/>
                  </a:lnTo>
                  <a:lnTo>
                    <a:pt x="69963" y="5081"/>
                  </a:lnTo>
                  <a:lnTo>
                    <a:pt x="76272" y="10803"/>
                  </a:lnTo>
                  <a:lnTo>
                    <a:pt x="77132" y="11661"/>
                  </a:lnTo>
                  <a:lnTo>
                    <a:pt x="78279" y="12233"/>
                  </a:lnTo>
                  <a:lnTo>
                    <a:pt x="79999" y="13663"/>
                  </a:lnTo>
                  <a:lnTo>
                    <a:pt x="79999" y="5367"/>
                  </a:lnTo>
                  <a:lnTo>
                    <a:pt x="79712" y="3079"/>
                  </a:lnTo>
                  <a:lnTo>
                    <a:pt x="80573" y="2221"/>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0" name="Google Shape;1920;p13"/>
            <p:cNvSpPr/>
            <p:nvPr/>
          </p:nvSpPr>
          <p:spPr>
            <a:xfrm>
              <a:off x="511796" y="7052802"/>
              <a:ext cx="70033" cy="114890"/>
            </a:xfrm>
            <a:custGeom>
              <a:avLst/>
              <a:gdLst/>
              <a:ahLst/>
              <a:cxnLst/>
              <a:rect l="l" t="t" r="r" b="b"/>
              <a:pathLst>
                <a:path w="70033" h="114890" extrusionOk="0">
                  <a:moveTo>
                    <a:pt x="864" y="22634"/>
                  </a:moveTo>
                  <a:lnTo>
                    <a:pt x="0" y="21774"/>
                  </a:lnTo>
                  <a:lnTo>
                    <a:pt x="288" y="19482"/>
                  </a:lnTo>
                  <a:lnTo>
                    <a:pt x="288" y="2865"/>
                  </a:lnTo>
                  <a:lnTo>
                    <a:pt x="0" y="573"/>
                  </a:lnTo>
                  <a:lnTo>
                    <a:pt x="864" y="0"/>
                  </a:lnTo>
                  <a:lnTo>
                    <a:pt x="68592" y="0"/>
                  </a:lnTo>
                  <a:lnTo>
                    <a:pt x="69457" y="859"/>
                  </a:lnTo>
                  <a:lnTo>
                    <a:pt x="69457" y="2865"/>
                  </a:lnTo>
                  <a:lnTo>
                    <a:pt x="69169" y="8308"/>
                  </a:lnTo>
                  <a:lnTo>
                    <a:pt x="69169" y="13752"/>
                  </a:lnTo>
                  <a:lnTo>
                    <a:pt x="69457" y="19482"/>
                  </a:lnTo>
                  <a:lnTo>
                    <a:pt x="69457" y="21774"/>
                  </a:lnTo>
                  <a:lnTo>
                    <a:pt x="68304" y="22634"/>
                  </a:lnTo>
                  <a:lnTo>
                    <a:pt x="65999" y="22634"/>
                  </a:lnTo>
                  <a:lnTo>
                    <a:pt x="61387" y="22347"/>
                  </a:lnTo>
                  <a:lnTo>
                    <a:pt x="51876" y="22347"/>
                  </a:lnTo>
                  <a:lnTo>
                    <a:pt x="48418" y="22634"/>
                  </a:lnTo>
                  <a:lnTo>
                    <a:pt x="48418" y="26072"/>
                  </a:lnTo>
                  <a:lnTo>
                    <a:pt x="48294" y="38757"/>
                  </a:lnTo>
                  <a:lnTo>
                    <a:pt x="48393" y="51495"/>
                  </a:lnTo>
                  <a:lnTo>
                    <a:pt x="48418" y="57302"/>
                  </a:lnTo>
                  <a:lnTo>
                    <a:pt x="48334" y="70013"/>
                  </a:lnTo>
                  <a:lnTo>
                    <a:pt x="48309" y="82670"/>
                  </a:lnTo>
                  <a:lnTo>
                    <a:pt x="48418" y="88818"/>
                  </a:lnTo>
                  <a:lnTo>
                    <a:pt x="48418" y="92256"/>
                  </a:lnTo>
                  <a:lnTo>
                    <a:pt x="56776" y="92256"/>
                  </a:lnTo>
                  <a:lnTo>
                    <a:pt x="61675" y="92543"/>
                  </a:lnTo>
                  <a:lnTo>
                    <a:pt x="66863" y="92256"/>
                  </a:lnTo>
                  <a:lnTo>
                    <a:pt x="69169" y="92256"/>
                  </a:lnTo>
                  <a:lnTo>
                    <a:pt x="70033" y="93116"/>
                  </a:lnTo>
                  <a:lnTo>
                    <a:pt x="69745" y="95408"/>
                  </a:lnTo>
                  <a:lnTo>
                    <a:pt x="69745" y="112025"/>
                  </a:lnTo>
                  <a:lnTo>
                    <a:pt x="70033" y="114031"/>
                  </a:lnTo>
                  <a:lnTo>
                    <a:pt x="68881" y="114890"/>
                  </a:lnTo>
                  <a:lnTo>
                    <a:pt x="864" y="114890"/>
                  </a:lnTo>
                  <a:lnTo>
                    <a:pt x="0" y="114031"/>
                  </a:lnTo>
                  <a:lnTo>
                    <a:pt x="0" y="111739"/>
                  </a:lnTo>
                  <a:lnTo>
                    <a:pt x="288" y="106295"/>
                  </a:lnTo>
                  <a:lnTo>
                    <a:pt x="288" y="101138"/>
                  </a:lnTo>
                  <a:lnTo>
                    <a:pt x="0" y="95694"/>
                  </a:lnTo>
                  <a:lnTo>
                    <a:pt x="0" y="93116"/>
                  </a:lnTo>
                  <a:lnTo>
                    <a:pt x="1152" y="92256"/>
                  </a:lnTo>
                  <a:lnTo>
                    <a:pt x="3458" y="92256"/>
                  </a:lnTo>
                  <a:lnTo>
                    <a:pt x="8646" y="92543"/>
                  </a:lnTo>
                  <a:lnTo>
                    <a:pt x="13545" y="92256"/>
                  </a:lnTo>
                  <a:lnTo>
                    <a:pt x="18445" y="92256"/>
                  </a:lnTo>
                  <a:lnTo>
                    <a:pt x="20750" y="92543"/>
                  </a:lnTo>
                  <a:lnTo>
                    <a:pt x="21903" y="91683"/>
                  </a:lnTo>
                  <a:lnTo>
                    <a:pt x="21903" y="89104"/>
                  </a:lnTo>
                  <a:lnTo>
                    <a:pt x="21764" y="76377"/>
                  </a:lnTo>
                  <a:lnTo>
                    <a:pt x="21695" y="63692"/>
                  </a:lnTo>
                  <a:lnTo>
                    <a:pt x="21696" y="51020"/>
                  </a:lnTo>
                  <a:lnTo>
                    <a:pt x="21766" y="38334"/>
                  </a:lnTo>
                  <a:lnTo>
                    <a:pt x="21903" y="25785"/>
                  </a:lnTo>
                  <a:lnTo>
                    <a:pt x="21903" y="23207"/>
                  </a:lnTo>
                  <a:lnTo>
                    <a:pt x="20750" y="22347"/>
                  </a:lnTo>
                  <a:lnTo>
                    <a:pt x="18445" y="22347"/>
                  </a:lnTo>
                  <a:lnTo>
                    <a:pt x="13257" y="22634"/>
                  </a:lnTo>
                  <a:lnTo>
                    <a:pt x="8069" y="22347"/>
                  </a:lnTo>
                  <a:lnTo>
                    <a:pt x="3170" y="22634"/>
                  </a:lnTo>
                  <a:lnTo>
                    <a:pt x="864" y="22634"/>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1" name="Google Shape;1921;p13"/>
            <p:cNvSpPr/>
            <p:nvPr/>
          </p:nvSpPr>
          <p:spPr>
            <a:xfrm>
              <a:off x="627912" y="7187388"/>
              <a:ext cx="14982" cy="31637"/>
            </a:xfrm>
            <a:custGeom>
              <a:avLst/>
              <a:gdLst/>
              <a:ahLst/>
              <a:cxnLst/>
              <a:rect l="l" t="t" r="r" b="b"/>
              <a:pathLst>
                <a:path w="14982" h="31637" extrusionOk="0">
                  <a:moveTo>
                    <a:pt x="3457" y="8997"/>
                  </a:moveTo>
                  <a:lnTo>
                    <a:pt x="5186" y="11319"/>
                  </a:lnTo>
                  <a:lnTo>
                    <a:pt x="8643" y="16834"/>
                  </a:lnTo>
                  <a:lnTo>
                    <a:pt x="14982" y="31637"/>
                  </a:lnTo>
                  <a:lnTo>
                    <a:pt x="6757" y="22018"/>
                  </a:lnTo>
                  <a:lnTo>
                    <a:pt x="37" y="11102"/>
                  </a:lnTo>
                  <a:lnTo>
                    <a:pt x="0" y="0"/>
                  </a:lnTo>
                  <a:lnTo>
                    <a:pt x="864" y="2322"/>
                  </a:lnTo>
                  <a:lnTo>
                    <a:pt x="1440" y="4063"/>
                  </a:lnTo>
                  <a:lnTo>
                    <a:pt x="2304" y="4353"/>
                  </a:lnTo>
                  <a:lnTo>
                    <a:pt x="4033" y="4063"/>
                  </a:lnTo>
                  <a:lnTo>
                    <a:pt x="3745" y="8127"/>
                  </a:lnTo>
                  <a:lnTo>
                    <a:pt x="3457" y="8997"/>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2" name="Google Shape;1922;p13"/>
            <p:cNvSpPr/>
            <p:nvPr/>
          </p:nvSpPr>
          <p:spPr>
            <a:xfrm>
              <a:off x="665655" y="7181003"/>
              <a:ext cx="105740" cy="50676"/>
            </a:xfrm>
            <a:custGeom>
              <a:avLst/>
              <a:gdLst/>
              <a:ahLst/>
              <a:cxnLst/>
              <a:rect l="l" t="t" r="r" b="b"/>
              <a:pathLst>
                <a:path w="105740" h="50676" extrusionOk="0">
                  <a:moveTo>
                    <a:pt x="89858" y="20691"/>
                  </a:moveTo>
                  <a:lnTo>
                    <a:pt x="88453" y="22059"/>
                  </a:lnTo>
                  <a:lnTo>
                    <a:pt x="78649" y="30949"/>
                  </a:lnTo>
                  <a:lnTo>
                    <a:pt x="68263" y="38702"/>
                  </a:lnTo>
                  <a:lnTo>
                    <a:pt x="57299" y="45287"/>
                  </a:lnTo>
                  <a:lnTo>
                    <a:pt x="45765" y="50676"/>
                  </a:lnTo>
                  <a:lnTo>
                    <a:pt x="36879" y="49052"/>
                  </a:lnTo>
                  <a:lnTo>
                    <a:pt x="40913" y="47311"/>
                  </a:lnTo>
                  <a:lnTo>
                    <a:pt x="46675" y="44989"/>
                  </a:lnTo>
                  <a:lnTo>
                    <a:pt x="52149" y="42667"/>
                  </a:lnTo>
                  <a:lnTo>
                    <a:pt x="57336" y="39764"/>
                  </a:lnTo>
                  <a:lnTo>
                    <a:pt x="61657" y="37732"/>
                  </a:lnTo>
                  <a:lnTo>
                    <a:pt x="65691" y="34830"/>
                  </a:lnTo>
                  <a:lnTo>
                    <a:pt x="69725" y="32508"/>
                  </a:lnTo>
                  <a:lnTo>
                    <a:pt x="69725" y="31347"/>
                  </a:lnTo>
                  <a:lnTo>
                    <a:pt x="67132" y="29605"/>
                  </a:lnTo>
                  <a:lnTo>
                    <a:pt x="64250" y="28154"/>
                  </a:lnTo>
                  <a:lnTo>
                    <a:pt x="61369" y="26413"/>
                  </a:lnTo>
                  <a:lnTo>
                    <a:pt x="59352" y="24961"/>
                  </a:lnTo>
                  <a:lnTo>
                    <a:pt x="58200" y="25542"/>
                  </a:lnTo>
                  <a:lnTo>
                    <a:pt x="56471" y="26993"/>
                  </a:lnTo>
                  <a:lnTo>
                    <a:pt x="50421" y="32218"/>
                  </a:lnTo>
                  <a:lnTo>
                    <a:pt x="44082" y="36862"/>
                  </a:lnTo>
                  <a:lnTo>
                    <a:pt x="37743" y="41796"/>
                  </a:lnTo>
                  <a:lnTo>
                    <a:pt x="36303" y="42957"/>
                  </a:lnTo>
                  <a:lnTo>
                    <a:pt x="34862" y="43538"/>
                  </a:lnTo>
                  <a:lnTo>
                    <a:pt x="33422" y="44408"/>
                  </a:lnTo>
                  <a:lnTo>
                    <a:pt x="31693" y="49923"/>
                  </a:lnTo>
                  <a:lnTo>
                    <a:pt x="31693" y="49343"/>
                  </a:lnTo>
                  <a:lnTo>
                    <a:pt x="30828" y="48762"/>
                  </a:lnTo>
                  <a:lnTo>
                    <a:pt x="29964" y="47891"/>
                  </a:lnTo>
                  <a:lnTo>
                    <a:pt x="28812" y="47601"/>
                  </a:lnTo>
                  <a:lnTo>
                    <a:pt x="25354" y="46150"/>
                  </a:lnTo>
                  <a:lnTo>
                    <a:pt x="21897" y="44699"/>
                  </a:lnTo>
                  <a:lnTo>
                    <a:pt x="18439" y="43828"/>
                  </a:lnTo>
                  <a:lnTo>
                    <a:pt x="5873" y="41894"/>
                  </a:lnTo>
                  <a:lnTo>
                    <a:pt x="0" y="38603"/>
                  </a:lnTo>
                  <a:lnTo>
                    <a:pt x="0" y="36753"/>
                  </a:lnTo>
                  <a:lnTo>
                    <a:pt x="7779" y="37732"/>
                  </a:lnTo>
                  <a:lnTo>
                    <a:pt x="10372" y="38023"/>
                  </a:lnTo>
                  <a:lnTo>
                    <a:pt x="12965" y="37732"/>
                  </a:lnTo>
                  <a:lnTo>
                    <a:pt x="15270" y="35701"/>
                  </a:lnTo>
                  <a:lnTo>
                    <a:pt x="18439" y="38893"/>
                  </a:lnTo>
                  <a:lnTo>
                    <a:pt x="21032" y="39764"/>
                  </a:lnTo>
                  <a:lnTo>
                    <a:pt x="23337" y="40635"/>
                  </a:lnTo>
                  <a:lnTo>
                    <a:pt x="25642" y="41216"/>
                  </a:lnTo>
                  <a:lnTo>
                    <a:pt x="27083" y="41506"/>
                  </a:lnTo>
                  <a:lnTo>
                    <a:pt x="29388" y="41506"/>
                  </a:lnTo>
                  <a:lnTo>
                    <a:pt x="30828" y="40635"/>
                  </a:lnTo>
                  <a:lnTo>
                    <a:pt x="34862" y="38603"/>
                  </a:lnTo>
                  <a:lnTo>
                    <a:pt x="39184" y="35991"/>
                  </a:lnTo>
                  <a:lnTo>
                    <a:pt x="43218" y="33088"/>
                  </a:lnTo>
                  <a:lnTo>
                    <a:pt x="47251" y="30186"/>
                  </a:lnTo>
                  <a:lnTo>
                    <a:pt x="50709" y="26703"/>
                  </a:lnTo>
                  <a:lnTo>
                    <a:pt x="54742" y="23220"/>
                  </a:lnTo>
                  <a:lnTo>
                    <a:pt x="53302" y="22349"/>
                  </a:lnTo>
                  <a:lnTo>
                    <a:pt x="52726" y="22059"/>
                  </a:lnTo>
                  <a:lnTo>
                    <a:pt x="51861" y="21769"/>
                  </a:lnTo>
                  <a:lnTo>
                    <a:pt x="47251" y="20027"/>
                  </a:lnTo>
                  <a:lnTo>
                    <a:pt x="42353" y="18285"/>
                  </a:lnTo>
                  <a:lnTo>
                    <a:pt x="37455" y="16544"/>
                  </a:lnTo>
                  <a:lnTo>
                    <a:pt x="35438" y="15673"/>
                  </a:lnTo>
                  <a:lnTo>
                    <a:pt x="34286" y="16544"/>
                  </a:lnTo>
                  <a:lnTo>
                    <a:pt x="33133" y="18285"/>
                  </a:lnTo>
                  <a:lnTo>
                    <a:pt x="32557" y="10158"/>
                  </a:lnTo>
                  <a:lnTo>
                    <a:pt x="33133" y="8127"/>
                  </a:lnTo>
                  <a:lnTo>
                    <a:pt x="33710" y="6385"/>
                  </a:lnTo>
                  <a:lnTo>
                    <a:pt x="34574" y="4644"/>
                  </a:lnTo>
                  <a:lnTo>
                    <a:pt x="35438" y="2902"/>
                  </a:lnTo>
                  <a:lnTo>
                    <a:pt x="36303" y="290"/>
                  </a:lnTo>
                  <a:lnTo>
                    <a:pt x="38031" y="0"/>
                  </a:lnTo>
                  <a:lnTo>
                    <a:pt x="40625" y="870"/>
                  </a:lnTo>
                  <a:lnTo>
                    <a:pt x="39472" y="3483"/>
                  </a:lnTo>
                  <a:lnTo>
                    <a:pt x="38608" y="6095"/>
                  </a:lnTo>
                  <a:lnTo>
                    <a:pt x="37743" y="8417"/>
                  </a:lnTo>
                  <a:lnTo>
                    <a:pt x="36303" y="11900"/>
                  </a:lnTo>
                  <a:lnTo>
                    <a:pt x="36591" y="11610"/>
                  </a:lnTo>
                  <a:lnTo>
                    <a:pt x="39760" y="12771"/>
                  </a:lnTo>
                  <a:lnTo>
                    <a:pt x="44658" y="14512"/>
                  </a:lnTo>
                  <a:lnTo>
                    <a:pt x="49844" y="16254"/>
                  </a:lnTo>
                  <a:lnTo>
                    <a:pt x="54454" y="18285"/>
                  </a:lnTo>
                  <a:lnTo>
                    <a:pt x="57047" y="19446"/>
                  </a:lnTo>
                  <a:lnTo>
                    <a:pt x="58776" y="18866"/>
                  </a:lnTo>
                  <a:lnTo>
                    <a:pt x="60217" y="16834"/>
                  </a:lnTo>
                  <a:lnTo>
                    <a:pt x="63386" y="12190"/>
                  </a:lnTo>
                  <a:lnTo>
                    <a:pt x="66555" y="7836"/>
                  </a:lnTo>
                  <a:lnTo>
                    <a:pt x="69725" y="2902"/>
                  </a:lnTo>
                  <a:lnTo>
                    <a:pt x="71165" y="580"/>
                  </a:lnTo>
                  <a:lnTo>
                    <a:pt x="72894" y="0"/>
                  </a:lnTo>
                  <a:lnTo>
                    <a:pt x="76063" y="870"/>
                  </a:lnTo>
                  <a:lnTo>
                    <a:pt x="73758" y="4644"/>
                  </a:lnTo>
                  <a:lnTo>
                    <a:pt x="71742" y="8127"/>
                  </a:lnTo>
                  <a:lnTo>
                    <a:pt x="69437" y="11319"/>
                  </a:lnTo>
                  <a:lnTo>
                    <a:pt x="67132" y="14802"/>
                  </a:lnTo>
                  <a:lnTo>
                    <a:pt x="64539" y="17995"/>
                  </a:lnTo>
                  <a:lnTo>
                    <a:pt x="61945" y="21478"/>
                  </a:lnTo>
                  <a:lnTo>
                    <a:pt x="65979" y="23800"/>
                  </a:lnTo>
                  <a:lnTo>
                    <a:pt x="69437" y="26122"/>
                  </a:lnTo>
                  <a:lnTo>
                    <a:pt x="73182" y="28154"/>
                  </a:lnTo>
                  <a:lnTo>
                    <a:pt x="73758" y="28444"/>
                  </a:lnTo>
                  <a:lnTo>
                    <a:pt x="75487" y="27864"/>
                  </a:lnTo>
                  <a:lnTo>
                    <a:pt x="76352" y="26993"/>
                  </a:lnTo>
                  <a:lnTo>
                    <a:pt x="86001" y="18696"/>
                  </a:lnTo>
                  <a:lnTo>
                    <a:pt x="94478" y="9218"/>
                  </a:lnTo>
                  <a:lnTo>
                    <a:pt x="99113" y="2902"/>
                  </a:lnTo>
                  <a:lnTo>
                    <a:pt x="100842" y="580"/>
                  </a:lnTo>
                  <a:lnTo>
                    <a:pt x="102570" y="0"/>
                  </a:lnTo>
                  <a:lnTo>
                    <a:pt x="105740" y="870"/>
                  </a:lnTo>
                  <a:lnTo>
                    <a:pt x="98471" y="11371"/>
                  </a:lnTo>
                  <a:lnTo>
                    <a:pt x="89858" y="20691"/>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3" name="Google Shape;1923;p13"/>
            <p:cNvSpPr/>
            <p:nvPr/>
          </p:nvSpPr>
          <p:spPr>
            <a:xfrm>
              <a:off x="556458" y="7181003"/>
              <a:ext cx="154962" cy="59703"/>
            </a:xfrm>
            <a:custGeom>
              <a:avLst/>
              <a:gdLst/>
              <a:ahLst/>
              <a:cxnLst/>
              <a:rect l="l" t="t" r="r" b="b"/>
              <a:pathLst>
                <a:path w="154962" h="59703" extrusionOk="0">
                  <a:moveTo>
                    <a:pt x="142862" y="54837"/>
                  </a:moveTo>
                  <a:lnTo>
                    <a:pt x="130203" y="57742"/>
                  </a:lnTo>
                  <a:lnTo>
                    <a:pt x="121875" y="58921"/>
                  </a:lnTo>
                  <a:lnTo>
                    <a:pt x="105828" y="59703"/>
                  </a:lnTo>
                  <a:lnTo>
                    <a:pt x="90748" y="58721"/>
                  </a:lnTo>
                  <a:lnTo>
                    <a:pt x="76648" y="56164"/>
                  </a:lnTo>
                  <a:lnTo>
                    <a:pt x="69725" y="48472"/>
                  </a:lnTo>
                  <a:lnTo>
                    <a:pt x="72030" y="44408"/>
                  </a:lnTo>
                  <a:lnTo>
                    <a:pt x="61142" y="37670"/>
                  </a:lnTo>
                  <a:lnTo>
                    <a:pt x="51259" y="29693"/>
                  </a:lnTo>
                  <a:lnTo>
                    <a:pt x="47539" y="26413"/>
                  </a:lnTo>
                  <a:lnTo>
                    <a:pt x="46963" y="25832"/>
                  </a:lnTo>
                  <a:lnTo>
                    <a:pt x="45523" y="25832"/>
                  </a:lnTo>
                  <a:lnTo>
                    <a:pt x="44658" y="26122"/>
                  </a:lnTo>
                  <a:lnTo>
                    <a:pt x="42353" y="27283"/>
                  </a:lnTo>
                  <a:lnTo>
                    <a:pt x="40048" y="28735"/>
                  </a:lnTo>
                  <a:lnTo>
                    <a:pt x="37743" y="30186"/>
                  </a:lnTo>
                  <a:lnTo>
                    <a:pt x="35150" y="31637"/>
                  </a:lnTo>
                  <a:lnTo>
                    <a:pt x="35150" y="32508"/>
                  </a:lnTo>
                  <a:lnTo>
                    <a:pt x="37743" y="33669"/>
                  </a:lnTo>
                  <a:lnTo>
                    <a:pt x="48972" y="39698"/>
                  </a:lnTo>
                  <a:lnTo>
                    <a:pt x="60240" y="45536"/>
                  </a:lnTo>
                  <a:lnTo>
                    <a:pt x="63538" y="52223"/>
                  </a:lnTo>
                  <a:lnTo>
                    <a:pt x="51430" y="47089"/>
                  </a:lnTo>
                  <a:lnTo>
                    <a:pt x="40336" y="40952"/>
                  </a:lnTo>
                  <a:lnTo>
                    <a:pt x="30266" y="34002"/>
                  </a:lnTo>
                  <a:lnTo>
                    <a:pt x="21232" y="26430"/>
                  </a:lnTo>
                  <a:lnTo>
                    <a:pt x="13246" y="18426"/>
                  </a:lnTo>
                  <a:lnTo>
                    <a:pt x="6318" y="10181"/>
                  </a:lnTo>
                  <a:lnTo>
                    <a:pt x="461" y="1884"/>
                  </a:lnTo>
                  <a:lnTo>
                    <a:pt x="0" y="1160"/>
                  </a:lnTo>
                  <a:lnTo>
                    <a:pt x="2016" y="0"/>
                  </a:lnTo>
                  <a:lnTo>
                    <a:pt x="3745" y="0"/>
                  </a:lnTo>
                  <a:lnTo>
                    <a:pt x="5186" y="2031"/>
                  </a:lnTo>
                  <a:lnTo>
                    <a:pt x="9219" y="6966"/>
                  </a:lnTo>
                  <a:lnTo>
                    <a:pt x="13253" y="12190"/>
                  </a:lnTo>
                  <a:lnTo>
                    <a:pt x="17575" y="16834"/>
                  </a:lnTo>
                  <a:lnTo>
                    <a:pt x="21608" y="20898"/>
                  </a:lnTo>
                  <a:lnTo>
                    <a:pt x="25930" y="24381"/>
                  </a:lnTo>
                  <a:lnTo>
                    <a:pt x="30252" y="28154"/>
                  </a:lnTo>
                  <a:lnTo>
                    <a:pt x="30828" y="28735"/>
                  </a:lnTo>
                  <a:lnTo>
                    <a:pt x="32269" y="28444"/>
                  </a:lnTo>
                  <a:lnTo>
                    <a:pt x="33133" y="27864"/>
                  </a:lnTo>
                  <a:lnTo>
                    <a:pt x="35726" y="26703"/>
                  </a:lnTo>
                  <a:lnTo>
                    <a:pt x="38031" y="24961"/>
                  </a:lnTo>
                  <a:lnTo>
                    <a:pt x="40625" y="23510"/>
                  </a:lnTo>
                  <a:lnTo>
                    <a:pt x="43218" y="21769"/>
                  </a:lnTo>
                  <a:lnTo>
                    <a:pt x="43218" y="21478"/>
                  </a:lnTo>
                  <a:lnTo>
                    <a:pt x="41489" y="19156"/>
                  </a:lnTo>
                  <a:lnTo>
                    <a:pt x="38031" y="13932"/>
                  </a:lnTo>
                  <a:lnTo>
                    <a:pt x="34574" y="8707"/>
                  </a:lnTo>
                  <a:lnTo>
                    <a:pt x="30828" y="3773"/>
                  </a:lnTo>
                  <a:lnTo>
                    <a:pt x="30540" y="2902"/>
                  </a:lnTo>
                  <a:lnTo>
                    <a:pt x="30252" y="2031"/>
                  </a:lnTo>
                  <a:lnTo>
                    <a:pt x="29676" y="870"/>
                  </a:lnTo>
                  <a:lnTo>
                    <a:pt x="32269" y="0"/>
                  </a:lnTo>
                  <a:lnTo>
                    <a:pt x="33998" y="580"/>
                  </a:lnTo>
                  <a:lnTo>
                    <a:pt x="35438" y="2612"/>
                  </a:lnTo>
                  <a:lnTo>
                    <a:pt x="38608" y="7546"/>
                  </a:lnTo>
                  <a:lnTo>
                    <a:pt x="42065" y="12190"/>
                  </a:lnTo>
                  <a:lnTo>
                    <a:pt x="45234" y="17124"/>
                  </a:lnTo>
                  <a:lnTo>
                    <a:pt x="46675" y="19156"/>
                  </a:lnTo>
                  <a:lnTo>
                    <a:pt x="48116" y="19446"/>
                  </a:lnTo>
                  <a:lnTo>
                    <a:pt x="50709" y="18576"/>
                  </a:lnTo>
                  <a:lnTo>
                    <a:pt x="55895" y="16254"/>
                  </a:lnTo>
                  <a:lnTo>
                    <a:pt x="61081" y="14512"/>
                  </a:lnTo>
                  <a:lnTo>
                    <a:pt x="66267" y="12771"/>
                  </a:lnTo>
                  <a:lnTo>
                    <a:pt x="68284" y="12190"/>
                  </a:lnTo>
                  <a:lnTo>
                    <a:pt x="68572" y="11319"/>
                  </a:lnTo>
                  <a:lnTo>
                    <a:pt x="67996" y="9288"/>
                  </a:lnTo>
                  <a:lnTo>
                    <a:pt x="67132" y="7546"/>
                  </a:lnTo>
                  <a:lnTo>
                    <a:pt x="66267" y="5514"/>
                  </a:lnTo>
                  <a:lnTo>
                    <a:pt x="65691" y="3773"/>
                  </a:lnTo>
                  <a:lnTo>
                    <a:pt x="65403" y="2612"/>
                  </a:lnTo>
                  <a:lnTo>
                    <a:pt x="65403" y="870"/>
                  </a:lnTo>
                  <a:lnTo>
                    <a:pt x="65979" y="580"/>
                  </a:lnTo>
                  <a:lnTo>
                    <a:pt x="67420" y="0"/>
                  </a:lnTo>
                  <a:lnTo>
                    <a:pt x="68860" y="290"/>
                  </a:lnTo>
                  <a:lnTo>
                    <a:pt x="69725" y="2031"/>
                  </a:lnTo>
                  <a:lnTo>
                    <a:pt x="70301" y="4353"/>
                  </a:lnTo>
                  <a:lnTo>
                    <a:pt x="71453" y="6385"/>
                  </a:lnTo>
                  <a:lnTo>
                    <a:pt x="71453" y="17415"/>
                  </a:lnTo>
                  <a:lnTo>
                    <a:pt x="71165" y="16834"/>
                  </a:lnTo>
                  <a:lnTo>
                    <a:pt x="69437" y="16254"/>
                  </a:lnTo>
                  <a:lnTo>
                    <a:pt x="68572" y="16544"/>
                  </a:lnTo>
                  <a:lnTo>
                    <a:pt x="64250" y="17705"/>
                  </a:lnTo>
                  <a:lnTo>
                    <a:pt x="60217" y="19446"/>
                  </a:lnTo>
                  <a:lnTo>
                    <a:pt x="55895" y="20898"/>
                  </a:lnTo>
                  <a:lnTo>
                    <a:pt x="54454" y="21478"/>
                  </a:lnTo>
                  <a:lnTo>
                    <a:pt x="52726" y="22059"/>
                  </a:lnTo>
                  <a:lnTo>
                    <a:pt x="50709" y="22930"/>
                  </a:lnTo>
                  <a:lnTo>
                    <a:pt x="52437" y="24671"/>
                  </a:lnTo>
                  <a:lnTo>
                    <a:pt x="53302" y="26122"/>
                  </a:lnTo>
                  <a:lnTo>
                    <a:pt x="54454" y="26993"/>
                  </a:lnTo>
                  <a:lnTo>
                    <a:pt x="60217" y="31057"/>
                  </a:lnTo>
                  <a:lnTo>
                    <a:pt x="65979" y="35120"/>
                  </a:lnTo>
                  <a:lnTo>
                    <a:pt x="71453" y="39474"/>
                  </a:lnTo>
                  <a:lnTo>
                    <a:pt x="76928" y="43538"/>
                  </a:lnTo>
                  <a:lnTo>
                    <a:pt x="81538" y="40345"/>
                  </a:lnTo>
                  <a:lnTo>
                    <a:pt x="86724" y="38893"/>
                  </a:lnTo>
                  <a:lnTo>
                    <a:pt x="86436" y="38313"/>
                  </a:lnTo>
                  <a:lnTo>
                    <a:pt x="86436" y="38023"/>
                  </a:lnTo>
                  <a:lnTo>
                    <a:pt x="80097" y="23220"/>
                  </a:lnTo>
                  <a:lnTo>
                    <a:pt x="83843" y="28444"/>
                  </a:lnTo>
                  <a:lnTo>
                    <a:pt x="87876" y="33379"/>
                  </a:lnTo>
                  <a:lnTo>
                    <a:pt x="89893" y="35701"/>
                  </a:lnTo>
                  <a:lnTo>
                    <a:pt x="92198" y="39184"/>
                  </a:lnTo>
                  <a:lnTo>
                    <a:pt x="95367" y="38023"/>
                  </a:lnTo>
                  <a:lnTo>
                    <a:pt x="98537" y="37732"/>
                  </a:lnTo>
                  <a:lnTo>
                    <a:pt x="100842" y="37442"/>
                  </a:lnTo>
                  <a:lnTo>
                    <a:pt x="103147" y="37152"/>
                  </a:lnTo>
                  <a:lnTo>
                    <a:pt x="103723" y="36862"/>
                  </a:lnTo>
                  <a:lnTo>
                    <a:pt x="105164" y="35991"/>
                  </a:lnTo>
                  <a:lnTo>
                    <a:pt x="105164" y="12480"/>
                  </a:lnTo>
                  <a:lnTo>
                    <a:pt x="103723" y="11319"/>
                  </a:lnTo>
                  <a:lnTo>
                    <a:pt x="103147" y="11319"/>
                  </a:lnTo>
                  <a:lnTo>
                    <a:pt x="94791" y="12190"/>
                  </a:lnTo>
                  <a:lnTo>
                    <a:pt x="86436" y="13061"/>
                  </a:lnTo>
                  <a:lnTo>
                    <a:pt x="78368" y="14222"/>
                  </a:lnTo>
                  <a:lnTo>
                    <a:pt x="75199" y="14512"/>
                  </a:lnTo>
                  <a:lnTo>
                    <a:pt x="75487" y="10449"/>
                  </a:lnTo>
                  <a:lnTo>
                    <a:pt x="88098" y="8840"/>
                  </a:lnTo>
                  <a:lnTo>
                    <a:pt x="100709" y="7412"/>
                  </a:lnTo>
                  <a:lnTo>
                    <a:pt x="102282" y="7256"/>
                  </a:lnTo>
                  <a:lnTo>
                    <a:pt x="104587" y="6966"/>
                  </a:lnTo>
                  <a:lnTo>
                    <a:pt x="105452" y="6095"/>
                  </a:lnTo>
                  <a:lnTo>
                    <a:pt x="105164" y="4063"/>
                  </a:lnTo>
                  <a:lnTo>
                    <a:pt x="105164" y="2612"/>
                  </a:lnTo>
                  <a:lnTo>
                    <a:pt x="105740" y="2031"/>
                  </a:lnTo>
                  <a:lnTo>
                    <a:pt x="106604" y="1160"/>
                  </a:lnTo>
                  <a:lnTo>
                    <a:pt x="107180" y="580"/>
                  </a:lnTo>
                  <a:lnTo>
                    <a:pt x="107757" y="1160"/>
                  </a:lnTo>
                  <a:lnTo>
                    <a:pt x="108909" y="1741"/>
                  </a:lnTo>
                  <a:lnTo>
                    <a:pt x="108909" y="2612"/>
                  </a:lnTo>
                  <a:lnTo>
                    <a:pt x="109773" y="6966"/>
                  </a:lnTo>
                  <a:lnTo>
                    <a:pt x="109773" y="6675"/>
                  </a:lnTo>
                  <a:lnTo>
                    <a:pt x="114095" y="7256"/>
                  </a:lnTo>
                  <a:lnTo>
                    <a:pt x="122451" y="7836"/>
                  </a:lnTo>
                  <a:lnTo>
                    <a:pt x="130518" y="8997"/>
                  </a:lnTo>
                  <a:lnTo>
                    <a:pt x="138586" y="10158"/>
                  </a:lnTo>
                  <a:lnTo>
                    <a:pt x="140602" y="10449"/>
                  </a:lnTo>
                  <a:lnTo>
                    <a:pt x="141755" y="10158"/>
                  </a:lnTo>
                  <a:lnTo>
                    <a:pt x="142331" y="18285"/>
                  </a:lnTo>
                  <a:lnTo>
                    <a:pt x="138586" y="25252"/>
                  </a:lnTo>
                  <a:lnTo>
                    <a:pt x="134552" y="31927"/>
                  </a:lnTo>
                  <a:lnTo>
                    <a:pt x="128789" y="37152"/>
                  </a:lnTo>
                  <a:lnTo>
                    <a:pt x="128501" y="37442"/>
                  </a:lnTo>
                  <a:lnTo>
                    <a:pt x="128213" y="38313"/>
                  </a:lnTo>
                  <a:lnTo>
                    <a:pt x="127637" y="38893"/>
                  </a:lnTo>
                  <a:lnTo>
                    <a:pt x="124468" y="35701"/>
                  </a:lnTo>
                  <a:lnTo>
                    <a:pt x="129942" y="30766"/>
                  </a:lnTo>
                  <a:lnTo>
                    <a:pt x="134264" y="24671"/>
                  </a:lnTo>
                  <a:lnTo>
                    <a:pt x="137721" y="17995"/>
                  </a:lnTo>
                  <a:lnTo>
                    <a:pt x="139450" y="14802"/>
                  </a:lnTo>
                  <a:lnTo>
                    <a:pt x="139162" y="14512"/>
                  </a:lnTo>
                  <a:lnTo>
                    <a:pt x="135992" y="13932"/>
                  </a:lnTo>
                  <a:lnTo>
                    <a:pt x="127637" y="13061"/>
                  </a:lnTo>
                  <a:lnTo>
                    <a:pt x="119570" y="12190"/>
                  </a:lnTo>
                  <a:lnTo>
                    <a:pt x="111214" y="11029"/>
                  </a:lnTo>
                  <a:lnTo>
                    <a:pt x="109485" y="11029"/>
                  </a:lnTo>
                  <a:lnTo>
                    <a:pt x="109197" y="12190"/>
                  </a:lnTo>
                  <a:lnTo>
                    <a:pt x="109197" y="36753"/>
                  </a:lnTo>
                  <a:lnTo>
                    <a:pt x="107757" y="36572"/>
                  </a:lnTo>
                  <a:lnTo>
                    <a:pt x="109197" y="38603"/>
                  </a:lnTo>
                  <a:lnTo>
                    <a:pt x="115071" y="41894"/>
                  </a:lnTo>
                  <a:lnTo>
                    <a:pt x="102450" y="41749"/>
                  </a:lnTo>
                  <a:lnTo>
                    <a:pt x="96232" y="42377"/>
                  </a:lnTo>
                  <a:lnTo>
                    <a:pt x="89029" y="42957"/>
                  </a:lnTo>
                  <a:lnTo>
                    <a:pt x="82402" y="44408"/>
                  </a:lnTo>
                  <a:lnTo>
                    <a:pt x="76063" y="47601"/>
                  </a:lnTo>
                  <a:lnTo>
                    <a:pt x="74911" y="48182"/>
                  </a:lnTo>
                  <a:lnTo>
                    <a:pt x="74335" y="49052"/>
                  </a:lnTo>
                  <a:lnTo>
                    <a:pt x="73470" y="49633"/>
                  </a:lnTo>
                  <a:lnTo>
                    <a:pt x="73470" y="50213"/>
                  </a:lnTo>
                  <a:lnTo>
                    <a:pt x="73758" y="50504"/>
                  </a:lnTo>
                  <a:lnTo>
                    <a:pt x="86225" y="53283"/>
                  </a:lnTo>
                  <a:lnTo>
                    <a:pt x="98729" y="54784"/>
                  </a:lnTo>
                  <a:lnTo>
                    <a:pt x="111249" y="55008"/>
                  </a:lnTo>
                  <a:lnTo>
                    <a:pt x="123761" y="53954"/>
                  </a:lnTo>
                  <a:lnTo>
                    <a:pt x="136243" y="51622"/>
                  </a:lnTo>
                  <a:lnTo>
                    <a:pt x="140602" y="50504"/>
                  </a:lnTo>
                  <a:lnTo>
                    <a:pt x="140602" y="50213"/>
                  </a:lnTo>
                  <a:lnTo>
                    <a:pt x="140890" y="49923"/>
                  </a:lnTo>
                  <a:lnTo>
                    <a:pt x="142619" y="44408"/>
                  </a:lnTo>
                  <a:lnTo>
                    <a:pt x="145789" y="48762"/>
                  </a:lnTo>
                  <a:lnTo>
                    <a:pt x="146077" y="49052"/>
                  </a:lnTo>
                  <a:lnTo>
                    <a:pt x="154962" y="50676"/>
                  </a:lnTo>
                  <a:lnTo>
                    <a:pt x="142862" y="54837"/>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4" name="Google Shape;1924;p13"/>
            <p:cNvSpPr/>
            <p:nvPr/>
          </p:nvSpPr>
          <p:spPr>
            <a:xfrm>
              <a:off x="616698" y="7226540"/>
              <a:ext cx="16407" cy="10627"/>
            </a:xfrm>
            <a:custGeom>
              <a:avLst/>
              <a:gdLst/>
              <a:ahLst/>
              <a:cxnLst/>
              <a:rect l="l" t="t" r="r" b="b"/>
              <a:pathLst>
                <a:path w="16407" h="10627" extrusionOk="0">
                  <a:moveTo>
                    <a:pt x="0" y="0"/>
                  </a:moveTo>
                  <a:lnTo>
                    <a:pt x="2857" y="1484"/>
                  </a:lnTo>
                  <a:lnTo>
                    <a:pt x="6603" y="3515"/>
                  </a:lnTo>
                  <a:lnTo>
                    <a:pt x="9484" y="2935"/>
                  </a:lnTo>
                  <a:lnTo>
                    <a:pt x="16407" y="10627"/>
                  </a:lnTo>
                  <a:lnTo>
                    <a:pt x="3298" y="6686"/>
                  </a:lnTo>
                  <a:lnTo>
                    <a:pt x="0"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5" name="Google Shape;1925;p13"/>
            <p:cNvSpPr/>
            <p:nvPr/>
          </p:nvSpPr>
          <p:spPr>
            <a:xfrm>
              <a:off x="708005" y="6993576"/>
              <a:ext cx="32987" cy="15502"/>
            </a:xfrm>
            <a:custGeom>
              <a:avLst/>
              <a:gdLst/>
              <a:ahLst/>
              <a:cxnLst/>
              <a:rect l="l" t="t" r="r" b="b"/>
              <a:pathLst>
                <a:path w="32987" h="15502" extrusionOk="0">
                  <a:moveTo>
                    <a:pt x="27948" y="15502"/>
                  </a:moveTo>
                  <a:lnTo>
                    <a:pt x="27948" y="14631"/>
                  </a:lnTo>
                  <a:lnTo>
                    <a:pt x="25643" y="13470"/>
                  </a:lnTo>
                  <a:lnTo>
                    <a:pt x="14369" y="7493"/>
                  </a:lnTo>
                  <a:lnTo>
                    <a:pt x="3137" y="1705"/>
                  </a:lnTo>
                  <a:lnTo>
                    <a:pt x="0" y="118"/>
                  </a:lnTo>
                  <a:lnTo>
                    <a:pt x="11804" y="0"/>
                  </a:lnTo>
                  <a:lnTo>
                    <a:pt x="22909" y="6117"/>
                  </a:lnTo>
                  <a:lnTo>
                    <a:pt x="32987" y="13046"/>
                  </a:lnTo>
                  <a:lnTo>
                    <a:pt x="27948" y="1550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6" name="Google Shape;1926;p13"/>
            <p:cNvSpPr/>
            <p:nvPr/>
          </p:nvSpPr>
          <p:spPr>
            <a:xfrm>
              <a:off x="607161" y="6992824"/>
              <a:ext cx="88166" cy="47601"/>
            </a:xfrm>
            <a:custGeom>
              <a:avLst/>
              <a:gdLst/>
              <a:ahLst/>
              <a:cxnLst/>
              <a:rect l="l" t="t" r="r" b="b"/>
              <a:pathLst>
                <a:path w="88166" h="47601" extrusionOk="0">
                  <a:moveTo>
                    <a:pt x="5186" y="31637"/>
                  </a:moveTo>
                  <a:lnTo>
                    <a:pt x="288" y="29606"/>
                  </a:lnTo>
                  <a:lnTo>
                    <a:pt x="0" y="24671"/>
                  </a:lnTo>
                  <a:lnTo>
                    <a:pt x="1440" y="25542"/>
                  </a:lnTo>
                  <a:lnTo>
                    <a:pt x="2016" y="25832"/>
                  </a:lnTo>
                  <a:lnTo>
                    <a:pt x="2881" y="26122"/>
                  </a:lnTo>
                  <a:lnTo>
                    <a:pt x="17575" y="31347"/>
                  </a:lnTo>
                  <a:lnTo>
                    <a:pt x="19592" y="32218"/>
                  </a:lnTo>
                  <a:lnTo>
                    <a:pt x="20456" y="31347"/>
                  </a:lnTo>
                  <a:lnTo>
                    <a:pt x="21609" y="29606"/>
                  </a:lnTo>
                  <a:lnTo>
                    <a:pt x="25354" y="22639"/>
                  </a:lnTo>
                  <a:lnTo>
                    <a:pt x="29388" y="15964"/>
                  </a:lnTo>
                  <a:lnTo>
                    <a:pt x="35151" y="10739"/>
                  </a:lnTo>
                  <a:lnTo>
                    <a:pt x="35727" y="10449"/>
                  </a:lnTo>
                  <a:lnTo>
                    <a:pt x="36015" y="9578"/>
                  </a:lnTo>
                  <a:lnTo>
                    <a:pt x="36591" y="8997"/>
                  </a:lnTo>
                  <a:lnTo>
                    <a:pt x="33998" y="8127"/>
                  </a:lnTo>
                  <a:lnTo>
                    <a:pt x="31693" y="7256"/>
                  </a:lnTo>
                  <a:lnTo>
                    <a:pt x="29388" y="6675"/>
                  </a:lnTo>
                  <a:lnTo>
                    <a:pt x="32846" y="3192"/>
                  </a:lnTo>
                  <a:lnTo>
                    <a:pt x="36303" y="4063"/>
                  </a:lnTo>
                  <a:lnTo>
                    <a:pt x="48899" y="5987"/>
                  </a:lnTo>
                  <a:lnTo>
                    <a:pt x="61439" y="6155"/>
                  </a:lnTo>
                  <a:lnTo>
                    <a:pt x="67997" y="5514"/>
                  </a:lnTo>
                  <a:lnTo>
                    <a:pt x="74912" y="4934"/>
                  </a:lnTo>
                  <a:lnTo>
                    <a:pt x="81827" y="3483"/>
                  </a:lnTo>
                  <a:lnTo>
                    <a:pt x="88166" y="0"/>
                  </a:lnTo>
                  <a:lnTo>
                    <a:pt x="87013" y="4353"/>
                  </a:lnTo>
                  <a:lnTo>
                    <a:pt x="82403" y="7256"/>
                  </a:lnTo>
                  <a:lnTo>
                    <a:pt x="77505" y="8997"/>
                  </a:lnTo>
                  <a:lnTo>
                    <a:pt x="77505" y="9578"/>
                  </a:lnTo>
                  <a:lnTo>
                    <a:pt x="80386" y="19156"/>
                  </a:lnTo>
                  <a:lnTo>
                    <a:pt x="76352" y="14222"/>
                  </a:lnTo>
                  <a:lnTo>
                    <a:pt x="74336" y="12190"/>
                  </a:lnTo>
                  <a:lnTo>
                    <a:pt x="72031" y="8707"/>
                  </a:lnTo>
                  <a:lnTo>
                    <a:pt x="68573" y="9868"/>
                  </a:lnTo>
                  <a:lnTo>
                    <a:pt x="65692" y="10158"/>
                  </a:lnTo>
                  <a:lnTo>
                    <a:pt x="63387" y="10449"/>
                  </a:lnTo>
                  <a:lnTo>
                    <a:pt x="61082" y="10739"/>
                  </a:lnTo>
                  <a:lnTo>
                    <a:pt x="60217" y="11029"/>
                  </a:lnTo>
                  <a:lnTo>
                    <a:pt x="59065" y="11900"/>
                  </a:lnTo>
                  <a:lnTo>
                    <a:pt x="59065" y="12771"/>
                  </a:lnTo>
                  <a:lnTo>
                    <a:pt x="58777" y="20027"/>
                  </a:lnTo>
                  <a:lnTo>
                    <a:pt x="58777" y="27284"/>
                  </a:lnTo>
                  <a:lnTo>
                    <a:pt x="59065" y="34540"/>
                  </a:lnTo>
                  <a:lnTo>
                    <a:pt x="59065" y="35411"/>
                  </a:lnTo>
                  <a:lnTo>
                    <a:pt x="60217" y="36572"/>
                  </a:lnTo>
                  <a:lnTo>
                    <a:pt x="59641" y="40926"/>
                  </a:lnTo>
                  <a:lnTo>
                    <a:pt x="58777" y="41506"/>
                  </a:lnTo>
                  <a:lnTo>
                    <a:pt x="58777" y="44118"/>
                  </a:lnTo>
                  <a:lnTo>
                    <a:pt x="59065" y="44699"/>
                  </a:lnTo>
                  <a:lnTo>
                    <a:pt x="58777" y="45279"/>
                  </a:lnTo>
                  <a:lnTo>
                    <a:pt x="58201" y="45860"/>
                  </a:lnTo>
                  <a:lnTo>
                    <a:pt x="57624" y="46731"/>
                  </a:lnTo>
                  <a:lnTo>
                    <a:pt x="57048" y="47311"/>
                  </a:lnTo>
                  <a:lnTo>
                    <a:pt x="56472" y="11319"/>
                  </a:lnTo>
                  <a:lnTo>
                    <a:pt x="54743" y="9288"/>
                  </a:lnTo>
                  <a:lnTo>
                    <a:pt x="54803" y="11109"/>
                  </a:lnTo>
                  <a:lnTo>
                    <a:pt x="47252" y="10158"/>
                  </a:lnTo>
                  <a:lnTo>
                    <a:pt x="44371" y="9868"/>
                  </a:lnTo>
                  <a:lnTo>
                    <a:pt x="42066" y="10158"/>
                  </a:lnTo>
                  <a:lnTo>
                    <a:pt x="39761" y="12190"/>
                  </a:lnTo>
                  <a:lnTo>
                    <a:pt x="33998" y="17125"/>
                  </a:lnTo>
                  <a:lnTo>
                    <a:pt x="29964" y="23220"/>
                  </a:lnTo>
                  <a:lnTo>
                    <a:pt x="26219" y="29896"/>
                  </a:lnTo>
                  <a:lnTo>
                    <a:pt x="24778" y="33089"/>
                  </a:lnTo>
                  <a:lnTo>
                    <a:pt x="24778" y="33379"/>
                  </a:lnTo>
                  <a:lnTo>
                    <a:pt x="28236" y="33959"/>
                  </a:lnTo>
                  <a:lnTo>
                    <a:pt x="36303" y="34830"/>
                  </a:lnTo>
                  <a:lnTo>
                    <a:pt x="44659" y="35701"/>
                  </a:lnTo>
                  <a:lnTo>
                    <a:pt x="52726" y="36572"/>
                  </a:lnTo>
                  <a:lnTo>
                    <a:pt x="54455" y="40926"/>
                  </a:lnTo>
                  <a:lnTo>
                    <a:pt x="54455" y="41216"/>
                  </a:lnTo>
                  <a:lnTo>
                    <a:pt x="50133" y="40635"/>
                  </a:lnTo>
                  <a:lnTo>
                    <a:pt x="41778" y="40055"/>
                  </a:lnTo>
                  <a:lnTo>
                    <a:pt x="33422" y="38894"/>
                  </a:lnTo>
                  <a:lnTo>
                    <a:pt x="25354" y="37733"/>
                  </a:lnTo>
                  <a:lnTo>
                    <a:pt x="23338" y="37152"/>
                  </a:lnTo>
                  <a:lnTo>
                    <a:pt x="22185" y="37733"/>
                  </a:lnTo>
                  <a:lnTo>
                    <a:pt x="21609" y="39765"/>
                  </a:lnTo>
                  <a:lnTo>
                    <a:pt x="21033" y="41506"/>
                  </a:lnTo>
                  <a:lnTo>
                    <a:pt x="20168" y="43248"/>
                  </a:lnTo>
                  <a:lnTo>
                    <a:pt x="19592" y="44989"/>
                  </a:lnTo>
                  <a:lnTo>
                    <a:pt x="18728" y="47601"/>
                  </a:lnTo>
                  <a:lnTo>
                    <a:pt x="18439" y="36281"/>
                  </a:lnTo>
                  <a:lnTo>
                    <a:pt x="18439" y="35991"/>
                  </a:lnTo>
                  <a:lnTo>
                    <a:pt x="18354" y="36250"/>
                  </a:lnTo>
                  <a:lnTo>
                    <a:pt x="15270" y="35120"/>
                  </a:lnTo>
                  <a:lnTo>
                    <a:pt x="10084" y="33379"/>
                  </a:lnTo>
                  <a:lnTo>
                    <a:pt x="5186" y="31637"/>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7" name="Google Shape;1927;p13"/>
            <p:cNvSpPr/>
            <p:nvPr/>
          </p:nvSpPr>
          <p:spPr>
            <a:xfrm>
              <a:off x="659888" y="7003934"/>
              <a:ext cx="4321" cy="36201"/>
            </a:xfrm>
            <a:custGeom>
              <a:avLst/>
              <a:gdLst/>
              <a:ahLst/>
              <a:cxnLst/>
              <a:rect l="l" t="t" r="r" b="b"/>
              <a:pathLst>
                <a:path w="4321" h="36201" extrusionOk="0">
                  <a:moveTo>
                    <a:pt x="2305" y="23140"/>
                  </a:moveTo>
                  <a:lnTo>
                    <a:pt x="2305" y="6885"/>
                  </a:lnTo>
                  <a:lnTo>
                    <a:pt x="2077" y="0"/>
                  </a:lnTo>
                  <a:lnTo>
                    <a:pt x="3745" y="210"/>
                  </a:lnTo>
                  <a:lnTo>
                    <a:pt x="4321" y="36201"/>
                  </a:lnTo>
                  <a:lnTo>
                    <a:pt x="3457" y="35621"/>
                  </a:lnTo>
                  <a:lnTo>
                    <a:pt x="2593" y="35040"/>
                  </a:lnTo>
                  <a:lnTo>
                    <a:pt x="2305" y="34170"/>
                  </a:lnTo>
                  <a:lnTo>
                    <a:pt x="1728" y="29816"/>
                  </a:lnTo>
                  <a:lnTo>
                    <a:pt x="0" y="25462"/>
                  </a:lnTo>
                  <a:lnTo>
                    <a:pt x="2016" y="25752"/>
                  </a:lnTo>
                  <a:lnTo>
                    <a:pt x="2305" y="24591"/>
                  </a:lnTo>
                  <a:lnTo>
                    <a:pt x="2305" y="2314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8" name="Google Shape;1928;p13"/>
            <p:cNvSpPr/>
            <p:nvPr/>
          </p:nvSpPr>
          <p:spPr>
            <a:xfrm>
              <a:off x="556451" y="6981012"/>
              <a:ext cx="214940" cy="59704"/>
            </a:xfrm>
            <a:custGeom>
              <a:avLst/>
              <a:gdLst/>
              <a:ahLst/>
              <a:cxnLst/>
              <a:rect l="l" t="t" r="r" b="b"/>
              <a:pathLst>
                <a:path w="214940" h="59704" extrusionOk="0">
                  <a:moveTo>
                    <a:pt x="126553" y="50863"/>
                  </a:moveTo>
                  <a:lnTo>
                    <a:pt x="113942" y="52291"/>
                  </a:lnTo>
                  <a:lnTo>
                    <a:pt x="112368" y="52447"/>
                  </a:lnTo>
                  <a:lnTo>
                    <a:pt x="110351" y="52737"/>
                  </a:lnTo>
                  <a:lnTo>
                    <a:pt x="110927" y="48384"/>
                  </a:lnTo>
                  <a:lnTo>
                    <a:pt x="111792" y="48384"/>
                  </a:lnTo>
                  <a:lnTo>
                    <a:pt x="119859" y="47513"/>
                  </a:lnTo>
                  <a:lnTo>
                    <a:pt x="128215" y="46642"/>
                  </a:lnTo>
                  <a:lnTo>
                    <a:pt x="136570" y="45481"/>
                  </a:lnTo>
                  <a:lnTo>
                    <a:pt x="139452" y="45191"/>
                  </a:lnTo>
                  <a:lnTo>
                    <a:pt x="139740" y="44320"/>
                  </a:lnTo>
                  <a:lnTo>
                    <a:pt x="138299" y="41998"/>
                  </a:lnTo>
                  <a:lnTo>
                    <a:pt x="134554" y="36483"/>
                  </a:lnTo>
                  <a:lnTo>
                    <a:pt x="131096" y="30968"/>
                  </a:lnTo>
                  <a:lnTo>
                    <a:pt x="128215" y="21390"/>
                  </a:lnTo>
                  <a:lnTo>
                    <a:pt x="128503" y="21680"/>
                  </a:lnTo>
                  <a:lnTo>
                    <a:pt x="134554" y="27776"/>
                  </a:lnTo>
                  <a:lnTo>
                    <a:pt x="139452" y="34451"/>
                  </a:lnTo>
                  <a:lnTo>
                    <a:pt x="143197" y="42288"/>
                  </a:lnTo>
                  <a:lnTo>
                    <a:pt x="143485" y="42869"/>
                  </a:lnTo>
                  <a:lnTo>
                    <a:pt x="145502" y="43449"/>
                  </a:lnTo>
                  <a:lnTo>
                    <a:pt x="146367" y="43159"/>
                  </a:lnTo>
                  <a:lnTo>
                    <a:pt x="150400" y="41998"/>
                  </a:lnTo>
                  <a:lnTo>
                    <a:pt x="154722" y="40256"/>
                  </a:lnTo>
                  <a:lnTo>
                    <a:pt x="158756" y="38805"/>
                  </a:lnTo>
                  <a:lnTo>
                    <a:pt x="160485" y="38225"/>
                  </a:lnTo>
                  <a:lnTo>
                    <a:pt x="161925" y="37644"/>
                  </a:lnTo>
                  <a:lnTo>
                    <a:pt x="163942" y="36483"/>
                  </a:lnTo>
                  <a:lnTo>
                    <a:pt x="162502" y="35032"/>
                  </a:lnTo>
                  <a:lnTo>
                    <a:pt x="161349" y="33581"/>
                  </a:lnTo>
                  <a:lnTo>
                    <a:pt x="160197" y="32710"/>
                  </a:lnTo>
                  <a:lnTo>
                    <a:pt x="154722" y="28646"/>
                  </a:lnTo>
                  <a:lnTo>
                    <a:pt x="148672" y="24583"/>
                  </a:lnTo>
                  <a:lnTo>
                    <a:pt x="143197" y="20229"/>
                  </a:lnTo>
                  <a:lnTo>
                    <a:pt x="137723" y="16165"/>
                  </a:lnTo>
                  <a:lnTo>
                    <a:pt x="138875" y="11811"/>
                  </a:lnTo>
                  <a:lnTo>
                    <a:pt x="139740" y="11521"/>
                  </a:lnTo>
                  <a:lnTo>
                    <a:pt x="140604" y="10650"/>
                  </a:lnTo>
                  <a:lnTo>
                    <a:pt x="141468" y="10070"/>
                  </a:lnTo>
                  <a:lnTo>
                    <a:pt x="141180" y="9780"/>
                  </a:lnTo>
                  <a:lnTo>
                    <a:pt x="141180" y="9199"/>
                  </a:lnTo>
                  <a:lnTo>
                    <a:pt x="128657" y="6429"/>
                  </a:lnTo>
                  <a:lnTo>
                    <a:pt x="116172" y="4926"/>
                  </a:lnTo>
                  <a:lnTo>
                    <a:pt x="103702" y="4690"/>
                  </a:lnTo>
                  <a:lnTo>
                    <a:pt x="91225" y="5721"/>
                  </a:lnTo>
                  <a:lnTo>
                    <a:pt x="78718" y="8019"/>
                  </a:lnTo>
                  <a:lnTo>
                    <a:pt x="74047" y="9199"/>
                  </a:lnTo>
                  <a:lnTo>
                    <a:pt x="74047" y="9780"/>
                  </a:lnTo>
                  <a:lnTo>
                    <a:pt x="73759" y="10070"/>
                  </a:lnTo>
                  <a:lnTo>
                    <a:pt x="74912" y="10941"/>
                  </a:lnTo>
                  <a:lnTo>
                    <a:pt x="75776" y="11811"/>
                  </a:lnTo>
                  <a:lnTo>
                    <a:pt x="76641" y="12102"/>
                  </a:lnTo>
                  <a:lnTo>
                    <a:pt x="80098" y="13553"/>
                  </a:lnTo>
                  <a:lnTo>
                    <a:pt x="83556" y="15004"/>
                  </a:lnTo>
                  <a:lnTo>
                    <a:pt x="80098" y="18487"/>
                  </a:lnTo>
                  <a:lnTo>
                    <a:pt x="78369" y="18197"/>
                  </a:lnTo>
                  <a:lnTo>
                    <a:pt x="76352" y="18197"/>
                  </a:lnTo>
                  <a:lnTo>
                    <a:pt x="74912" y="19068"/>
                  </a:lnTo>
                  <a:lnTo>
                    <a:pt x="70590" y="21100"/>
                  </a:lnTo>
                  <a:lnTo>
                    <a:pt x="66268" y="23712"/>
                  </a:lnTo>
                  <a:lnTo>
                    <a:pt x="67709" y="17907"/>
                  </a:lnTo>
                  <a:lnTo>
                    <a:pt x="69149" y="16746"/>
                  </a:lnTo>
                  <a:lnTo>
                    <a:pt x="70590" y="16165"/>
                  </a:lnTo>
                  <a:lnTo>
                    <a:pt x="72031" y="15295"/>
                  </a:lnTo>
                  <a:lnTo>
                    <a:pt x="69149" y="10941"/>
                  </a:lnTo>
                  <a:lnTo>
                    <a:pt x="68861" y="10650"/>
                  </a:lnTo>
                  <a:lnTo>
                    <a:pt x="64539" y="12392"/>
                  </a:lnTo>
                  <a:lnTo>
                    <a:pt x="59065" y="14714"/>
                  </a:lnTo>
                  <a:lnTo>
                    <a:pt x="53591" y="17036"/>
                  </a:lnTo>
                  <a:lnTo>
                    <a:pt x="48116" y="19648"/>
                  </a:lnTo>
                  <a:lnTo>
                    <a:pt x="43794" y="21970"/>
                  </a:lnTo>
                  <a:lnTo>
                    <a:pt x="40049" y="24873"/>
                  </a:lnTo>
                  <a:lnTo>
                    <a:pt x="35727" y="27195"/>
                  </a:lnTo>
                  <a:lnTo>
                    <a:pt x="35727" y="28356"/>
                  </a:lnTo>
                  <a:lnTo>
                    <a:pt x="38608" y="30098"/>
                  </a:lnTo>
                  <a:lnTo>
                    <a:pt x="41489" y="31549"/>
                  </a:lnTo>
                  <a:lnTo>
                    <a:pt x="44083" y="33290"/>
                  </a:lnTo>
                  <a:lnTo>
                    <a:pt x="46099" y="34742"/>
                  </a:lnTo>
                  <a:lnTo>
                    <a:pt x="47252" y="34161"/>
                  </a:lnTo>
                  <a:lnTo>
                    <a:pt x="48981" y="32710"/>
                  </a:lnTo>
                  <a:lnTo>
                    <a:pt x="50709" y="36483"/>
                  </a:lnTo>
                  <a:lnTo>
                    <a:pt x="50997" y="41418"/>
                  </a:lnTo>
                  <a:lnTo>
                    <a:pt x="48404" y="40256"/>
                  </a:lnTo>
                  <a:lnTo>
                    <a:pt x="46964" y="40837"/>
                  </a:lnTo>
                  <a:lnTo>
                    <a:pt x="45523" y="42869"/>
                  </a:lnTo>
                  <a:lnTo>
                    <a:pt x="42354" y="47513"/>
                  </a:lnTo>
                  <a:lnTo>
                    <a:pt x="38896" y="51867"/>
                  </a:lnTo>
                  <a:lnTo>
                    <a:pt x="36015" y="56511"/>
                  </a:lnTo>
                  <a:lnTo>
                    <a:pt x="34574" y="58833"/>
                  </a:lnTo>
                  <a:lnTo>
                    <a:pt x="32846" y="59704"/>
                  </a:lnTo>
                  <a:lnTo>
                    <a:pt x="29676" y="58833"/>
                  </a:lnTo>
                  <a:lnTo>
                    <a:pt x="31693" y="55060"/>
                  </a:lnTo>
                  <a:lnTo>
                    <a:pt x="33998" y="51576"/>
                  </a:lnTo>
                  <a:lnTo>
                    <a:pt x="36015" y="48384"/>
                  </a:lnTo>
                  <a:lnTo>
                    <a:pt x="38320" y="44901"/>
                  </a:lnTo>
                  <a:lnTo>
                    <a:pt x="40913" y="41708"/>
                  </a:lnTo>
                  <a:lnTo>
                    <a:pt x="43506" y="38225"/>
                  </a:lnTo>
                  <a:lnTo>
                    <a:pt x="39761" y="35903"/>
                  </a:lnTo>
                  <a:lnTo>
                    <a:pt x="36303" y="33581"/>
                  </a:lnTo>
                  <a:lnTo>
                    <a:pt x="32558" y="31549"/>
                  </a:lnTo>
                  <a:lnTo>
                    <a:pt x="29964" y="31839"/>
                  </a:lnTo>
                  <a:lnTo>
                    <a:pt x="29100" y="32420"/>
                  </a:lnTo>
                  <a:lnTo>
                    <a:pt x="19712" y="40882"/>
                  </a:lnTo>
                  <a:lnTo>
                    <a:pt x="11231" y="50354"/>
                  </a:lnTo>
                  <a:lnTo>
                    <a:pt x="6338" y="56801"/>
                  </a:lnTo>
                  <a:lnTo>
                    <a:pt x="4898" y="59123"/>
                  </a:lnTo>
                  <a:lnTo>
                    <a:pt x="2881" y="59704"/>
                  </a:lnTo>
                  <a:lnTo>
                    <a:pt x="7292" y="48267"/>
                  </a:lnTo>
                  <a:lnTo>
                    <a:pt x="15767" y="38893"/>
                  </a:lnTo>
                  <a:lnTo>
                    <a:pt x="26896" y="28754"/>
                  </a:lnTo>
                  <a:lnTo>
                    <a:pt x="37316" y="21001"/>
                  </a:lnTo>
                  <a:lnTo>
                    <a:pt x="48269" y="14416"/>
                  </a:lnTo>
                  <a:lnTo>
                    <a:pt x="59769" y="9027"/>
                  </a:lnTo>
                  <a:lnTo>
                    <a:pt x="71826" y="4866"/>
                  </a:lnTo>
                  <a:lnTo>
                    <a:pt x="84453" y="1961"/>
                  </a:lnTo>
                  <a:lnTo>
                    <a:pt x="92776" y="782"/>
                  </a:lnTo>
                  <a:lnTo>
                    <a:pt x="108866" y="0"/>
                  </a:lnTo>
                  <a:lnTo>
                    <a:pt x="123980" y="976"/>
                  </a:lnTo>
                  <a:lnTo>
                    <a:pt x="138106" y="3522"/>
                  </a:lnTo>
                  <a:lnTo>
                    <a:pt x="151235" y="7447"/>
                  </a:lnTo>
                  <a:lnTo>
                    <a:pt x="163358" y="12563"/>
                  </a:lnTo>
                  <a:lnTo>
                    <a:pt x="151553" y="12682"/>
                  </a:lnTo>
                  <a:lnTo>
                    <a:pt x="148095" y="10650"/>
                  </a:lnTo>
                  <a:lnTo>
                    <a:pt x="145214" y="11231"/>
                  </a:lnTo>
                  <a:lnTo>
                    <a:pt x="142621" y="15295"/>
                  </a:lnTo>
                  <a:lnTo>
                    <a:pt x="153509" y="21944"/>
                  </a:lnTo>
                  <a:lnTo>
                    <a:pt x="163392" y="29910"/>
                  </a:lnTo>
                  <a:lnTo>
                    <a:pt x="167112" y="33290"/>
                  </a:lnTo>
                  <a:lnTo>
                    <a:pt x="167688" y="33871"/>
                  </a:lnTo>
                  <a:lnTo>
                    <a:pt x="169417" y="33871"/>
                  </a:lnTo>
                  <a:lnTo>
                    <a:pt x="169993" y="33581"/>
                  </a:lnTo>
                  <a:lnTo>
                    <a:pt x="172586" y="32420"/>
                  </a:lnTo>
                  <a:lnTo>
                    <a:pt x="174891" y="30968"/>
                  </a:lnTo>
                  <a:lnTo>
                    <a:pt x="177196" y="29517"/>
                  </a:lnTo>
                  <a:lnTo>
                    <a:pt x="179501" y="28066"/>
                  </a:lnTo>
                  <a:lnTo>
                    <a:pt x="184540" y="25610"/>
                  </a:lnTo>
                  <a:lnTo>
                    <a:pt x="193580" y="33161"/>
                  </a:lnTo>
                  <a:lnTo>
                    <a:pt x="201572" y="41146"/>
                  </a:lnTo>
                  <a:lnTo>
                    <a:pt x="208507" y="49375"/>
                  </a:lnTo>
                  <a:lnTo>
                    <a:pt x="214374" y="57658"/>
                  </a:lnTo>
                  <a:lnTo>
                    <a:pt x="214940" y="58543"/>
                  </a:lnTo>
                  <a:lnTo>
                    <a:pt x="212923" y="59704"/>
                  </a:lnTo>
                  <a:lnTo>
                    <a:pt x="210907" y="59704"/>
                  </a:lnTo>
                  <a:lnTo>
                    <a:pt x="209466" y="57672"/>
                  </a:lnTo>
                  <a:lnTo>
                    <a:pt x="205432" y="52737"/>
                  </a:lnTo>
                  <a:lnTo>
                    <a:pt x="201687" y="47513"/>
                  </a:lnTo>
                  <a:lnTo>
                    <a:pt x="197077" y="42869"/>
                  </a:lnTo>
                  <a:lnTo>
                    <a:pt x="193331" y="38805"/>
                  </a:lnTo>
                  <a:lnTo>
                    <a:pt x="189009" y="35032"/>
                  </a:lnTo>
                  <a:lnTo>
                    <a:pt x="184687" y="31549"/>
                  </a:lnTo>
                  <a:lnTo>
                    <a:pt x="184111" y="30968"/>
                  </a:lnTo>
                  <a:lnTo>
                    <a:pt x="182382" y="31259"/>
                  </a:lnTo>
                  <a:lnTo>
                    <a:pt x="181806" y="31839"/>
                  </a:lnTo>
                  <a:lnTo>
                    <a:pt x="179213" y="33000"/>
                  </a:lnTo>
                  <a:lnTo>
                    <a:pt x="176620" y="34742"/>
                  </a:lnTo>
                  <a:lnTo>
                    <a:pt x="174027" y="36193"/>
                  </a:lnTo>
                  <a:lnTo>
                    <a:pt x="171433" y="37934"/>
                  </a:lnTo>
                  <a:lnTo>
                    <a:pt x="171433" y="38225"/>
                  </a:lnTo>
                  <a:lnTo>
                    <a:pt x="173162" y="40547"/>
                  </a:lnTo>
                  <a:lnTo>
                    <a:pt x="176908" y="45771"/>
                  </a:lnTo>
                  <a:lnTo>
                    <a:pt x="180365" y="50706"/>
                  </a:lnTo>
                  <a:lnTo>
                    <a:pt x="183823" y="55930"/>
                  </a:lnTo>
                  <a:lnTo>
                    <a:pt x="184399" y="56801"/>
                  </a:lnTo>
                  <a:lnTo>
                    <a:pt x="184687" y="57672"/>
                  </a:lnTo>
                  <a:lnTo>
                    <a:pt x="185263" y="58833"/>
                  </a:lnTo>
                  <a:lnTo>
                    <a:pt x="182382" y="59704"/>
                  </a:lnTo>
                  <a:lnTo>
                    <a:pt x="180942" y="59123"/>
                  </a:lnTo>
                  <a:lnTo>
                    <a:pt x="179501" y="57091"/>
                  </a:lnTo>
                  <a:lnTo>
                    <a:pt x="176332" y="52157"/>
                  </a:lnTo>
                  <a:lnTo>
                    <a:pt x="172874" y="47513"/>
                  </a:lnTo>
                  <a:lnTo>
                    <a:pt x="169417" y="42579"/>
                  </a:lnTo>
                  <a:lnTo>
                    <a:pt x="168264" y="40547"/>
                  </a:lnTo>
                  <a:lnTo>
                    <a:pt x="166535" y="40256"/>
                  </a:lnTo>
                  <a:lnTo>
                    <a:pt x="164230" y="41127"/>
                  </a:lnTo>
                  <a:lnTo>
                    <a:pt x="159044" y="43449"/>
                  </a:lnTo>
                  <a:lnTo>
                    <a:pt x="153858" y="45191"/>
                  </a:lnTo>
                  <a:lnTo>
                    <a:pt x="148672" y="46932"/>
                  </a:lnTo>
                  <a:lnTo>
                    <a:pt x="146367" y="47513"/>
                  </a:lnTo>
                  <a:lnTo>
                    <a:pt x="146079" y="48384"/>
                  </a:lnTo>
                  <a:lnTo>
                    <a:pt x="146943" y="50415"/>
                  </a:lnTo>
                  <a:lnTo>
                    <a:pt x="147807" y="52157"/>
                  </a:lnTo>
                  <a:lnTo>
                    <a:pt x="148672" y="54189"/>
                  </a:lnTo>
                  <a:lnTo>
                    <a:pt x="149248" y="55930"/>
                  </a:lnTo>
                  <a:lnTo>
                    <a:pt x="149248" y="58833"/>
                  </a:lnTo>
                  <a:lnTo>
                    <a:pt x="148672" y="59123"/>
                  </a:lnTo>
                  <a:lnTo>
                    <a:pt x="147231" y="59704"/>
                  </a:lnTo>
                  <a:lnTo>
                    <a:pt x="145790" y="59413"/>
                  </a:lnTo>
                  <a:lnTo>
                    <a:pt x="145214" y="57672"/>
                  </a:lnTo>
                  <a:lnTo>
                    <a:pt x="144350" y="55350"/>
                  </a:lnTo>
                  <a:lnTo>
                    <a:pt x="143485" y="53318"/>
                  </a:lnTo>
                  <a:lnTo>
                    <a:pt x="142621" y="50996"/>
                  </a:lnTo>
                  <a:lnTo>
                    <a:pt x="142045" y="49254"/>
                  </a:lnTo>
                  <a:lnTo>
                    <a:pt x="141180" y="48964"/>
                  </a:lnTo>
                  <a:lnTo>
                    <a:pt x="139164" y="49254"/>
                  </a:lnTo>
                  <a:lnTo>
                    <a:pt x="126553" y="50863"/>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9" name="Google Shape;1929;p13"/>
            <p:cNvSpPr/>
            <p:nvPr/>
          </p:nvSpPr>
          <p:spPr>
            <a:xfrm>
              <a:off x="621567" y="7029075"/>
              <a:ext cx="4321" cy="11641"/>
            </a:xfrm>
            <a:custGeom>
              <a:avLst/>
              <a:gdLst/>
              <a:ahLst/>
              <a:cxnLst/>
              <a:rect l="l" t="t" r="r" b="b"/>
              <a:pathLst>
                <a:path w="4321" h="11641" extrusionOk="0">
                  <a:moveTo>
                    <a:pt x="864" y="8158"/>
                  </a:moveTo>
                  <a:lnTo>
                    <a:pt x="1728" y="5546"/>
                  </a:lnTo>
                  <a:lnTo>
                    <a:pt x="2881" y="3224"/>
                  </a:lnTo>
                  <a:lnTo>
                    <a:pt x="3948" y="0"/>
                  </a:lnTo>
                  <a:lnTo>
                    <a:pt x="4321" y="11351"/>
                  </a:lnTo>
                  <a:lnTo>
                    <a:pt x="2593" y="11641"/>
                  </a:lnTo>
                  <a:lnTo>
                    <a:pt x="0" y="10770"/>
                  </a:lnTo>
                  <a:lnTo>
                    <a:pt x="864" y="8158"/>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30" name="Google Shape;1930;p13"/>
            <p:cNvSpPr/>
            <p:nvPr/>
          </p:nvSpPr>
          <p:spPr>
            <a:xfrm>
              <a:off x="605432" y="6998920"/>
              <a:ext cx="18728" cy="18576"/>
            </a:xfrm>
            <a:custGeom>
              <a:avLst/>
              <a:gdLst/>
              <a:ahLst/>
              <a:cxnLst/>
              <a:rect l="l" t="t" r="r" b="b"/>
              <a:pathLst>
                <a:path w="18728" h="18576" extrusionOk="0">
                  <a:moveTo>
                    <a:pt x="6050" y="9578"/>
                  </a:moveTo>
                  <a:lnTo>
                    <a:pt x="12389" y="4934"/>
                  </a:lnTo>
                  <a:lnTo>
                    <a:pt x="18728" y="0"/>
                  </a:lnTo>
                  <a:lnTo>
                    <a:pt x="17287" y="5805"/>
                  </a:lnTo>
                  <a:lnTo>
                    <a:pt x="13541" y="8707"/>
                  </a:lnTo>
                  <a:lnTo>
                    <a:pt x="9508" y="11610"/>
                  </a:lnTo>
                  <a:lnTo>
                    <a:pt x="6050" y="15093"/>
                  </a:lnTo>
                  <a:lnTo>
                    <a:pt x="1728" y="18576"/>
                  </a:lnTo>
                  <a:lnTo>
                    <a:pt x="0" y="14803"/>
                  </a:lnTo>
                  <a:lnTo>
                    <a:pt x="6050" y="9578"/>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31" name="Google Shape;1931;p13"/>
            <p:cNvSpPr/>
            <p:nvPr/>
          </p:nvSpPr>
          <p:spPr>
            <a:xfrm>
              <a:off x="557676" y="7208821"/>
              <a:ext cx="38639" cy="56841"/>
            </a:xfrm>
            <a:custGeom>
              <a:avLst/>
              <a:gdLst/>
              <a:ahLst/>
              <a:cxnLst/>
              <a:rect l="l" t="t" r="r" b="b"/>
              <a:pathLst>
                <a:path w="38639" h="56841" extrusionOk="0">
                  <a:moveTo>
                    <a:pt x="36082" y="7751"/>
                  </a:moveTo>
                  <a:lnTo>
                    <a:pt x="37503" y="10334"/>
                  </a:lnTo>
                  <a:lnTo>
                    <a:pt x="38355" y="13205"/>
                  </a:lnTo>
                  <a:lnTo>
                    <a:pt x="38355" y="19808"/>
                  </a:lnTo>
                  <a:lnTo>
                    <a:pt x="37503" y="22966"/>
                  </a:lnTo>
                  <a:lnTo>
                    <a:pt x="35798" y="26124"/>
                  </a:lnTo>
                  <a:lnTo>
                    <a:pt x="34093" y="29282"/>
                  </a:lnTo>
                  <a:lnTo>
                    <a:pt x="31252" y="32726"/>
                  </a:lnTo>
                  <a:lnTo>
                    <a:pt x="26706" y="36171"/>
                  </a:lnTo>
                  <a:lnTo>
                    <a:pt x="24149" y="38468"/>
                  </a:lnTo>
                  <a:lnTo>
                    <a:pt x="22445" y="39903"/>
                  </a:lnTo>
                  <a:lnTo>
                    <a:pt x="21592" y="40765"/>
                  </a:lnTo>
                  <a:lnTo>
                    <a:pt x="20740" y="41626"/>
                  </a:lnTo>
                  <a:lnTo>
                    <a:pt x="19603" y="42774"/>
                  </a:lnTo>
                  <a:lnTo>
                    <a:pt x="18467" y="44210"/>
                  </a:lnTo>
                  <a:lnTo>
                    <a:pt x="38639" y="44210"/>
                  </a:lnTo>
                  <a:lnTo>
                    <a:pt x="38639" y="56841"/>
                  </a:lnTo>
                  <a:lnTo>
                    <a:pt x="0" y="56841"/>
                  </a:lnTo>
                  <a:lnTo>
                    <a:pt x="568" y="52248"/>
                  </a:lnTo>
                  <a:lnTo>
                    <a:pt x="1704" y="47942"/>
                  </a:lnTo>
                  <a:lnTo>
                    <a:pt x="3977" y="43922"/>
                  </a:lnTo>
                  <a:lnTo>
                    <a:pt x="6250" y="39903"/>
                  </a:lnTo>
                  <a:lnTo>
                    <a:pt x="10512" y="35023"/>
                  </a:lnTo>
                  <a:lnTo>
                    <a:pt x="16762" y="29569"/>
                  </a:lnTo>
                  <a:lnTo>
                    <a:pt x="20456" y="26124"/>
                  </a:lnTo>
                  <a:lnTo>
                    <a:pt x="22729" y="23540"/>
                  </a:lnTo>
                  <a:lnTo>
                    <a:pt x="23865" y="21817"/>
                  </a:lnTo>
                  <a:lnTo>
                    <a:pt x="25002" y="20095"/>
                  </a:lnTo>
                  <a:lnTo>
                    <a:pt x="25570" y="18373"/>
                  </a:lnTo>
                  <a:lnTo>
                    <a:pt x="25570" y="15215"/>
                  </a:lnTo>
                  <a:lnTo>
                    <a:pt x="25002" y="13779"/>
                  </a:lnTo>
                  <a:lnTo>
                    <a:pt x="23865" y="12344"/>
                  </a:lnTo>
                  <a:lnTo>
                    <a:pt x="23013" y="11196"/>
                  </a:lnTo>
                  <a:lnTo>
                    <a:pt x="21592" y="10621"/>
                  </a:lnTo>
                  <a:lnTo>
                    <a:pt x="18467" y="10621"/>
                  </a:lnTo>
                  <a:lnTo>
                    <a:pt x="17046" y="11196"/>
                  </a:lnTo>
                  <a:lnTo>
                    <a:pt x="15910" y="12631"/>
                  </a:lnTo>
                  <a:lnTo>
                    <a:pt x="14774" y="13779"/>
                  </a:lnTo>
                  <a:lnTo>
                    <a:pt x="14205" y="16076"/>
                  </a:lnTo>
                  <a:lnTo>
                    <a:pt x="13921" y="19234"/>
                  </a:lnTo>
                  <a:lnTo>
                    <a:pt x="852" y="17798"/>
                  </a:lnTo>
                  <a:lnTo>
                    <a:pt x="1420" y="13492"/>
                  </a:lnTo>
                  <a:lnTo>
                    <a:pt x="2272" y="10047"/>
                  </a:lnTo>
                  <a:lnTo>
                    <a:pt x="3693" y="7751"/>
                  </a:lnTo>
                  <a:lnTo>
                    <a:pt x="5114" y="5167"/>
                  </a:lnTo>
                  <a:lnTo>
                    <a:pt x="7102" y="3444"/>
                  </a:lnTo>
                  <a:lnTo>
                    <a:pt x="9375" y="2009"/>
                  </a:lnTo>
                  <a:lnTo>
                    <a:pt x="11932" y="574"/>
                  </a:lnTo>
                  <a:lnTo>
                    <a:pt x="15342" y="0"/>
                  </a:lnTo>
                  <a:lnTo>
                    <a:pt x="24149" y="0"/>
                  </a:lnTo>
                  <a:lnTo>
                    <a:pt x="27559" y="574"/>
                  </a:lnTo>
                  <a:lnTo>
                    <a:pt x="30116" y="2009"/>
                  </a:lnTo>
                  <a:lnTo>
                    <a:pt x="32673" y="3157"/>
                  </a:lnTo>
                  <a:lnTo>
                    <a:pt x="34662" y="5167"/>
                  </a:lnTo>
                  <a:lnTo>
                    <a:pt x="36082" y="775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32" name="Google Shape;1932;p13"/>
            <p:cNvSpPr/>
            <p:nvPr/>
          </p:nvSpPr>
          <p:spPr>
            <a:xfrm>
              <a:off x="602355" y="7210026"/>
              <a:ext cx="37432" cy="55631"/>
            </a:xfrm>
            <a:custGeom>
              <a:avLst/>
              <a:gdLst/>
              <a:ahLst/>
              <a:cxnLst/>
              <a:rect l="l" t="t" r="r" b="b"/>
              <a:pathLst>
                <a:path w="37432" h="55631" extrusionOk="0">
                  <a:moveTo>
                    <a:pt x="22796" y="13123"/>
                  </a:moveTo>
                  <a:lnTo>
                    <a:pt x="0" y="13123"/>
                  </a:lnTo>
                  <a:lnTo>
                    <a:pt x="0" y="0"/>
                  </a:lnTo>
                  <a:lnTo>
                    <a:pt x="37432" y="0"/>
                  </a:lnTo>
                  <a:lnTo>
                    <a:pt x="37432" y="10555"/>
                  </a:lnTo>
                  <a:lnTo>
                    <a:pt x="34054" y="13979"/>
                  </a:lnTo>
                  <a:lnTo>
                    <a:pt x="31240" y="17973"/>
                  </a:lnTo>
                  <a:lnTo>
                    <a:pt x="29270" y="21967"/>
                  </a:lnTo>
                  <a:lnTo>
                    <a:pt x="26455" y="27102"/>
                  </a:lnTo>
                  <a:lnTo>
                    <a:pt x="24485" y="32523"/>
                  </a:lnTo>
                  <a:lnTo>
                    <a:pt x="23078" y="38799"/>
                  </a:lnTo>
                  <a:lnTo>
                    <a:pt x="21671" y="43649"/>
                  </a:lnTo>
                  <a:lnTo>
                    <a:pt x="20826" y="49070"/>
                  </a:lnTo>
                  <a:lnTo>
                    <a:pt x="20545" y="55631"/>
                  </a:lnTo>
                  <a:lnTo>
                    <a:pt x="7880" y="55631"/>
                  </a:lnTo>
                  <a:lnTo>
                    <a:pt x="8724" y="46502"/>
                  </a:lnTo>
                  <a:lnTo>
                    <a:pt x="10413" y="39084"/>
                  </a:lnTo>
                  <a:lnTo>
                    <a:pt x="12664" y="32808"/>
                  </a:lnTo>
                  <a:lnTo>
                    <a:pt x="14635" y="26817"/>
                  </a:lnTo>
                  <a:lnTo>
                    <a:pt x="18012" y="20255"/>
                  </a:lnTo>
                  <a:lnTo>
                    <a:pt x="22796" y="1312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33" name="Google Shape;1933;p13"/>
            <p:cNvSpPr/>
            <p:nvPr/>
          </p:nvSpPr>
          <p:spPr>
            <a:xfrm>
              <a:off x="664997" y="7208812"/>
              <a:ext cx="6101" cy="14081"/>
            </a:xfrm>
            <a:custGeom>
              <a:avLst/>
              <a:gdLst/>
              <a:ahLst/>
              <a:cxnLst/>
              <a:rect l="l" t="t" r="r" b="b"/>
              <a:pathLst>
                <a:path w="6101" h="14081" extrusionOk="0">
                  <a:moveTo>
                    <a:pt x="0" y="10345"/>
                  </a:moveTo>
                  <a:lnTo>
                    <a:pt x="290" y="0"/>
                  </a:lnTo>
                  <a:lnTo>
                    <a:pt x="3486" y="0"/>
                  </a:lnTo>
                  <a:lnTo>
                    <a:pt x="6101" y="574"/>
                  </a:lnTo>
                  <a:lnTo>
                    <a:pt x="4648" y="14081"/>
                  </a:lnTo>
                  <a:lnTo>
                    <a:pt x="3776" y="11782"/>
                  </a:lnTo>
                  <a:lnTo>
                    <a:pt x="2033" y="10345"/>
                  </a:lnTo>
                  <a:lnTo>
                    <a:pt x="0" y="1034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34" name="Google Shape;1934;p13"/>
            <p:cNvSpPr/>
            <p:nvPr/>
          </p:nvSpPr>
          <p:spPr>
            <a:xfrm>
              <a:off x="645823" y="7208812"/>
              <a:ext cx="38639" cy="58050"/>
            </a:xfrm>
            <a:custGeom>
              <a:avLst/>
              <a:gdLst/>
              <a:ahLst/>
              <a:cxnLst/>
              <a:rect l="l" t="t" r="r" b="b"/>
              <a:pathLst>
                <a:path w="38639" h="58050" extrusionOk="0">
                  <a:moveTo>
                    <a:pt x="13364" y="16955"/>
                  </a:moveTo>
                  <a:lnTo>
                    <a:pt x="13073" y="21840"/>
                  </a:lnTo>
                  <a:lnTo>
                    <a:pt x="13073" y="35922"/>
                  </a:lnTo>
                  <a:lnTo>
                    <a:pt x="13364" y="40807"/>
                  </a:lnTo>
                  <a:lnTo>
                    <a:pt x="14526" y="43394"/>
                  </a:lnTo>
                  <a:lnTo>
                    <a:pt x="15688" y="45980"/>
                  </a:lnTo>
                  <a:lnTo>
                    <a:pt x="17140" y="47417"/>
                  </a:lnTo>
                  <a:lnTo>
                    <a:pt x="20627" y="47417"/>
                  </a:lnTo>
                  <a:lnTo>
                    <a:pt x="21789" y="46842"/>
                  </a:lnTo>
                  <a:lnTo>
                    <a:pt x="22660" y="45693"/>
                  </a:lnTo>
                  <a:lnTo>
                    <a:pt x="23532" y="44543"/>
                  </a:lnTo>
                  <a:lnTo>
                    <a:pt x="24404" y="42819"/>
                  </a:lnTo>
                  <a:lnTo>
                    <a:pt x="24694" y="40520"/>
                  </a:lnTo>
                  <a:lnTo>
                    <a:pt x="25275" y="37933"/>
                  </a:lnTo>
                  <a:lnTo>
                    <a:pt x="25566" y="34197"/>
                  </a:lnTo>
                  <a:lnTo>
                    <a:pt x="25566" y="21840"/>
                  </a:lnTo>
                  <a:lnTo>
                    <a:pt x="24985" y="16667"/>
                  </a:lnTo>
                  <a:lnTo>
                    <a:pt x="23822" y="14081"/>
                  </a:lnTo>
                  <a:lnTo>
                    <a:pt x="25275" y="574"/>
                  </a:lnTo>
                  <a:lnTo>
                    <a:pt x="27309" y="1436"/>
                  </a:lnTo>
                  <a:lnTo>
                    <a:pt x="29342" y="2299"/>
                  </a:lnTo>
                  <a:lnTo>
                    <a:pt x="31086" y="3448"/>
                  </a:lnTo>
                  <a:lnTo>
                    <a:pt x="32538" y="5172"/>
                  </a:lnTo>
                  <a:lnTo>
                    <a:pt x="33700" y="6609"/>
                  </a:lnTo>
                  <a:lnTo>
                    <a:pt x="34862" y="8046"/>
                  </a:lnTo>
                  <a:lnTo>
                    <a:pt x="35443" y="9770"/>
                  </a:lnTo>
                  <a:lnTo>
                    <a:pt x="36315" y="11495"/>
                  </a:lnTo>
                  <a:lnTo>
                    <a:pt x="36896" y="13219"/>
                  </a:lnTo>
                  <a:lnTo>
                    <a:pt x="37187" y="15518"/>
                  </a:lnTo>
                  <a:lnTo>
                    <a:pt x="38058" y="19541"/>
                  </a:lnTo>
                  <a:lnTo>
                    <a:pt x="38639" y="24139"/>
                  </a:lnTo>
                  <a:lnTo>
                    <a:pt x="38639" y="38795"/>
                  </a:lnTo>
                  <a:lnTo>
                    <a:pt x="37187" y="46267"/>
                  </a:lnTo>
                  <a:lnTo>
                    <a:pt x="34281" y="50865"/>
                  </a:lnTo>
                  <a:lnTo>
                    <a:pt x="31376" y="55463"/>
                  </a:lnTo>
                  <a:lnTo>
                    <a:pt x="26437" y="58050"/>
                  </a:lnTo>
                  <a:lnTo>
                    <a:pt x="15107" y="58050"/>
                  </a:lnTo>
                  <a:lnTo>
                    <a:pt x="11911" y="57188"/>
                  </a:lnTo>
                  <a:lnTo>
                    <a:pt x="9587" y="55751"/>
                  </a:lnTo>
                  <a:lnTo>
                    <a:pt x="6972" y="54314"/>
                  </a:lnTo>
                  <a:lnTo>
                    <a:pt x="4938" y="52015"/>
                  </a:lnTo>
                  <a:lnTo>
                    <a:pt x="3486" y="49141"/>
                  </a:lnTo>
                  <a:lnTo>
                    <a:pt x="2324" y="47129"/>
                  </a:lnTo>
                  <a:lnTo>
                    <a:pt x="1452" y="44256"/>
                  </a:lnTo>
                  <a:lnTo>
                    <a:pt x="871" y="40520"/>
                  </a:lnTo>
                  <a:lnTo>
                    <a:pt x="290" y="37071"/>
                  </a:lnTo>
                  <a:lnTo>
                    <a:pt x="0" y="33048"/>
                  </a:lnTo>
                  <a:lnTo>
                    <a:pt x="0" y="18104"/>
                  </a:lnTo>
                  <a:lnTo>
                    <a:pt x="1452" y="10632"/>
                  </a:lnTo>
                  <a:lnTo>
                    <a:pt x="4648" y="6322"/>
                  </a:lnTo>
                  <a:lnTo>
                    <a:pt x="7844" y="2011"/>
                  </a:lnTo>
                  <a:lnTo>
                    <a:pt x="12783" y="0"/>
                  </a:lnTo>
                  <a:lnTo>
                    <a:pt x="19465" y="0"/>
                  </a:lnTo>
                  <a:lnTo>
                    <a:pt x="19174" y="10345"/>
                  </a:lnTo>
                  <a:lnTo>
                    <a:pt x="16850" y="10345"/>
                  </a:lnTo>
                  <a:lnTo>
                    <a:pt x="15397" y="11782"/>
                  </a:lnTo>
                  <a:lnTo>
                    <a:pt x="14526" y="14368"/>
                  </a:lnTo>
                  <a:lnTo>
                    <a:pt x="13364" y="1695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35" name="Google Shape;1935;p13"/>
            <p:cNvSpPr/>
            <p:nvPr/>
          </p:nvSpPr>
          <p:spPr>
            <a:xfrm>
              <a:off x="708465" y="7208808"/>
              <a:ext cx="6101" cy="14081"/>
            </a:xfrm>
            <a:custGeom>
              <a:avLst/>
              <a:gdLst/>
              <a:ahLst/>
              <a:cxnLst/>
              <a:rect l="l" t="t" r="r" b="b"/>
              <a:pathLst>
                <a:path w="6101" h="14081" extrusionOk="0">
                  <a:moveTo>
                    <a:pt x="0" y="10345"/>
                  </a:moveTo>
                  <a:lnTo>
                    <a:pt x="290" y="0"/>
                  </a:lnTo>
                  <a:lnTo>
                    <a:pt x="3486" y="0"/>
                  </a:lnTo>
                  <a:lnTo>
                    <a:pt x="6101" y="574"/>
                  </a:lnTo>
                  <a:lnTo>
                    <a:pt x="4648" y="14081"/>
                  </a:lnTo>
                  <a:lnTo>
                    <a:pt x="3776" y="11782"/>
                  </a:lnTo>
                  <a:lnTo>
                    <a:pt x="2033" y="10345"/>
                  </a:lnTo>
                  <a:lnTo>
                    <a:pt x="0" y="1034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36" name="Google Shape;1936;p13"/>
            <p:cNvSpPr/>
            <p:nvPr/>
          </p:nvSpPr>
          <p:spPr>
            <a:xfrm>
              <a:off x="689291" y="7208808"/>
              <a:ext cx="38639" cy="58049"/>
            </a:xfrm>
            <a:custGeom>
              <a:avLst/>
              <a:gdLst/>
              <a:ahLst/>
              <a:cxnLst/>
              <a:rect l="l" t="t" r="r" b="b"/>
              <a:pathLst>
                <a:path w="38639" h="58049" extrusionOk="0">
                  <a:moveTo>
                    <a:pt x="13364" y="16955"/>
                  </a:moveTo>
                  <a:lnTo>
                    <a:pt x="13073" y="21840"/>
                  </a:lnTo>
                  <a:lnTo>
                    <a:pt x="13073" y="35922"/>
                  </a:lnTo>
                  <a:lnTo>
                    <a:pt x="13364" y="40807"/>
                  </a:lnTo>
                  <a:lnTo>
                    <a:pt x="14526" y="43393"/>
                  </a:lnTo>
                  <a:lnTo>
                    <a:pt x="15688" y="45980"/>
                  </a:lnTo>
                  <a:lnTo>
                    <a:pt x="17141" y="47417"/>
                  </a:lnTo>
                  <a:lnTo>
                    <a:pt x="20627" y="47417"/>
                  </a:lnTo>
                  <a:lnTo>
                    <a:pt x="21789" y="46842"/>
                  </a:lnTo>
                  <a:lnTo>
                    <a:pt x="22661" y="45692"/>
                  </a:lnTo>
                  <a:lnTo>
                    <a:pt x="23823" y="44543"/>
                  </a:lnTo>
                  <a:lnTo>
                    <a:pt x="24404" y="42818"/>
                  </a:lnTo>
                  <a:lnTo>
                    <a:pt x="24985" y="40519"/>
                  </a:lnTo>
                  <a:lnTo>
                    <a:pt x="25275" y="37933"/>
                  </a:lnTo>
                  <a:lnTo>
                    <a:pt x="25566" y="34197"/>
                  </a:lnTo>
                  <a:lnTo>
                    <a:pt x="25566" y="21840"/>
                  </a:lnTo>
                  <a:lnTo>
                    <a:pt x="24985" y="16667"/>
                  </a:lnTo>
                  <a:lnTo>
                    <a:pt x="23823" y="14081"/>
                  </a:lnTo>
                  <a:lnTo>
                    <a:pt x="25275" y="574"/>
                  </a:lnTo>
                  <a:lnTo>
                    <a:pt x="27599" y="1436"/>
                  </a:lnTo>
                  <a:lnTo>
                    <a:pt x="29633" y="2299"/>
                  </a:lnTo>
                  <a:lnTo>
                    <a:pt x="31086" y="3448"/>
                  </a:lnTo>
                  <a:lnTo>
                    <a:pt x="32538" y="5172"/>
                  </a:lnTo>
                  <a:lnTo>
                    <a:pt x="33700" y="6609"/>
                  </a:lnTo>
                  <a:lnTo>
                    <a:pt x="34863" y="8046"/>
                  </a:lnTo>
                  <a:lnTo>
                    <a:pt x="35444" y="9770"/>
                  </a:lnTo>
                  <a:lnTo>
                    <a:pt x="36315" y="11494"/>
                  </a:lnTo>
                  <a:lnTo>
                    <a:pt x="36896" y="13219"/>
                  </a:lnTo>
                  <a:lnTo>
                    <a:pt x="37477" y="15518"/>
                  </a:lnTo>
                  <a:lnTo>
                    <a:pt x="38349" y="19541"/>
                  </a:lnTo>
                  <a:lnTo>
                    <a:pt x="38639" y="24139"/>
                  </a:lnTo>
                  <a:lnTo>
                    <a:pt x="38639" y="38795"/>
                  </a:lnTo>
                  <a:lnTo>
                    <a:pt x="37187" y="46267"/>
                  </a:lnTo>
                  <a:lnTo>
                    <a:pt x="34282" y="50865"/>
                  </a:lnTo>
                  <a:lnTo>
                    <a:pt x="31376" y="55463"/>
                  </a:lnTo>
                  <a:lnTo>
                    <a:pt x="26437" y="58049"/>
                  </a:lnTo>
                  <a:lnTo>
                    <a:pt x="15397" y="58049"/>
                  </a:lnTo>
                  <a:lnTo>
                    <a:pt x="11911" y="57187"/>
                  </a:lnTo>
                  <a:lnTo>
                    <a:pt x="9587" y="55750"/>
                  </a:lnTo>
                  <a:lnTo>
                    <a:pt x="7263" y="54313"/>
                  </a:lnTo>
                  <a:lnTo>
                    <a:pt x="5229" y="52015"/>
                  </a:lnTo>
                  <a:lnTo>
                    <a:pt x="3486" y="49141"/>
                  </a:lnTo>
                  <a:lnTo>
                    <a:pt x="2324" y="47129"/>
                  </a:lnTo>
                  <a:lnTo>
                    <a:pt x="1452" y="44255"/>
                  </a:lnTo>
                  <a:lnTo>
                    <a:pt x="871" y="40519"/>
                  </a:lnTo>
                  <a:lnTo>
                    <a:pt x="290" y="37071"/>
                  </a:lnTo>
                  <a:lnTo>
                    <a:pt x="0" y="33048"/>
                  </a:lnTo>
                  <a:lnTo>
                    <a:pt x="0" y="18104"/>
                  </a:lnTo>
                  <a:lnTo>
                    <a:pt x="1452" y="10632"/>
                  </a:lnTo>
                  <a:lnTo>
                    <a:pt x="4648" y="6322"/>
                  </a:lnTo>
                  <a:lnTo>
                    <a:pt x="8134" y="2011"/>
                  </a:lnTo>
                  <a:lnTo>
                    <a:pt x="13073" y="0"/>
                  </a:lnTo>
                  <a:lnTo>
                    <a:pt x="19465" y="0"/>
                  </a:lnTo>
                  <a:lnTo>
                    <a:pt x="19174" y="10345"/>
                  </a:lnTo>
                  <a:lnTo>
                    <a:pt x="16850" y="10345"/>
                  </a:lnTo>
                  <a:lnTo>
                    <a:pt x="15397" y="11782"/>
                  </a:lnTo>
                  <a:lnTo>
                    <a:pt x="14526" y="14368"/>
                  </a:lnTo>
                  <a:lnTo>
                    <a:pt x="13364" y="1695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37" name="Google Shape;1937;p13"/>
            <p:cNvSpPr/>
            <p:nvPr/>
          </p:nvSpPr>
          <p:spPr>
            <a:xfrm>
              <a:off x="735174" y="7208839"/>
              <a:ext cx="27772" cy="56843"/>
            </a:xfrm>
            <a:custGeom>
              <a:avLst/>
              <a:gdLst/>
              <a:ahLst/>
              <a:cxnLst/>
              <a:rect l="l" t="t" r="r" b="b"/>
              <a:pathLst>
                <a:path w="27772" h="56843" extrusionOk="0">
                  <a:moveTo>
                    <a:pt x="5613" y="25550"/>
                  </a:moveTo>
                  <a:lnTo>
                    <a:pt x="3249" y="26698"/>
                  </a:lnTo>
                  <a:lnTo>
                    <a:pt x="0" y="27847"/>
                  </a:lnTo>
                  <a:lnTo>
                    <a:pt x="0" y="14928"/>
                  </a:lnTo>
                  <a:lnTo>
                    <a:pt x="4431" y="13205"/>
                  </a:lnTo>
                  <a:lnTo>
                    <a:pt x="7977" y="11196"/>
                  </a:lnTo>
                  <a:lnTo>
                    <a:pt x="10636" y="8899"/>
                  </a:lnTo>
                  <a:lnTo>
                    <a:pt x="13295" y="6602"/>
                  </a:lnTo>
                  <a:lnTo>
                    <a:pt x="15068" y="3445"/>
                  </a:lnTo>
                  <a:lnTo>
                    <a:pt x="16545" y="0"/>
                  </a:lnTo>
                  <a:lnTo>
                    <a:pt x="27772" y="0"/>
                  </a:lnTo>
                  <a:lnTo>
                    <a:pt x="27772" y="56843"/>
                  </a:lnTo>
                  <a:lnTo>
                    <a:pt x="14181" y="56843"/>
                  </a:lnTo>
                  <a:lnTo>
                    <a:pt x="14181" y="19521"/>
                  </a:lnTo>
                  <a:lnTo>
                    <a:pt x="11818" y="21531"/>
                  </a:lnTo>
                  <a:lnTo>
                    <a:pt x="9749" y="23254"/>
                  </a:lnTo>
                  <a:lnTo>
                    <a:pt x="7681" y="24402"/>
                  </a:lnTo>
                  <a:lnTo>
                    <a:pt x="5613" y="2555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nvGrpSpPr>
          <p:cNvPr id="1938" name="Google Shape;1938;p13"/>
          <p:cNvGrpSpPr/>
          <p:nvPr/>
        </p:nvGrpSpPr>
        <p:grpSpPr>
          <a:xfrm>
            <a:off x="3945835" y="927974"/>
            <a:ext cx="7695303" cy="1740476"/>
            <a:chOff x="3945835" y="742917"/>
            <a:chExt cx="7695303" cy="1740476"/>
          </a:xfrm>
        </p:grpSpPr>
        <p:sp>
          <p:nvSpPr>
            <p:cNvPr id="1939" name="Google Shape;1939;p13"/>
            <p:cNvSpPr/>
            <p:nvPr/>
          </p:nvSpPr>
          <p:spPr>
            <a:xfrm>
              <a:off x="6991109" y="742917"/>
              <a:ext cx="4650029" cy="1740476"/>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Combination of strategy consulting and Data Research methodologies</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8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Access to leading vendor databases (Capital IQ, Thomson Reuters Refinitiv, Orbis, Factiva…) </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8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Opportunity to work with a unique professional</a:t>
              </a:r>
              <a:br>
                <a:rPr lang="en-US" sz="1400" b="0" i="0" u="none" strike="noStrike" cap="none">
                  <a:solidFill>
                    <a:schemeClr val="dk1"/>
                  </a:solidFill>
                  <a:latin typeface="Calibri"/>
                  <a:ea typeface="Calibri"/>
                  <a:cs typeface="Calibri"/>
                  <a:sym typeface="Calibri"/>
                </a:rPr>
              </a:br>
              <a:r>
                <a:rPr lang="en-US" sz="1400" b="0" i="0" u="none" strike="noStrike" cap="none">
                  <a:solidFill>
                    <a:schemeClr val="dk1"/>
                  </a:solidFill>
                  <a:latin typeface="Calibri"/>
                  <a:ea typeface="Calibri"/>
                  <a:cs typeface="Calibri"/>
                  <a:sym typeface="Calibri"/>
                </a:rPr>
                <a:t>network </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8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Optimum confidentiality and integrity - ISO certified</a:t>
              </a:r>
              <a:endParaRPr sz="1400" b="0" i="0" u="none" strike="noStrike" cap="none">
                <a:solidFill>
                  <a:srgbClr val="000000"/>
                </a:solidFill>
                <a:latin typeface="Arial"/>
                <a:ea typeface="Arial"/>
                <a:cs typeface="Arial"/>
                <a:sym typeface="Arial"/>
              </a:endParaRPr>
            </a:p>
          </p:txBody>
        </p:sp>
        <p:sp>
          <p:nvSpPr>
            <p:cNvPr id="1940" name="Google Shape;1940;p13"/>
            <p:cNvSpPr/>
            <p:nvPr/>
          </p:nvSpPr>
          <p:spPr>
            <a:xfrm>
              <a:off x="5015880" y="1280757"/>
              <a:ext cx="1776363" cy="664797"/>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rgbClr val="000000"/>
                </a:buClr>
                <a:buSzPts val="1600"/>
                <a:buFont typeface="Arial"/>
                <a:buNone/>
              </a:pPr>
              <a:r>
                <a:rPr lang="en-US" sz="1600" b="0" i="0" u="none" strike="noStrike" cap="none">
                  <a:solidFill>
                    <a:schemeClr val="accent1"/>
                  </a:solidFill>
                  <a:latin typeface="Franklin Gothic"/>
                  <a:ea typeface="Franklin Gothic"/>
                  <a:cs typeface="Franklin Gothic"/>
                  <a:sym typeface="Franklin Gothic"/>
                </a:rPr>
                <a:t>World class Data Research capabilities</a:t>
              </a:r>
              <a:endParaRPr sz="1400" b="0" i="0" u="none" strike="noStrike" cap="none">
                <a:solidFill>
                  <a:srgbClr val="000000"/>
                </a:solidFill>
                <a:latin typeface="Arial"/>
                <a:ea typeface="Arial"/>
                <a:cs typeface="Arial"/>
                <a:sym typeface="Arial"/>
              </a:endParaRPr>
            </a:p>
          </p:txBody>
        </p:sp>
        <p:sp>
          <p:nvSpPr>
            <p:cNvPr id="1941" name="Google Shape;1941;p13"/>
            <p:cNvSpPr/>
            <p:nvPr/>
          </p:nvSpPr>
          <p:spPr>
            <a:xfrm>
              <a:off x="3945835" y="1150377"/>
              <a:ext cx="925556" cy="925556"/>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942" name="Google Shape;1942;p13"/>
            <p:cNvPicPr preferRelativeResize="0"/>
            <p:nvPr/>
          </p:nvPicPr>
          <p:blipFill rotWithShape="1">
            <a:blip r:embed="rId4">
              <a:alphaModFix/>
            </a:blip>
            <a:srcRect/>
            <a:stretch/>
          </p:blipFill>
          <p:spPr>
            <a:xfrm>
              <a:off x="4144306" y="1347276"/>
              <a:ext cx="531758" cy="531758"/>
            </a:xfrm>
            <a:prstGeom prst="rect">
              <a:avLst/>
            </a:prstGeom>
            <a:noFill/>
            <a:ln>
              <a:noFill/>
            </a:ln>
          </p:spPr>
        </p:pic>
      </p:grpSp>
      <p:grpSp>
        <p:nvGrpSpPr>
          <p:cNvPr id="1943" name="Google Shape;1943;p13"/>
          <p:cNvGrpSpPr/>
          <p:nvPr/>
        </p:nvGrpSpPr>
        <p:grpSpPr>
          <a:xfrm>
            <a:off x="3945835" y="2827754"/>
            <a:ext cx="7293183" cy="1125949"/>
            <a:chOff x="3945835" y="2613441"/>
            <a:chExt cx="7293183" cy="1125949"/>
          </a:xfrm>
        </p:grpSpPr>
        <p:sp>
          <p:nvSpPr>
            <p:cNvPr id="1944" name="Google Shape;1944;p13"/>
            <p:cNvSpPr/>
            <p:nvPr/>
          </p:nvSpPr>
          <p:spPr>
            <a:xfrm>
              <a:off x="6979209" y="2613441"/>
              <a:ext cx="4259809" cy="1125949"/>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As a third-party provider, easier access to industry/company specific information (especially through interviews) and no bias</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8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Full compliance with confidentiality and ethics best practices</a:t>
              </a:r>
              <a:endParaRPr sz="1400" b="0" i="0" u="none" strike="noStrike" cap="none">
                <a:solidFill>
                  <a:srgbClr val="000000"/>
                </a:solidFill>
                <a:latin typeface="Arial"/>
                <a:ea typeface="Arial"/>
                <a:cs typeface="Arial"/>
                <a:sym typeface="Arial"/>
              </a:endParaRPr>
            </a:p>
          </p:txBody>
        </p:sp>
        <p:sp>
          <p:nvSpPr>
            <p:cNvPr id="1945" name="Google Shape;1945;p13"/>
            <p:cNvSpPr/>
            <p:nvPr/>
          </p:nvSpPr>
          <p:spPr>
            <a:xfrm>
              <a:off x="5013665" y="2825550"/>
              <a:ext cx="1779405" cy="701731"/>
            </a:xfrm>
            <a:prstGeom prst="rect">
              <a:avLst/>
            </a:prstGeom>
            <a:noFill/>
            <a:ln>
              <a:noFill/>
            </a:ln>
          </p:spPr>
          <p:txBody>
            <a:bodyPr spcFirstLastPara="1" wrap="square" lIns="0" tIns="0" rIns="0" bIns="0" anchor="ctr" anchorCtr="0">
              <a:spAutoFit/>
            </a:bodyPr>
            <a:lstStyle/>
            <a:p>
              <a:pPr marL="0" marR="0" lvl="0" indent="0" algn="l" rtl="0">
                <a:lnSpc>
                  <a:spcPct val="95000"/>
                </a:lnSpc>
                <a:spcBef>
                  <a:spcPts val="0"/>
                </a:spcBef>
                <a:spcAft>
                  <a:spcPts val="0"/>
                </a:spcAft>
                <a:buClr>
                  <a:srgbClr val="000000"/>
                </a:buClr>
                <a:buSzPts val="1600"/>
                <a:buFont typeface="Arial"/>
                <a:buNone/>
              </a:pPr>
              <a:r>
                <a:rPr lang="en-US" sz="1600" b="0" i="0" u="none" strike="noStrike" cap="none">
                  <a:solidFill>
                    <a:schemeClr val="accent1"/>
                  </a:solidFill>
                  <a:latin typeface="Franklin Gothic"/>
                  <a:ea typeface="Franklin Gothic"/>
                  <a:cs typeface="Franklin Gothic"/>
                  <a:sym typeface="Franklin Gothic"/>
                </a:rPr>
                <a:t>Delivering objective and neutral information</a:t>
              </a:r>
              <a:endParaRPr sz="1400" b="0" i="0" u="none" strike="noStrike" cap="none">
                <a:solidFill>
                  <a:srgbClr val="000000"/>
                </a:solidFill>
                <a:latin typeface="Arial"/>
                <a:ea typeface="Arial"/>
                <a:cs typeface="Arial"/>
                <a:sym typeface="Arial"/>
              </a:endParaRPr>
            </a:p>
          </p:txBody>
        </p:sp>
        <p:sp>
          <p:nvSpPr>
            <p:cNvPr id="1946" name="Google Shape;1946;p13"/>
            <p:cNvSpPr/>
            <p:nvPr/>
          </p:nvSpPr>
          <p:spPr>
            <a:xfrm>
              <a:off x="3945835" y="2713637"/>
              <a:ext cx="925556" cy="925556"/>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95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947" name="Google Shape;1947;p13"/>
            <p:cNvPicPr preferRelativeResize="0"/>
            <p:nvPr/>
          </p:nvPicPr>
          <p:blipFill rotWithShape="1">
            <a:blip r:embed="rId5">
              <a:alphaModFix/>
            </a:blip>
            <a:srcRect/>
            <a:stretch/>
          </p:blipFill>
          <p:spPr>
            <a:xfrm>
              <a:off x="4144618" y="2916341"/>
              <a:ext cx="520148" cy="520148"/>
            </a:xfrm>
            <a:prstGeom prst="rect">
              <a:avLst/>
            </a:prstGeom>
            <a:noFill/>
            <a:ln>
              <a:noFill/>
            </a:ln>
          </p:spPr>
        </p:pic>
      </p:grpSp>
      <p:grpSp>
        <p:nvGrpSpPr>
          <p:cNvPr id="1948" name="Google Shape;1948;p13"/>
          <p:cNvGrpSpPr/>
          <p:nvPr/>
        </p:nvGrpSpPr>
        <p:grpSpPr>
          <a:xfrm>
            <a:off x="3945835" y="4113005"/>
            <a:ext cx="7695300" cy="925556"/>
            <a:chOff x="3945835" y="4036050"/>
            <a:chExt cx="7695300" cy="925556"/>
          </a:xfrm>
        </p:grpSpPr>
        <p:sp>
          <p:nvSpPr>
            <p:cNvPr id="1949" name="Google Shape;1949;p13"/>
            <p:cNvSpPr/>
            <p:nvPr/>
          </p:nvSpPr>
          <p:spPr>
            <a:xfrm>
              <a:off x="6991106" y="4038189"/>
              <a:ext cx="4650029" cy="921278"/>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Leverage our scale, experience and expertise at your service – among the largest Data Research team in EMEA and the Americas with 200 permanent staff</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8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Different engagement models balancing price and flexibility</a:t>
              </a:r>
              <a:endParaRPr sz="1400" b="0" i="0" u="none" strike="noStrike" cap="none">
                <a:solidFill>
                  <a:srgbClr val="000000"/>
                </a:solidFill>
                <a:latin typeface="Arial"/>
                <a:ea typeface="Arial"/>
                <a:cs typeface="Arial"/>
                <a:sym typeface="Arial"/>
              </a:endParaRPr>
            </a:p>
          </p:txBody>
        </p:sp>
        <p:sp>
          <p:nvSpPr>
            <p:cNvPr id="1950" name="Google Shape;1950;p13"/>
            <p:cNvSpPr/>
            <p:nvPr/>
          </p:nvSpPr>
          <p:spPr>
            <a:xfrm>
              <a:off x="5013665" y="4264918"/>
              <a:ext cx="1779405" cy="467820"/>
            </a:xfrm>
            <a:prstGeom prst="rect">
              <a:avLst/>
            </a:prstGeom>
            <a:noFill/>
            <a:ln>
              <a:noFill/>
            </a:ln>
          </p:spPr>
          <p:txBody>
            <a:bodyPr spcFirstLastPara="1" wrap="square" lIns="0" tIns="0" rIns="0" bIns="0" anchor="ctr" anchorCtr="0">
              <a:spAutoFit/>
            </a:bodyPr>
            <a:lstStyle/>
            <a:p>
              <a:pPr marL="0" marR="0" lvl="0" indent="0" algn="l" rtl="0">
                <a:lnSpc>
                  <a:spcPct val="95000"/>
                </a:lnSpc>
                <a:spcBef>
                  <a:spcPts val="0"/>
                </a:spcBef>
                <a:spcAft>
                  <a:spcPts val="0"/>
                </a:spcAft>
                <a:buClr>
                  <a:srgbClr val="000000"/>
                </a:buClr>
                <a:buSzPts val="1600"/>
                <a:buFont typeface="Arial"/>
                <a:buNone/>
              </a:pPr>
              <a:r>
                <a:rPr lang="en-US" sz="1600" b="0" i="0" u="none" strike="noStrike" cap="none">
                  <a:solidFill>
                    <a:schemeClr val="accent1"/>
                  </a:solidFill>
                  <a:latin typeface="Franklin Gothic"/>
                  <a:ea typeface="Franklin Gothic"/>
                  <a:cs typeface="Franklin Gothic"/>
                  <a:sym typeface="Franklin Gothic"/>
                </a:rPr>
                <a:t>Offering flexibility and scalability</a:t>
              </a:r>
              <a:endParaRPr sz="1400" b="0" i="0" u="none" strike="noStrike" cap="none">
                <a:solidFill>
                  <a:srgbClr val="000000"/>
                </a:solidFill>
                <a:latin typeface="Arial"/>
                <a:ea typeface="Arial"/>
                <a:cs typeface="Arial"/>
                <a:sym typeface="Arial"/>
              </a:endParaRPr>
            </a:p>
          </p:txBody>
        </p:sp>
        <p:sp>
          <p:nvSpPr>
            <p:cNvPr id="1951" name="Google Shape;1951;p13"/>
            <p:cNvSpPr/>
            <p:nvPr/>
          </p:nvSpPr>
          <p:spPr>
            <a:xfrm>
              <a:off x="3945835" y="4036050"/>
              <a:ext cx="925556" cy="925556"/>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95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952" name="Google Shape;1952;p13"/>
            <p:cNvPicPr preferRelativeResize="0"/>
            <p:nvPr/>
          </p:nvPicPr>
          <p:blipFill rotWithShape="1">
            <a:blip r:embed="rId6">
              <a:alphaModFix/>
            </a:blip>
            <a:srcRect/>
            <a:stretch/>
          </p:blipFill>
          <p:spPr>
            <a:xfrm>
              <a:off x="4163484" y="4252650"/>
              <a:ext cx="492356" cy="492356"/>
            </a:xfrm>
            <a:prstGeom prst="rect">
              <a:avLst/>
            </a:prstGeom>
            <a:noFill/>
            <a:ln>
              <a:noFill/>
            </a:ln>
          </p:spPr>
        </p:pic>
      </p:grpSp>
      <p:grpSp>
        <p:nvGrpSpPr>
          <p:cNvPr id="1953" name="Google Shape;1953;p13"/>
          <p:cNvGrpSpPr/>
          <p:nvPr/>
        </p:nvGrpSpPr>
        <p:grpSpPr>
          <a:xfrm>
            <a:off x="3945835" y="5197864"/>
            <a:ext cx="7695300" cy="1330621"/>
            <a:chOff x="3945835" y="5012807"/>
            <a:chExt cx="7695300" cy="1330621"/>
          </a:xfrm>
        </p:grpSpPr>
        <p:sp>
          <p:nvSpPr>
            <p:cNvPr id="1954" name="Google Shape;1954;p13"/>
            <p:cNvSpPr/>
            <p:nvPr/>
          </p:nvSpPr>
          <p:spPr>
            <a:xfrm>
              <a:off x="6991106" y="5012807"/>
              <a:ext cx="4650029" cy="1330621"/>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Multiple advantages of our nearshore locations (Casablanca , Mexico &amp; Cairo): Reasonable cost base, although offering high quality of service (staff with critical sense, same time zone etc.)</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8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Benefits of pooling resources between several clients: vendor databases costs, etc.</a:t>
              </a:r>
              <a:endParaRPr sz="1400" b="0" i="0" u="none" strike="noStrike" cap="none">
                <a:solidFill>
                  <a:srgbClr val="000000"/>
                </a:solidFill>
                <a:latin typeface="Arial"/>
                <a:ea typeface="Arial"/>
                <a:cs typeface="Arial"/>
                <a:sym typeface="Arial"/>
              </a:endParaRPr>
            </a:p>
          </p:txBody>
        </p:sp>
        <p:sp>
          <p:nvSpPr>
            <p:cNvPr id="1955" name="Google Shape;1955;p13"/>
            <p:cNvSpPr/>
            <p:nvPr/>
          </p:nvSpPr>
          <p:spPr>
            <a:xfrm>
              <a:off x="5013665" y="5224916"/>
              <a:ext cx="1779405" cy="701731"/>
            </a:xfrm>
            <a:prstGeom prst="rect">
              <a:avLst/>
            </a:prstGeom>
            <a:noFill/>
            <a:ln>
              <a:noFill/>
            </a:ln>
          </p:spPr>
          <p:txBody>
            <a:bodyPr spcFirstLastPara="1" wrap="square" lIns="0" tIns="0" rIns="0" bIns="0" anchor="ctr" anchorCtr="0">
              <a:spAutoFit/>
            </a:bodyPr>
            <a:lstStyle/>
            <a:p>
              <a:pPr marL="0" marR="0" lvl="0" indent="0" algn="l" rtl="0">
                <a:lnSpc>
                  <a:spcPct val="95000"/>
                </a:lnSpc>
                <a:spcBef>
                  <a:spcPts val="0"/>
                </a:spcBef>
                <a:spcAft>
                  <a:spcPts val="0"/>
                </a:spcAft>
                <a:buClr>
                  <a:srgbClr val="000000"/>
                </a:buClr>
                <a:buSzPts val="1600"/>
                <a:buFont typeface="Arial"/>
                <a:buNone/>
              </a:pPr>
              <a:r>
                <a:rPr lang="en-US" sz="1600" b="0" i="0" u="none" strike="noStrike" cap="none">
                  <a:solidFill>
                    <a:schemeClr val="accent1"/>
                  </a:solidFill>
                  <a:latin typeface="Franklin Gothic"/>
                  <a:ea typeface="Franklin Gothic"/>
                  <a:cs typeface="Franklin Gothic"/>
                  <a:sym typeface="Franklin Gothic"/>
                </a:rPr>
                <a:t>Providing value added services at a competitive price</a:t>
              </a:r>
              <a:endParaRPr sz="1400" b="0" i="0" u="none" strike="noStrike" cap="none">
                <a:solidFill>
                  <a:srgbClr val="000000"/>
                </a:solidFill>
                <a:latin typeface="Arial"/>
                <a:ea typeface="Arial"/>
                <a:cs typeface="Arial"/>
                <a:sym typeface="Arial"/>
              </a:endParaRPr>
            </a:p>
          </p:txBody>
        </p:sp>
        <p:sp>
          <p:nvSpPr>
            <p:cNvPr id="1956" name="Google Shape;1956;p13"/>
            <p:cNvSpPr/>
            <p:nvPr/>
          </p:nvSpPr>
          <p:spPr>
            <a:xfrm>
              <a:off x="3945835" y="5113003"/>
              <a:ext cx="925556" cy="925556"/>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95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957" name="Google Shape;1957;p13"/>
            <p:cNvPicPr preferRelativeResize="0"/>
            <p:nvPr/>
          </p:nvPicPr>
          <p:blipFill rotWithShape="1">
            <a:blip r:embed="rId7">
              <a:alphaModFix/>
            </a:blip>
            <a:srcRect/>
            <a:stretch/>
          </p:blipFill>
          <p:spPr>
            <a:xfrm>
              <a:off x="4165600" y="5342101"/>
              <a:ext cx="467360" cy="467360"/>
            </a:xfrm>
            <a:prstGeom prst="rect">
              <a:avLst/>
            </a:prstGeom>
            <a:noFill/>
            <a:ln>
              <a:noFill/>
            </a:ln>
          </p:spPr>
        </p:pic>
      </p:grpSp>
      <p:cxnSp>
        <p:nvCxnSpPr>
          <p:cNvPr id="1958" name="Google Shape;1958;p13"/>
          <p:cNvCxnSpPr/>
          <p:nvPr/>
        </p:nvCxnSpPr>
        <p:spPr>
          <a:xfrm>
            <a:off x="5029200" y="2748102"/>
            <a:ext cx="6611938" cy="0"/>
          </a:xfrm>
          <a:prstGeom prst="straightConnector1">
            <a:avLst/>
          </a:prstGeom>
          <a:noFill/>
          <a:ln w="9525" cap="flat" cmpd="sng">
            <a:solidFill>
              <a:srgbClr val="7F7F7F"/>
            </a:solidFill>
            <a:prstDash val="solid"/>
            <a:miter lim="800000"/>
            <a:headEnd type="none" w="sm" len="sm"/>
            <a:tailEnd type="none" w="sm" len="sm"/>
          </a:ln>
        </p:spPr>
      </p:cxnSp>
      <p:cxnSp>
        <p:nvCxnSpPr>
          <p:cNvPr id="1959" name="Google Shape;1959;p13"/>
          <p:cNvCxnSpPr/>
          <p:nvPr/>
        </p:nvCxnSpPr>
        <p:spPr>
          <a:xfrm>
            <a:off x="5029200" y="4033354"/>
            <a:ext cx="6611938" cy="0"/>
          </a:xfrm>
          <a:prstGeom prst="straightConnector1">
            <a:avLst/>
          </a:prstGeom>
          <a:noFill/>
          <a:ln w="9525" cap="flat" cmpd="sng">
            <a:solidFill>
              <a:srgbClr val="7F7F7F"/>
            </a:solidFill>
            <a:prstDash val="solid"/>
            <a:miter lim="800000"/>
            <a:headEnd type="none" w="sm" len="sm"/>
            <a:tailEnd type="none" w="sm" len="sm"/>
          </a:ln>
        </p:spPr>
      </p:cxnSp>
      <p:cxnSp>
        <p:nvCxnSpPr>
          <p:cNvPr id="1960" name="Google Shape;1960;p13"/>
          <p:cNvCxnSpPr/>
          <p:nvPr/>
        </p:nvCxnSpPr>
        <p:spPr>
          <a:xfrm>
            <a:off x="5029200" y="5118212"/>
            <a:ext cx="6611938" cy="0"/>
          </a:xfrm>
          <a:prstGeom prst="straightConnector1">
            <a:avLst/>
          </a:prstGeom>
          <a:noFill/>
          <a:ln w="9525" cap="flat" cmpd="sng">
            <a:solidFill>
              <a:srgbClr val="7F7F7F"/>
            </a:solidFill>
            <a:prstDash val="solid"/>
            <a:miter lim="800000"/>
            <a:headEnd type="none" w="sm" len="sm"/>
            <a:tailEnd type="none" w="sm" len="sm"/>
          </a:ln>
        </p:spPr>
      </p:cxnSp>
      <p:cxnSp>
        <p:nvCxnSpPr>
          <p:cNvPr id="1961" name="Google Shape;1961;p13"/>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1962" name="Google Shape;1962;p13"/>
          <p:cNvSpPr txBox="1">
            <a:spLocks noGrp="1"/>
          </p:cNvSpPr>
          <p:nvPr>
            <p:ph type="title"/>
          </p:nvPr>
        </p:nvSpPr>
        <p:spPr>
          <a:xfrm>
            <a:off x="550863" y="560588"/>
            <a:ext cx="2645343" cy="886397"/>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lt1"/>
              </a:buClr>
              <a:buSzPts val="3200"/>
              <a:buFont typeface="Franklin Gothic"/>
              <a:buNone/>
            </a:pPr>
            <a:r>
              <a:rPr lang="en-US" sz="3200">
                <a:solidFill>
                  <a:schemeClr val="lt1"/>
                </a:solidFill>
              </a:rPr>
              <a:t>Why work</a:t>
            </a:r>
            <a:br>
              <a:rPr lang="en-US" sz="3200">
                <a:solidFill>
                  <a:schemeClr val="lt1"/>
                </a:solidFill>
              </a:rPr>
            </a:br>
            <a:r>
              <a:rPr lang="en-US" sz="3200">
                <a:solidFill>
                  <a:schemeClr val="lt1"/>
                </a:solidFill>
              </a:rPr>
              <a:t>with us</a:t>
            </a:r>
            <a:endParaRPr/>
          </a:p>
        </p:txBody>
      </p:sp>
      <p:grpSp>
        <p:nvGrpSpPr>
          <p:cNvPr id="1963" name="Google Shape;1963;p13"/>
          <p:cNvGrpSpPr/>
          <p:nvPr/>
        </p:nvGrpSpPr>
        <p:grpSpPr>
          <a:xfrm>
            <a:off x="10976464" y="135255"/>
            <a:ext cx="1046733" cy="468742"/>
            <a:chOff x="10976464" y="135255"/>
            <a:chExt cx="1046733" cy="468742"/>
          </a:xfrm>
        </p:grpSpPr>
        <p:sp>
          <p:nvSpPr>
            <p:cNvPr id="1964" name="Google Shape;1964;p13"/>
            <p:cNvSpPr txBox="1"/>
            <p:nvPr/>
          </p:nvSpPr>
          <p:spPr>
            <a:xfrm>
              <a:off x="10976464" y="292682"/>
              <a:ext cx="533800" cy="153888"/>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Research</a:t>
              </a:r>
              <a:endParaRPr sz="1400" b="0" i="0" u="none" strike="noStrike" cap="none">
                <a:solidFill>
                  <a:srgbClr val="000000"/>
                </a:solidFill>
                <a:latin typeface="Arial"/>
                <a:ea typeface="Arial"/>
                <a:cs typeface="Arial"/>
                <a:sym typeface="Arial"/>
              </a:endParaRPr>
            </a:p>
          </p:txBody>
        </p:sp>
        <p:sp>
          <p:nvSpPr>
            <p:cNvPr id="1965" name="Google Shape;1965;p13"/>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pic>
          <p:nvPicPr>
            <p:cNvPr id="1966" name="Google Shape;1966;p13"/>
            <p:cNvPicPr preferRelativeResize="0"/>
            <p:nvPr/>
          </p:nvPicPr>
          <p:blipFill rotWithShape="1">
            <a:blip r:embed="rId8">
              <a:alphaModFix/>
            </a:blip>
            <a:srcRect/>
            <a:stretch/>
          </p:blipFill>
          <p:spPr>
            <a:xfrm>
              <a:off x="11641138" y="237175"/>
              <a:ext cx="269974" cy="269974"/>
            </a:xfrm>
            <a:prstGeom prst="rect">
              <a:avLst/>
            </a:prstGeom>
            <a:noFill/>
            <a:ln>
              <a:noFill/>
            </a:ln>
          </p:spPr>
        </p:pic>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970"/>
        <p:cNvGrpSpPr/>
        <p:nvPr/>
      </p:nvGrpSpPr>
      <p:grpSpPr>
        <a:xfrm>
          <a:off x="0" y="0"/>
          <a:ext cx="0" cy="0"/>
          <a:chOff x="0" y="0"/>
          <a:chExt cx="0" cy="0"/>
        </a:xfrm>
      </p:grpSpPr>
      <p:sp>
        <p:nvSpPr>
          <p:cNvPr id="1971" name="Google Shape;1971;p76"/>
          <p:cNvSpPr txBox="1">
            <a:spLocks noGrp="1"/>
          </p:cNvSpPr>
          <p:nvPr>
            <p:ph type="title"/>
          </p:nvPr>
        </p:nvSpPr>
        <p:spPr>
          <a:xfrm>
            <a:off x="737591" y="4477767"/>
            <a:ext cx="8494899" cy="830997"/>
          </a:xfrm>
          <a:prstGeom prst="rect">
            <a:avLst/>
          </a:prstGeom>
          <a:noFill/>
          <a:ln>
            <a:noFill/>
          </a:ln>
          <a:effectLst>
            <a:outerShdw blurRad="190500" algn="tl" rotWithShape="0">
              <a:srgbClr val="000000">
                <a:alpha val="27843"/>
              </a:srgbClr>
            </a:outerShdw>
          </a:effectLst>
        </p:spPr>
        <p:txBody>
          <a:bodyPr spcFirstLastPara="1" wrap="square" lIns="0" tIns="0" rIns="0" bIns="0" anchor="ctr" anchorCtr="0">
            <a:spAutoFit/>
          </a:bodyPr>
          <a:lstStyle/>
          <a:p>
            <a:pPr marL="0" lvl="0" indent="0" algn="l" rtl="0">
              <a:lnSpc>
                <a:spcPct val="90000"/>
              </a:lnSpc>
              <a:spcBef>
                <a:spcPts val="0"/>
              </a:spcBef>
              <a:spcAft>
                <a:spcPts val="0"/>
              </a:spcAft>
              <a:buClr>
                <a:schemeClr val="lt1"/>
              </a:buClr>
              <a:buSzPts val="6000"/>
              <a:buFont typeface="Franklin Gothic"/>
              <a:buNone/>
            </a:pPr>
            <a:r>
              <a:rPr lang="en-US"/>
              <a:t>Graphic design</a:t>
            </a:r>
            <a:endParaRPr/>
          </a:p>
        </p:txBody>
      </p:sp>
      <p:sp>
        <p:nvSpPr>
          <p:cNvPr id="1972" name="Google Shape;1972;p76"/>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lvl="0" indent="0" algn="r" rtl="0">
              <a:lnSpc>
                <a:spcPct val="90000"/>
              </a:lnSpc>
              <a:spcBef>
                <a:spcPts val="0"/>
              </a:spcBef>
              <a:spcAft>
                <a:spcPts val="0"/>
              </a:spcAft>
              <a:buSzPts val="1000"/>
              <a:buNone/>
            </a:pPr>
            <a:fld id="{00000000-1234-1234-1234-123412341234}" type="slidenum">
              <a:rPr lang="en-US"/>
              <a:t>17</a:t>
            </a:fld>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976"/>
        <p:cNvGrpSpPr/>
        <p:nvPr/>
      </p:nvGrpSpPr>
      <p:grpSpPr>
        <a:xfrm>
          <a:off x="0" y="0"/>
          <a:ext cx="0" cy="0"/>
          <a:chOff x="0" y="0"/>
          <a:chExt cx="0" cy="0"/>
        </a:xfrm>
      </p:grpSpPr>
      <p:sp>
        <p:nvSpPr>
          <p:cNvPr id="1977" name="Google Shape;1977;p14"/>
          <p:cNvSpPr txBox="1">
            <a:spLocks noGrp="1"/>
          </p:cNvSpPr>
          <p:nvPr>
            <p:ph type="title"/>
          </p:nvPr>
        </p:nvSpPr>
        <p:spPr>
          <a:xfrm>
            <a:off x="539400" y="562841"/>
            <a:ext cx="5205071" cy="886397"/>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Infomineo has a unique</a:t>
            </a:r>
            <a:br>
              <a:rPr lang="en-US"/>
            </a:br>
            <a:r>
              <a:rPr lang="en-US"/>
              <a:t>approach to Graphic design</a:t>
            </a:r>
            <a:endParaRPr/>
          </a:p>
        </p:txBody>
      </p:sp>
      <p:sp>
        <p:nvSpPr>
          <p:cNvPr id="1978" name="Google Shape;1978;p14"/>
          <p:cNvSpPr txBox="1"/>
          <p:nvPr/>
        </p:nvSpPr>
        <p:spPr>
          <a:xfrm>
            <a:off x="550863" y="2476561"/>
            <a:ext cx="5193608" cy="3938514"/>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chemeClr val="dk2"/>
              </a:buClr>
              <a:buSzPts val="1440"/>
              <a:buFont typeface="Noto Sans Symbols"/>
              <a:buChar char="▪"/>
            </a:pPr>
            <a:r>
              <a:rPr lang="en-US" sz="1600" b="0" i="0" u="none" strike="noStrike" cap="none">
                <a:solidFill>
                  <a:schemeClr val="dk1"/>
                </a:solidFill>
                <a:latin typeface="Calibri"/>
                <a:ea typeface="Calibri"/>
                <a:cs typeface="Calibri"/>
                <a:sym typeface="Calibri"/>
              </a:rPr>
              <a:t>Designers are “</a:t>
            </a:r>
            <a:r>
              <a:rPr lang="en-US" sz="1600" b="1" i="0" u="none" strike="noStrike" cap="none">
                <a:solidFill>
                  <a:schemeClr val="dk1"/>
                </a:solidFill>
                <a:latin typeface="Calibri"/>
                <a:ea typeface="Calibri"/>
                <a:cs typeface="Calibri"/>
                <a:sym typeface="Calibri"/>
              </a:rPr>
              <a:t>artists</a:t>
            </a:r>
            <a:r>
              <a:rPr lang="en-US" sz="1600" b="0" i="0" u="none" strike="noStrike" cap="none">
                <a:solidFill>
                  <a:schemeClr val="dk1"/>
                </a:solidFill>
                <a:latin typeface="Calibri"/>
                <a:ea typeface="Calibri"/>
                <a:cs typeface="Calibri"/>
                <a:sym typeface="Calibri"/>
              </a:rPr>
              <a:t>”, they are experts regarding the form rather than the substance, and can have difficulties to fully understand the content they should represent</a:t>
            </a:r>
            <a:endParaRPr sz="1400" b="0" i="0" u="none" strike="noStrike" cap="none">
              <a:solidFill>
                <a:srgbClr val="000000"/>
              </a:solidFill>
              <a:latin typeface="Arial"/>
              <a:ea typeface="Arial"/>
              <a:cs typeface="Arial"/>
              <a:sym typeface="Arial"/>
            </a:endParaRPr>
          </a:p>
          <a:p>
            <a:pPr marL="176213" marR="0" lvl="1" indent="-84773" algn="l" rtl="0">
              <a:lnSpc>
                <a:spcPct val="95000"/>
              </a:lnSpc>
              <a:spcBef>
                <a:spcPts val="1000"/>
              </a:spcBef>
              <a:spcAft>
                <a:spcPts val="0"/>
              </a:spcAft>
              <a:buClr>
                <a:schemeClr val="dk2"/>
              </a:buClr>
              <a:buSzPts val="1440"/>
              <a:buFont typeface="Noto Sans Symbols"/>
              <a:buNone/>
            </a:pPr>
            <a:endParaRPr sz="1600" b="0" i="0" u="none" strike="noStrike" cap="none">
              <a:solidFill>
                <a:schemeClr val="dk1"/>
              </a:solidFill>
              <a:latin typeface="Calibri"/>
              <a:ea typeface="Calibri"/>
              <a:cs typeface="Calibri"/>
              <a:sym typeface="Calibri"/>
            </a:endParaRPr>
          </a:p>
          <a:p>
            <a:pPr marL="176213" marR="0" lvl="1" indent="-176213" algn="l" rtl="0">
              <a:lnSpc>
                <a:spcPct val="95000"/>
              </a:lnSpc>
              <a:spcBef>
                <a:spcPts val="1000"/>
              </a:spcBef>
              <a:spcAft>
                <a:spcPts val="0"/>
              </a:spcAft>
              <a:buClr>
                <a:schemeClr val="dk2"/>
              </a:buClr>
              <a:buSzPts val="1440"/>
              <a:buFont typeface="Noto Sans Symbols"/>
              <a:buChar char="▪"/>
            </a:pPr>
            <a:r>
              <a:rPr lang="en-US" sz="1600" b="0" i="0" u="none" strike="noStrike" cap="none">
                <a:solidFill>
                  <a:schemeClr val="dk1"/>
                </a:solidFill>
                <a:latin typeface="Calibri"/>
                <a:ea typeface="Calibri"/>
                <a:cs typeface="Calibri"/>
                <a:sym typeface="Calibri"/>
              </a:rPr>
              <a:t>Outsourced Graphic Design focuses on </a:t>
            </a:r>
            <a:r>
              <a:rPr lang="en-US" sz="1600" b="1" i="0" u="none" strike="noStrike" cap="none">
                <a:solidFill>
                  <a:schemeClr val="dk1"/>
                </a:solidFill>
                <a:latin typeface="Calibri"/>
                <a:ea typeface="Calibri"/>
                <a:cs typeface="Calibri"/>
                <a:sym typeface="Calibri"/>
              </a:rPr>
              <a:t>low value add </a:t>
            </a:r>
            <a:r>
              <a:rPr lang="en-US" sz="1600" b="0" i="0" u="none" strike="noStrike" cap="none">
                <a:solidFill>
                  <a:schemeClr val="dk1"/>
                </a:solidFill>
                <a:latin typeface="Calibri"/>
                <a:ea typeface="Calibri"/>
                <a:cs typeface="Calibri"/>
                <a:sym typeface="Calibri"/>
              </a:rPr>
              <a:t>slide production, with limited advisory component in the work</a:t>
            </a:r>
            <a:endParaRPr sz="1400" b="0" i="0" u="none" strike="noStrike" cap="none">
              <a:solidFill>
                <a:srgbClr val="000000"/>
              </a:solidFill>
              <a:latin typeface="Arial"/>
              <a:ea typeface="Arial"/>
              <a:cs typeface="Arial"/>
              <a:sym typeface="Arial"/>
            </a:endParaRPr>
          </a:p>
          <a:p>
            <a:pPr marL="176213" marR="0" lvl="1" indent="-84773" algn="l" rtl="0">
              <a:lnSpc>
                <a:spcPct val="95000"/>
              </a:lnSpc>
              <a:spcBef>
                <a:spcPts val="1000"/>
              </a:spcBef>
              <a:spcAft>
                <a:spcPts val="0"/>
              </a:spcAft>
              <a:buClr>
                <a:schemeClr val="dk2"/>
              </a:buClr>
              <a:buSzPts val="1440"/>
              <a:buFont typeface="Noto Sans Symbols"/>
              <a:buNone/>
            </a:pPr>
            <a:endParaRPr sz="1600" b="0" i="0" u="none" strike="noStrike" cap="none">
              <a:solidFill>
                <a:schemeClr val="dk1"/>
              </a:solidFill>
              <a:latin typeface="Calibri"/>
              <a:ea typeface="Calibri"/>
              <a:cs typeface="Calibri"/>
              <a:sym typeface="Calibri"/>
            </a:endParaRPr>
          </a:p>
          <a:p>
            <a:pPr marL="176213" marR="0" lvl="1" indent="-176213" algn="l" rtl="0">
              <a:lnSpc>
                <a:spcPct val="95000"/>
              </a:lnSpc>
              <a:spcBef>
                <a:spcPts val="1000"/>
              </a:spcBef>
              <a:spcAft>
                <a:spcPts val="0"/>
              </a:spcAft>
              <a:buClr>
                <a:schemeClr val="dk2"/>
              </a:buClr>
              <a:buSzPts val="1440"/>
              <a:buFont typeface="Noto Sans Symbols"/>
              <a:buChar char="▪"/>
            </a:pPr>
            <a:r>
              <a:rPr lang="en-US" sz="1600" b="0" i="0" u="none" strike="noStrike" cap="none">
                <a:solidFill>
                  <a:schemeClr val="dk1"/>
                </a:solidFill>
                <a:latin typeface="Calibri"/>
                <a:ea typeface="Calibri"/>
                <a:cs typeface="Calibri"/>
                <a:sym typeface="Calibri"/>
              </a:rPr>
              <a:t>Three types of providers cover the market</a:t>
            </a:r>
            <a:endParaRPr sz="1400" b="0" i="0" u="none" strike="noStrike" cap="none">
              <a:solidFill>
                <a:srgbClr val="000000"/>
              </a:solidFill>
              <a:latin typeface="Arial"/>
              <a:ea typeface="Arial"/>
              <a:cs typeface="Arial"/>
              <a:sym typeface="Arial"/>
            </a:endParaRPr>
          </a:p>
          <a:p>
            <a:pPr marL="358775" marR="0" lvl="2" indent="-179387" algn="l" rtl="0">
              <a:lnSpc>
                <a:spcPct val="95000"/>
              </a:lnSpc>
              <a:spcBef>
                <a:spcPts val="1000"/>
              </a:spcBef>
              <a:spcAft>
                <a:spcPts val="0"/>
              </a:spcAft>
              <a:buClr>
                <a:schemeClr val="dk2"/>
              </a:buClr>
              <a:buSzPts val="1600"/>
              <a:buFont typeface="Calibri"/>
              <a:buChar char="−"/>
            </a:pPr>
            <a:r>
              <a:rPr lang="en-US" sz="1600" b="0" i="0" u="none" strike="noStrike" cap="none">
                <a:solidFill>
                  <a:schemeClr val="dk1"/>
                </a:solidFill>
                <a:latin typeface="Calibri"/>
                <a:ea typeface="Calibri"/>
                <a:cs typeface="Calibri"/>
                <a:sym typeface="Calibri"/>
              </a:rPr>
              <a:t>Large outsourcing companies focusing on volume work</a:t>
            </a:r>
            <a:endParaRPr sz="1400" b="0" i="0" u="none" strike="noStrike" cap="none">
              <a:solidFill>
                <a:srgbClr val="000000"/>
              </a:solidFill>
              <a:latin typeface="Arial"/>
              <a:ea typeface="Arial"/>
              <a:cs typeface="Arial"/>
              <a:sym typeface="Arial"/>
            </a:endParaRPr>
          </a:p>
          <a:p>
            <a:pPr marL="358775" marR="0" lvl="2" indent="-179387" algn="l" rtl="0">
              <a:lnSpc>
                <a:spcPct val="95000"/>
              </a:lnSpc>
              <a:spcBef>
                <a:spcPts val="1000"/>
              </a:spcBef>
              <a:spcAft>
                <a:spcPts val="0"/>
              </a:spcAft>
              <a:buClr>
                <a:schemeClr val="dk2"/>
              </a:buClr>
              <a:buSzPts val="1600"/>
              <a:buFont typeface="Calibri"/>
              <a:buChar char="−"/>
            </a:pPr>
            <a:r>
              <a:rPr lang="en-US" sz="1600" b="0" i="0" u="none" strike="noStrike" cap="none">
                <a:solidFill>
                  <a:schemeClr val="dk1"/>
                </a:solidFill>
                <a:latin typeface="Calibri"/>
                <a:ea typeface="Calibri"/>
                <a:cs typeface="Calibri"/>
                <a:sym typeface="Calibri"/>
              </a:rPr>
              <a:t>Independent freelancers covering a large scope with limited scalability and not enough guarantees (confidentiality, quality etc.)</a:t>
            </a:r>
            <a:endParaRPr sz="1400" b="0" i="0" u="none" strike="noStrike" cap="none">
              <a:solidFill>
                <a:srgbClr val="000000"/>
              </a:solidFill>
              <a:latin typeface="Arial"/>
              <a:ea typeface="Arial"/>
              <a:cs typeface="Arial"/>
              <a:sym typeface="Arial"/>
            </a:endParaRPr>
          </a:p>
          <a:p>
            <a:pPr marL="358775" marR="0" lvl="2" indent="-179387" algn="l" rtl="0">
              <a:lnSpc>
                <a:spcPct val="95000"/>
              </a:lnSpc>
              <a:spcBef>
                <a:spcPts val="1000"/>
              </a:spcBef>
              <a:spcAft>
                <a:spcPts val="0"/>
              </a:spcAft>
              <a:buClr>
                <a:schemeClr val="dk2"/>
              </a:buClr>
              <a:buSzPts val="1600"/>
              <a:buFont typeface="Calibri"/>
              <a:buChar char="−"/>
            </a:pPr>
            <a:r>
              <a:rPr lang="en-US" sz="1600" b="0" i="0" u="none" strike="noStrike" cap="none">
                <a:solidFill>
                  <a:schemeClr val="dk1"/>
                </a:solidFill>
                <a:latin typeface="Calibri"/>
                <a:ea typeface="Calibri"/>
                <a:cs typeface="Calibri"/>
                <a:sym typeface="Calibri"/>
              </a:rPr>
              <a:t>Creative agencies focus on marketing related content</a:t>
            </a:r>
            <a:endParaRPr sz="1400" b="0" i="0" u="none" strike="noStrike" cap="none">
              <a:solidFill>
                <a:srgbClr val="000000"/>
              </a:solidFill>
              <a:latin typeface="Arial"/>
              <a:ea typeface="Arial"/>
              <a:cs typeface="Arial"/>
              <a:sym typeface="Arial"/>
            </a:endParaRPr>
          </a:p>
        </p:txBody>
      </p:sp>
      <p:sp>
        <p:nvSpPr>
          <p:cNvPr id="1979" name="Google Shape;1979;p14"/>
          <p:cNvSpPr txBox="1"/>
          <p:nvPr/>
        </p:nvSpPr>
        <p:spPr>
          <a:xfrm>
            <a:off x="550863" y="1990542"/>
            <a:ext cx="5193608" cy="292388"/>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2000"/>
              <a:buFont typeface="Arial"/>
              <a:buNone/>
            </a:pPr>
            <a:r>
              <a:rPr lang="en-US" sz="2000" b="0" i="0" u="none" strike="noStrike" cap="none">
                <a:solidFill>
                  <a:schemeClr val="accent1"/>
                </a:solidFill>
                <a:latin typeface="Lato Black"/>
                <a:ea typeface="Lato Black"/>
                <a:cs typeface="Lato Black"/>
                <a:sym typeface="Lato Black"/>
              </a:rPr>
              <a:t>Traditional Graphic design model</a:t>
            </a:r>
            <a:endParaRPr sz="1400" b="0" i="0" u="none" strike="noStrike" cap="none">
              <a:solidFill>
                <a:srgbClr val="000000"/>
              </a:solidFill>
              <a:latin typeface="Arial"/>
              <a:ea typeface="Arial"/>
              <a:cs typeface="Arial"/>
              <a:sym typeface="Arial"/>
            </a:endParaRPr>
          </a:p>
        </p:txBody>
      </p:sp>
      <p:sp>
        <p:nvSpPr>
          <p:cNvPr id="1980" name="Google Shape;1980;p14"/>
          <p:cNvSpPr txBox="1"/>
          <p:nvPr/>
        </p:nvSpPr>
        <p:spPr>
          <a:xfrm>
            <a:off x="6447529" y="2476561"/>
            <a:ext cx="5193608" cy="3682034"/>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chemeClr val="accent1"/>
              </a:buClr>
              <a:buSzPts val="1440"/>
              <a:buFont typeface="Noto Sans Symbols"/>
              <a:buChar char="▪"/>
            </a:pPr>
            <a:r>
              <a:rPr lang="en-US" sz="1600" b="0" i="0" u="none" strike="noStrike" cap="none">
                <a:solidFill>
                  <a:schemeClr val="lt1"/>
                </a:solidFill>
                <a:latin typeface="Calibri"/>
                <a:ea typeface="Calibri"/>
                <a:cs typeface="Calibri"/>
                <a:sym typeface="Calibri"/>
              </a:rPr>
              <a:t>Our Designers have both strong </a:t>
            </a:r>
            <a:r>
              <a:rPr lang="en-US" sz="1600" b="1" i="0" u="none" strike="noStrike" cap="none">
                <a:solidFill>
                  <a:schemeClr val="lt1"/>
                </a:solidFill>
                <a:latin typeface="Calibri"/>
                <a:ea typeface="Calibri"/>
                <a:cs typeface="Calibri"/>
                <a:sym typeface="Calibri"/>
              </a:rPr>
              <a:t>business acumen and creative thinking</a:t>
            </a:r>
            <a:endParaRPr sz="1440" b="1" i="0" u="none" strike="noStrike" cap="none">
              <a:solidFill>
                <a:schemeClr val="lt1"/>
              </a:solidFill>
              <a:latin typeface="Calibri"/>
              <a:ea typeface="Calibri"/>
              <a:cs typeface="Calibri"/>
              <a:sym typeface="Calibri"/>
            </a:endParaRPr>
          </a:p>
          <a:p>
            <a:pPr marL="358775" marR="0" lvl="2" indent="-179387" algn="l" rtl="0">
              <a:lnSpc>
                <a:spcPct val="95000"/>
              </a:lnSpc>
              <a:spcBef>
                <a:spcPts val="500"/>
              </a:spcBef>
              <a:spcAft>
                <a:spcPts val="0"/>
              </a:spcAft>
              <a:buClr>
                <a:schemeClr val="accent1"/>
              </a:buClr>
              <a:buSzPts val="1600"/>
              <a:buFont typeface="Calibri"/>
              <a:buChar char="−"/>
            </a:pPr>
            <a:r>
              <a:rPr lang="en-US" sz="1600" b="0" i="0" u="none" strike="noStrike" cap="none">
                <a:solidFill>
                  <a:schemeClr val="lt1"/>
                </a:solidFill>
                <a:latin typeface="Calibri"/>
                <a:ea typeface="Calibri"/>
                <a:cs typeface="Calibri"/>
                <a:sym typeface="Calibri"/>
              </a:rPr>
              <a:t>They understand and like business</a:t>
            </a:r>
            <a:endParaRPr sz="1400" b="0" i="0" u="none" strike="noStrike" cap="none">
              <a:solidFill>
                <a:srgbClr val="000000"/>
              </a:solidFill>
              <a:latin typeface="Arial"/>
              <a:ea typeface="Arial"/>
              <a:cs typeface="Arial"/>
              <a:sym typeface="Arial"/>
            </a:endParaRPr>
          </a:p>
          <a:p>
            <a:pPr marL="358775" marR="0" lvl="2" indent="-179387" algn="l" rtl="0">
              <a:lnSpc>
                <a:spcPct val="95000"/>
              </a:lnSpc>
              <a:spcBef>
                <a:spcPts val="500"/>
              </a:spcBef>
              <a:spcAft>
                <a:spcPts val="0"/>
              </a:spcAft>
              <a:buClr>
                <a:schemeClr val="accent1"/>
              </a:buClr>
              <a:buSzPts val="1600"/>
              <a:buFont typeface="Calibri"/>
              <a:buChar char="−"/>
            </a:pPr>
            <a:r>
              <a:rPr lang="en-US" sz="1600" b="0" i="0" u="none" strike="noStrike" cap="none">
                <a:solidFill>
                  <a:schemeClr val="lt1"/>
                </a:solidFill>
                <a:latin typeface="Calibri"/>
                <a:ea typeface="Calibri"/>
                <a:cs typeface="Calibri"/>
                <a:sym typeface="Calibri"/>
              </a:rPr>
              <a:t>They are trained and immersed in a business-friendly environment</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1000"/>
              </a:spcBef>
              <a:spcAft>
                <a:spcPts val="0"/>
              </a:spcAft>
              <a:buClr>
                <a:schemeClr val="accent1"/>
              </a:buClr>
              <a:buSzPts val="1440"/>
              <a:buFont typeface="Noto Sans Symbols"/>
              <a:buChar char="▪"/>
            </a:pPr>
            <a:r>
              <a:rPr lang="en-US" sz="1600" b="0" i="0" u="none" strike="noStrike" cap="none">
                <a:solidFill>
                  <a:schemeClr val="lt1"/>
                </a:solidFill>
                <a:latin typeface="Calibri"/>
                <a:ea typeface="Calibri"/>
                <a:cs typeface="Calibri"/>
                <a:sym typeface="Calibri"/>
              </a:rPr>
              <a:t>We focus our design work on </a:t>
            </a:r>
            <a:r>
              <a:rPr lang="en-US" sz="1600" b="1" i="0" u="none" strike="noStrike" cap="none">
                <a:solidFill>
                  <a:schemeClr val="lt1"/>
                </a:solidFill>
                <a:latin typeface="Calibri"/>
                <a:ea typeface="Calibri"/>
                <a:cs typeface="Calibri"/>
                <a:sym typeface="Calibri"/>
              </a:rPr>
              <a:t>high-end business-related design</a:t>
            </a:r>
            <a:r>
              <a:rPr lang="en-US" sz="1600" b="0" i="0" u="none" strike="noStrike" cap="none">
                <a:solidFill>
                  <a:schemeClr val="lt1"/>
                </a:solidFill>
                <a:latin typeface="Calibri"/>
                <a:ea typeface="Calibri"/>
                <a:cs typeface="Calibri"/>
                <a:sym typeface="Calibri"/>
              </a:rPr>
              <a:t> – We understand the content you want to represent</a:t>
            </a:r>
            <a:endParaRPr sz="1440" b="0" i="0" u="none" strike="noStrike" cap="none">
              <a:solidFill>
                <a:schemeClr val="lt1"/>
              </a:solidFill>
              <a:latin typeface="Calibri"/>
              <a:ea typeface="Calibri"/>
              <a:cs typeface="Calibri"/>
              <a:sym typeface="Calibri"/>
            </a:endParaRPr>
          </a:p>
          <a:p>
            <a:pPr marL="176213" marR="0" lvl="1" indent="-176213" algn="l" rtl="0">
              <a:lnSpc>
                <a:spcPct val="95000"/>
              </a:lnSpc>
              <a:spcBef>
                <a:spcPts val="1000"/>
              </a:spcBef>
              <a:spcAft>
                <a:spcPts val="0"/>
              </a:spcAft>
              <a:buClr>
                <a:schemeClr val="accent1"/>
              </a:buClr>
              <a:buSzPts val="1440"/>
              <a:buFont typeface="Noto Sans Symbols"/>
              <a:buChar char="▪"/>
            </a:pPr>
            <a:r>
              <a:rPr lang="en-US" sz="1600" b="0" i="0" u="none" strike="noStrike" cap="none">
                <a:solidFill>
                  <a:schemeClr val="lt1"/>
                </a:solidFill>
                <a:latin typeface="Calibri"/>
                <a:ea typeface="Calibri"/>
                <a:cs typeface="Calibri"/>
                <a:sym typeface="Calibri"/>
              </a:rPr>
              <a:t>Infomineo hires </a:t>
            </a:r>
            <a:r>
              <a:rPr lang="en-US" sz="1600" b="1" i="0" u="none" strike="noStrike" cap="none">
                <a:solidFill>
                  <a:schemeClr val="lt1"/>
                </a:solidFill>
                <a:latin typeface="Calibri"/>
                <a:ea typeface="Calibri"/>
                <a:cs typeface="Calibri"/>
                <a:sym typeface="Calibri"/>
              </a:rPr>
              <a:t>full time designers </a:t>
            </a:r>
            <a:r>
              <a:rPr lang="en-US" sz="1600" b="0" i="0" u="none" strike="noStrike" cap="none">
                <a:solidFill>
                  <a:schemeClr val="lt1"/>
                </a:solidFill>
                <a:latin typeface="Calibri"/>
                <a:ea typeface="Calibri"/>
                <a:cs typeface="Calibri"/>
                <a:sym typeface="Calibri"/>
              </a:rPr>
              <a:t>working from the office </a:t>
            </a:r>
            <a:endParaRPr sz="1600" b="0" i="0" u="none" strike="noStrike" cap="none">
              <a:solidFill>
                <a:schemeClr val="lt1"/>
              </a:solidFill>
              <a:latin typeface="Calibri"/>
              <a:ea typeface="Calibri"/>
              <a:cs typeface="Calibri"/>
              <a:sym typeface="Calibri"/>
            </a:endParaRPr>
          </a:p>
          <a:p>
            <a:pPr marL="176213" marR="0" lvl="1" indent="-176213" algn="l" rtl="0">
              <a:lnSpc>
                <a:spcPct val="95000"/>
              </a:lnSpc>
              <a:spcBef>
                <a:spcPts val="1000"/>
              </a:spcBef>
              <a:spcAft>
                <a:spcPts val="0"/>
              </a:spcAft>
              <a:buClr>
                <a:schemeClr val="accent1"/>
              </a:buClr>
              <a:buSzPts val="1440"/>
              <a:buFont typeface="Noto Sans Symbols"/>
              <a:buChar char="▪"/>
            </a:pPr>
            <a:r>
              <a:rPr lang="en-US" sz="1600" b="0" i="0" u="none" strike="noStrike" cap="none">
                <a:solidFill>
                  <a:schemeClr val="lt1"/>
                </a:solidFill>
                <a:latin typeface="Calibri"/>
                <a:ea typeface="Calibri"/>
                <a:cs typeface="Calibri"/>
                <a:sym typeface="Calibri"/>
              </a:rPr>
              <a:t>We are an outsourcing company managed by former </a:t>
            </a:r>
            <a:r>
              <a:rPr lang="en-US" sz="1600" b="1" i="0" u="none" strike="noStrike" cap="none">
                <a:solidFill>
                  <a:schemeClr val="lt1"/>
                </a:solidFill>
                <a:latin typeface="Calibri"/>
                <a:ea typeface="Calibri"/>
                <a:cs typeface="Calibri"/>
                <a:sym typeface="Calibri"/>
              </a:rPr>
              <a:t>consultants</a:t>
            </a:r>
            <a:r>
              <a:rPr lang="en-US" sz="1600" b="0" i="0" u="none" strike="noStrike" cap="none">
                <a:solidFill>
                  <a:schemeClr val="lt1"/>
                </a:solidFill>
                <a:latin typeface="Calibri"/>
                <a:ea typeface="Calibri"/>
                <a:cs typeface="Calibri"/>
                <a:sym typeface="Calibri"/>
              </a:rPr>
              <a:t> – We understand your agenda and put in place the processes which fit your needs the best</a:t>
            </a:r>
            <a:endParaRPr sz="1440" b="0" i="0" u="none" strike="noStrike" cap="none">
              <a:solidFill>
                <a:schemeClr val="lt1"/>
              </a:solidFill>
              <a:latin typeface="Calibri"/>
              <a:ea typeface="Calibri"/>
              <a:cs typeface="Calibri"/>
              <a:sym typeface="Calibri"/>
            </a:endParaRPr>
          </a:p>
          <a:p>
            <a:pPr marL="176213" marR="0" lvl="1" indent="-176213" algn="l" rtl="0">
              <a:lnSpc>
                <a:spcPct val="95000"/>
              </a:lnSpc>
              <a:spcBef>
                <a:spcPts val="1000"/>
              </a:spcBef>
              <a:spcAft>
                <a:spcPts val="0"/>
              </a:spcAft>
              <a:buClr>
                <a:schemeClr val="accent1"/>
              </a:buClr>
              <a:buSzPts val="1440"/>
              <a:buFont typeface="Noto Sans Symbols"/>
              <a:buChar char="▪"/>
            </a:pPr>
            <a:r>
              <a:rPr lang="en-US" sz="1600" b="0" i="0" u="none" strike="noStrike" cap="none">
                <a:solidFill>
                  <a:schemeClr val="lt1"/>
                </a:solidFill>
                <a:latin typeface="Calibri"/>
                <a:ea typeface="Calibri"/>
                <a:cs typeface="Calibri"/>
                <a:sym typeface="Calibri"/>
              </a:rPr>
              <a:t>We work </a:t>
            </a:r>
            <a:r>
              <a:rPr lang="en-US" sz="1600" b="1" i="0" u="none" strike="noStrike" cap="none">
                <a:solidFill>
                  <a:schemeClr val="lt1"/>
                </a:solidFill>
                <a:latin typeface="Calibri"/>
                <a:ea typeface="Calibri"/>
                <a:cs typeface="Calibri"/>
                <a:sym typeface="Calibri"/>
              </a:rPr>
              <a:t>exclusively</a:t>
            </a:r>
            <a:r>
              <a:rPr lang="en-US" sz="1600" b="0" i="0" u="none" strike="noStrike" cap="none">
                <a:solidFill>
                  <a:schemeClr val="lt1"/>
                </a:solidFill>
                <a:latin typeface="Calibri"/>
                <a:ea typeface="Calibri"/>
                <a:cs typeface="Calibri"/>
                <a:sym typeface="Calibri"/>
              </a:rPr>
              <a:t> for consultancies, government entities and large corporations</a:t>
            </a:r>
            <a:endParaRPr sz="1440" b="0" i="0" u="none" strike="noStrike" cap="none">
              <a:solidFill>
                <a:schemeClr val="lt1"/>
              </a:solidFill>
              <a:latin typeface="Calibri"/>
              <a:ea typeface="Calibri"/>
              <a:cs typeface="Calibri"/>
              <a:sym typeface="Calibri"/>
            </a:endParaRPr>
          </a:p>
        </p:txBody>
      </p:sp>
      <p:sp>
        <p:nvSpPr>
          <p:cNvPr id="1981" name="Google Shape;1981;p14"/>
          <p:cNvSpPr txBox="1"/>
          <p:nvPr/>
        </p:nvSpPr>
        <p:spPr>
          <a:xfrm>
            <a:off x="6447529" y="1990542"/>
            <a:ext cx="5193608" cy="292388"/>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2000"/>
              <a:buFont typeface="Arial"/>
              <a:buNone/>
            </a:pPr>
            <a:r>
              <a:rPr lang="en-US" sz="2000" b="0" i="0" u="none" strike="noStrike" cap="none">
                <a:solidFill>
                  <a:schemeClr val="accent1"/>
                </a:solidFill>
                <a:latin typeface="Lato Black"/>
                <a:ea typeface="Lato Black"/>
                <a:cs typeface="Lato Black"/>
                <a:sym typeface="Lato Black"/>
              </a:rPr>
              <a:t>Infomineo model</a:t>
            </a:r>
            <a:endParaRPr sz="1400" b="0" i="0" u="none" strike="noStrike" cap="none">
              <a:solidFill>
                <a:srgbClr val="000000"/>
              </a:solidFill>
              <a:latin typeface="Arial"/>
              <a:ea typeface="Arial"/>
              <a:cs typeface="Arial"/>
              <a:sym typeface="Arial"/>
            </a:endParaRPr>
          </a:p>
        </p:txBody>
      </p:sp>
      <p:grpSp>
        <p:nvGrpSpPr>
          <p:cNvPr id="1982" name="Google Shape;1982;p14"/>
          <p:cNvGrpSpPr/>
          <p:nvPr/>
        </p:nvGrpSpPr>
        <p:grpSpPr>
          <a:xfrm>
            <a:off x="10804124" y="135255"/>
            <a:ext cx="1219073" cy="468742"/>
            <a:chOff x="10804124" y="135255"/>
            <a:chExt cx="1219073" cy="468742"/>
          </a:xfrm>
        </p:grpSpPr>
        <p:grpSp>
          <p:nvGrpSpPr>
            <p:cNvPr id="1983" name="Google Shape;1983;p14"/>
            <p:cNvGrpSpPr/>
            <p:nvPr/>
          </p:nvGrpSpPr>
          <p:grpSpPr>
            <a:xfrm>
              <a:off x="10804124" y="135255"/>
              <a:ext cx="1219073" cy="468742"/>
              <a:chOff x="10804124" y="135255"/>
              <a:chExt cx="1219073" cy="468742"/>
            </a:xfrm>
          </p:grpSpPr>
          <p:sp>
            <p:nvSpPr>
              <p:cNvPr id="1984" name="Google Shape;1984;p14"/>
              <p:cNvSpPr txBox="1"/>
              <p:nvPr/>
            </p:nvSpPr>
            <p:spPr>
              <a:xfrm>
                <a:off x="10804124" y="230150"/>
                <a:ext cx="706140" cy="2769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lt1"/>
                    </a:solidFill>
                    <a:latin typeface="Franklin Gothic"/>
                    <a:ea typeface="Franklin Gothic"/>
                    <a:cs typeface="Franklin Gothic"/>
                    <a:sym typeface="Franklin Gothic"/>
                  </a:rPr>
                  <a:t>Graphic design</a:t>
                </a:r>
                <a:endParaRPr sz="1400" b="0" i="0" u="none" strike="noStrike" cap="none">
                  <a:solidFill>
                    <a:srgbClr val="000000"/>
                  </a:solidFill>
                  <a:latin typeface="Arial"/>
                  <a:ea typeface="Arial"/>
                  <a:cs typeface="Arial"/>
                  <a:sym typeface="Arial"/>
                </a:endParaRPr>
              </a:p>
            </p:txBody>
          </p:sp>
          <p:sp>
            <p:nvSpPr>
              <p:cNvPr id="1985" name="Google Shape;1985;p14"/>
              <p:cNvSpPr/>
              <p:nvPr/>
            </p:nvSpPr>
            <p:spPr>
              <a:xfrm>
                <a:off x="11554453" y="135255"/>
                <a:ext cx="468744" cy="468742"/>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pic>
          <p:nvPicPr>
            <p:cNvPr id="1986" name="Google Shape;1986;p14"/>
            <p:cNvPicPr preferRelativeResize="0"/>
            <p:nvPr/>
          </p:nvPicPr>
          <p:blipFill rotWithShape="1">
            <a:blip r:embed="rId3">
              <a:alphaModFix/>
            </a:blip>
            <a:srcRect/>
            <a:stretch/>
          </p:blipFill>
          <p:spPr>
            <a:xfrm>
              <a:off x="11648065" y="227889"/>
              <a:ext cx="281520" cy="281520"/>
            </a:xfrm>
            <a:prstGeom prst="rect">
              <a:avLst/>
            </a:prstGeom>
            <a:noFill/>
            <a:ln>
              <a:noFill/>
            </a:ln>
          </p:spPr>
        </p:pic>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990"/>
        <p:cNvGrpSpPr/>
        <p:nvPr/>
      </p:nvGrpSpPr>
      <p:grpSpPr>
        <a:xfrm>
          <a:off x="0" y="0"/>
          <a:ext cx="0" cy="0"/>
          <a:chOff x="0" y="0"/>
          <a:chExt cx="0" cy="0"/>
        </a:xfrm>
      </p:grpSpPr>
      <p:pic>
        <p:nvPicPr>
          <p:cNvPr id="1991" name="Google Shape;1991;p15"/>
          <p:cNvPicPr preferRelativeResize="0"/>
          <p:nvPr/>
        </p:nvPicPr>
        <p:blipFill rotWithShape="1">
          <a:blip r:embed="rId3">
            <a:alphaModFix/>
          </a:blip>
          <a:srcRect/>
          <a:stretch/>
        </p:blipFill>
        <p:spPr>
          <a:xfrm>
            <a:off x="1566629" y="3980496"/>
            <a:ext cx="2568707" cy="2580418"/>
          </a:xfrm>
          <a:prstGeom prst="rect">
            <a:avLst/>
          </a:prstGeom>
          <a:noFill/>
          <a:ln>
            <a:noFill/>
          </a:ln>
        </p:spPr>
      </p:pic>
      <p:sp>
        <p:nvSpPr>
          <p:cNvPr id="1992" name="Google Shape;1992;p15"/>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Franklin Gothic"/>
              <a:buNone/>
            </a:pPr>
            <a:r>
              <a:rPr lang="en-US"/>
              <a:t>Infomineo proposes three levels of value add</a:t>
            </a:r>
            <a:endParaRPr/>
          </a:p>
        </p:txBody>
      </p:sp>
      <p:grpSp>
        <p:nvGrpSpPr>
          <p:cNvPr id="1993" name="Google Shape;1993;p15"/>
          <p:cNvGrpSpPr/>
          <p:nvPr/>
        </p:nvGrpSpPr>
        <p:grpSpPr>
          <a:xfrm>
            <a:off x="445787" y="1255866"/>
            <a:ext cx="3547381" cy="1574878"/>
            <a:chOff x="445787" y="1255866"/>
            <a:chExt cx="3024001" cy="1574878"/>
          </a:xfrm>
        </p:grpSpPr>
        <p:cxnSp>
          <p:nvCxnSpPr>
            <p:cNvPr id="1994" name="Google Shape;1994;p15"/>
            <p:cNvCxnSpPr/>
            <p:nvPr/>
          </p:nvCxnSpPr>
          <p:spPr>
            <a:xfrm rot="10800000">
              <a:off x="445788" y="1587295"/>
              <a:ext cx="3024000" cy="0"/>
            </a:xfrm>
            <a:prstGeom prst="straightConnector1">
              <a:avLst/>
            </a:prstGeom>
            <a:noFill/>
            <a:ln w="12700" cap="flat" cmpd="sng">
              <a:solidFill>
                <a:schemeClr val="accent1"/>
              </a:solidFill>
              <a:prstDash val="solid"/>
              <a:miter lim="800000"/>
              <a:headEnd type="none" w="sm" len="sm"/>
              <a:tailEnd type="none" w="sm" len="sm"/>
            </a:ln>
          </p:spPr>
        </p:cxnSp>
        <p:sp>
          <p:nvSpPr>
            <p:cNvPr id="1995" name="Google Shape;1995;p15"/>
            <p:cNvSpPr txBox="1"/>
            <p:nvPr/>
          </p:nvSpPr>
          <p:spPr>
            <a:xfrm>
              <a:off x="445787" y="1833548"/>
              <a:ext cx="3024000" cy="997196"/>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600"/>
                <a:buFont typeface="Arial"/>
                <a:buNone/>
              </a:pPr>
              <a:r>
                <a:rPr lang="en-US" sz="1800" b="0" i="0" u="none" strike="noStrike" cap="none">
                  <a:solidFill>
                    <a:srgbClr val="222222"/>
                  </a:solidFill>
                  <a:latin typeface="Calibri"/>
                  <a:ea typeface="Calibri"/>
                  <a:cs typeface="Calibri"/>
                  <a:sym typeface="Calibri"/>
                </a:rPr>
                <a:t>Our designers take your sketch or draft and put it in whatever medium you prefer in a consistent and rigorous way</a:t>
              </a:r>
              <a:endParaRPr sz="1800" b="0" i="0" u="none" strike="noStrike" cap="none">
                <a:solidFill>
                  <a:schemeClr val="dk1"/>
                </a:solidFill>
                <a:latin typeface="Calibri"/>
                <a:ea typeface="Calibri"/>
                <a:cs typeface="Calibri"/>
                <a:sym typeface="Calibri"/>
              </a:endParaRPr>
            </a:p>
          </p:txBody>
        </p:sp>
        <p:sp>
          <p:nvSpPr>
            <p:cNvPr id="1996" name="Google Shape;1996;p15"/>
            <p:cNvSpPr txBox="1"/>
            <p:nvPr/>
          </p:nvSpPr>
          <p:spPr>
            <a:xfrm>
              <a:off x="445788" y="1255866"/>
              <a:ext cx="3024000" cy="304699"/>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rgbClr val="000000"/>
                </a:buClr>
                <a:buSzPts val="2200"/>
                <a:buFont typeface="Arial"/>
                <a:buNone/>
              </a:pPr>
              <a:r>
                <a:rPr lang="en-US" sz="2200" b="1" i="0" u="none" strike="noStrike" cap="none">
                  <a:solidFill>
                    <a:schemeClr val="accent1"/>
                  </a:solidFill>
                  <a:latin typeface="Calibri"/>
                  <a:ea typeface="Calibri"/>
                  <a:cs typeface="Calibri"/>
                  <a:sym typeface="Calibri"/>
                </a:rPr>
                <a:t>Standard</a:t>
              </a:r>
              <a:endParaRPr sz="1400" b="0" i="0" u="none" strike="noStrike" cap="none">
                <a:solidFill>
                  <a:srgbClr val="000000"/>
                </a:solidFill>
                <a:latin typeface="Arial"/>
                <a:ea typeface="Arial"/>
                <a:cs typeface="Arial"/>
                <a:sym typeface="Arial"/>
              </a:endParaRPr>
            </a:p>
          </p:txBody>
        </p:sp>
      </p:grpSp>
      <p:pic>
        <p:nvPicPr>
          <p:cNvPr id="1997" name="Google Shape;1997;p15"/>
          <p:cNvPicPr preferRelativeResize="0"/>
          <p:nvPr/>
        </p:nvPicPr>
        <p:blipFill rotWithShape="1">
          <a:blip r:embed="rId4">
            <a:alphaModFix/>
          </a:blip>
          <a:srcRect/>
          <a:stretch/>
        </p:blipFill>
        <p:spPr>
          <a:xfrm>
            <a:off x="387233" y="2992928"/>
            <a:ext cx="2568707" cy="2347661"/>
          </a:xfrm>
          <a:prstGeom prst="rect">
            <a:avLst/>
          </a:prstGeom>
          <a:noFill/>
          <a:ln>
            <a:noFill/>
          </a:ln>
        </p:spPr>
      </p:pic>
      <p:grpSp>
        <p:nvGrpSpPr>
          <p:cNvPr id="1998" name="Google Shape;1998;p15"/>
          <p:cNvGrpSpPr/>
          <p:nvPr/>
        </p:nvGrpSpPr>
        <p:grpSpPr>
          <a:xfrm>
            <a:off x="4438380" y="1255866"/>
            <a:ext cx="3547380" cy="1574878"/>
            <a:chOff x="4611100" y="1255866"/>
            <a:chExt cx="3024000" cy="1574878"/>
          </a:xfrm>
        </p:grpSpPr>
        <p:cxnSp>
          <p:nvCxnSpPr>
            <p:cNvPr id="1999" name="Google Shape;1999;p15"/>
            <p:cNvCxnSpPr/>
            <p:nvPr/>
          </p:nvCxnSpPr>
          <p:spPr>
            <a:xfrm rot="10800000">
              <a:off x="4611100" y="1587295"/>
              <a:ext cx="3024000" cy="0"/>
            </a:xfrm>
            <a:prstGeom prst="straightConnector1">
              <a:avLst/>
            </a:prstGeom>
            <a:noFill/>
            <a:ln w="12700" cap="flat" cmpd="sng">
              <a:solidFill>
                <a:schemeClr val="accent1"/>
              </a:solidFill>
              <a:prstDash val="solid"/>
              <a:miter lim="800000"/>
              <a:headEnd type="none" w="sm" len="sm"/>
              <a:tailEnd type="none" w="sm" len="sm"/>
            </a:ln>
          </p:spPr>
        </p:cxnSp>
        <p:sp>
          <p:nvSpPr>
            <p:cNvPr id="2000" name="Google Shape;2000;p15"/>
            <p:cNvSpPr txBox="1"/>
            <p:nvPr/>
          </p:nvSpPr>
          <p:spPr>
            <a:xfrm>
              <a:off x="4611100" y="1255866"/>
              <a:ext cx="3024000" cy="304699"/>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rgbClr val="000000"/>
                </a:buClr>
                <a:buSzPts val="2200"/>
                <a:buFont typeface="Arial"/>
                <a:buNone/>
              </a:pPr>
              <a:r>
                <a:rPr lang="en-US" sz="2200" b="1" i="0" u="none" strike="noStrike" cap="none">
                  <a:solidFill>
                    <a:schemeClr val="accent1"/>
                  </a:solidFill>
                  <a:latin typeface="Calibri"/>
                  <a:ea typeface="Calibri"/>
                  <a:cs typeface="Calibri"/>
                  <a:sym typeface="Calibri"/>
                </a:rPr>
                <a:t>Advanced</a:t>
              </a:r>
              <a:endParaRPr sz="1400" b="0" i="0" u="none" strike="noStrike" cap="none">
                <a:solidFill>
                  <a:srgbClr val="000000"/>
                </a:solidFill>
                <a:latin typeface="Arial"/>
                <a:ea typeface="Arial"/>
                <a:cs typeface="Arial"/>
                <a:sym typeface="Arial"/>
              </a:endParaRPr>
            </a:p>
          </p:txBody>
        </p:sp>
        <p:sp>
          <p:nvSpPr>
            <p:cNvPr id="2001" name="Google Shape;2001;p15"/>
            <p:cNvSpPr txBox="1"/>
            <p:nvPr/>
          </p:nvSpPr>
          <p:spPr>
            <a:xfrm>
              <a:off x="4611100" y="1833548"/>
              <a:ext cx="3024000" cy="997196"/>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600"/>
                <a:buFont typeface="Arial"/>
                <a:buNone/>
              </a:pPr>
              <a:r>
                <a:rPr lang="en-US" sz="1800" b="0" i="0" u="none" strike="noStrike" cap="none">
                  <a:solidFill>
                    <a:srgbClr val="222222"/>
                  </a:solidFill>
                  <a:latin typeface="Calibri"/>
                  <a:ea typeface="Calibri"/>
                  <a:cs typeface="Calibri"/>
                  <a:sym typeface="Calibri"/>
                </a:rPr>
                <a:t>Our designers take your draft and find ways to improve its design by restructuring it, adding visuals or others.</a:t>
              </a:r>
              <a:endParaRPr sz="1800" b="0" i="0" u="none" strike="noStrike" cap="none">
                <a:solidFill>
                  <a:schemeClr val="dk1"/>
                </a:solidFill>
                <a:latin typeface="Calibri"/>
                <a:ea typeface="Calibri"/>
                <a:cs typeface="Calibri"/>
                <a:sym typeface="Calibri"/>
              </a:endParaRPr>
            </a:p>
          </p:txBody>
        </p:sp>
      </p:grpSp>
      <p:grpSp>
        <p:nvGrpSpPr>
          <p:cNvPr id="2002" name="Google Shape;2002;p15"/>
          <p:cNvGrpSpPr/>
          <p:nvPr/>
        </p:nvGrpSpPr>
        <p:grpSpPr>
          <a:xfrm>
            <a:off x="8382205" y="1255866"/>
            <a:ext cx="3547380" cy="1076280"/>
            <a:chOff x="4611100" y="1255866"/>
            <a:chExt cx="3024000" cy="1076280"/>
          </a:xfrm>
        </p:grpSpPr>
        <p:cxnSp>
          <p:nvCxnSpPr>
            <p:cNvPr id="2003" name="Google Shape;2003;p15"/>
            <p:cNvCxnSpPr/>
            <p:nvPr/>
          </p:nvCxnSpPr>
          <p:spPr>
            <a:xfrm rot="10800000">
              <a:off x="4611100" y="1587295"/>
              <a:ext cx="3024000" cy="0"/>
            </a:xfrm>
            <a:prstGeom prst="straightConnector1">
              <a:avLst/>
            </a:prstGeom>
            <a:noFill/>
            <a:ln w="12700" cap="flat" cmpd="sng">
              <a:solidFill>
                <a:schemeClr val="accent1"/>
              </a:solidFill>
              <a:prstDash val="solid"/>
              <a:miter lim="800000"/>
              <a:headEnd type="none" w="sm" len="sm"/>
              <a:tailEnd type="none" w="sm" len="sm"/>
            </a:ln>
          </p:spPr>
        </p:cxnSp>
        <p:sp>
          <p:nvSpPr>
            <p:cNvPr id="2004" name="Google Shape;2004;p15"/>
            <p:cNvSpPr txBox="1"/>
            <p:nvPr/>
          </p:nvSpPr>
          <p:spPr>
            <a:xfrm>
              <a:off x="4611100" y="1255866"/>
              <a:ext cx="3024000" cy="304699"/>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rgbClr val="000000"/>
                </a:buClr>
                <a:buSzPts val="2200"/>
                <a:buFont typeface="Arial"/>
                <a:buNone/>
              </a:pPr>
              <a:r>
                <a:rPr lang="en-US" sz="2200" b="1" i="0" u="none" strike="noStrike" cap="none">
                  <a:solidFill>
                    <a:schemeClr val="accent1"/>
                  </a:solidFill>
                  <a:latin typeface="Calibri"/>
                  <a:ea typeface="Calibri"/>
                  <a:cs typeface="Calibri"/>
                  <a:sym typeface="Calibri"/>
                </a:rPr>
                <a:t>Creative</a:t>
              </a:r>
              <a:endParaRPr sz="1400" b="0" i="0" u="none" strike="noStrike" cap="none">
                <a:solidFill>
                  <a:srgbClr val="000000"/>
                </a:solidFill>
                <a:latin typeface="Arial"/>
                <a:ea typeface="Arial"/>
                <a:cs typeface="Arial"/>
                <a:sym typeface="Arial"/>
              </a:endParaRPr>
            </a:p>
          </p:txBody>
        </p:sp>
        <p:sp>
          <p:nvSpPr>
            <p:cNvPr id="2005" name="Google Shape;2005;p15"/>
            <p:cNvSpPr txBox="1"/>
            <p:nvPr/>
          </p:nvSpPr>
          <p:spPr>
            <a:xfrm>
              <a:off x="4611100" y="1833548"/>
              <a:ext cx="3024000" cy="4985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600"/>
                <a:buFont typeface="Arial"/>
                <a:buNone/>
              </a:pPr>
              <a:r>
                <a:rPr lang="en-US" sz="1800" b="0" i="0" u="none" strike="noStrike" cap="none">
                  <a:solidFill>
                    <a:srgbClr val="222222"/>
                  </a:solidFill>
                  <a:latin typeface="Calibri"/>
                  <a:ea typeface="Calibri"/>
                  <a:cs typeface="Calibri"/>
                  <a:sym typeface="Calibri"/>
                </a:rPr>
                <a:t>Our designers propose creative ways to illustrate concepts and ideas</a:t>
              </a:r>
              <a:endParaRPr sz="1800" b="0" i="0" u="none" strike="noStrike" cap="none">
                <a:solidFill>
                  <a:schemeClr val="dk1"/>
                </a:solidFill>
                <a:latin typeface="Calibri"/>
                <a:ea typeface="Calibri"/>
                <a:cs typeface="Calibri"/>
                <a:sym typeface="Calibri"/>
              </a:endParaRPr>
            </a:p>
          </p:txBody>
        </p:sp>
      </p:grpSp>
      <p:pic>
        <p:nvPicPr>
          <p:cNvPr id="2006" name="Google Shape;2006;p15"/>
          <p:cNvPicPr preferRelativeResize="0"/>
          <p:nvPr/>
        </p:nvPicPr>
        <p:blipFill rotWithShape="1">
          <a:blip r:embed="rId5">
            <a:alphaModFix/>
          </a:blip>
          <a:srcRect/>
          <a:stretch/>
        </p:blipFill>
        <p:spPr>
          <a:xfrm>
            <a:off x="4407282" y="2992928"/>
            <a:ext cx="2828973" cy="1594228"/>
          </a:xfrm>
          <a:prstGeom prst="rect">
            <a:avLst/>
          </a:prstGeom>
          <a:noFill/>
          <a:ln>
            <a:noFill/>
          </a:ln>
        </p:spPr>
      </p:pic>
      <p:pic>
        <p:nvPicPr>
          <p:cNvPr id="2007" name="Google Shape;2007;p15"/>
          <p:cNvPicPr preferRelativeResize="0"/>
          <p:nvPr/>
        </p:nvPicPr>
        <p:blipFill rotWithShape="1">
          <a:blip r:embed="rId6">
            <a:alphaModFix/>
          </a:blip>
          <a:srcRect/>
          <a:stretch/>
        </p:blipFill>
        <p:spPr>
          <a:xfrm>
            <a:off x="4998102" y="4118483"/>
            <a:ext cx="2834184" cy="1589019"/>
          </a:xfrm>
          <a:prstGeom prst="rect">
            <a:avLst/>
          </a:prstGeom>
          <a:noFill/>
          <a:ln>
            <a:noFill/>
          </a:ln>
        </p:spPr>
      </p:pic>
      <p:pic>
        <p:nvPicPr>
          <p:cNvPr id="2008" name="Google Shape;2008;p15"/>
          <p:cNvPicPr preferRelativeResize="0"/>
          <p:nvPr/>
        </p:nvPicPr>
        <p:blipFill rotWithShape="1">
          <a:blip r:embed="rId7">
            <a:alphaModFix/>
          </a:blip>
          <a:srcRect b="63483"/>
          <a:stretch/>
        </p:blipFill>
        <p:spPr>
          <a:xfrm>
            <a:off x="4566793" y="4166759"/>
            <a:ext cx="1848401" cy="954704"/>
          </a:xfrm>
          <a:prstGeom prst="rect">
            <a:avLst/>
          </a:prstGeom>
          <a:noFill/>
          <a:ln>
            <a:noFill/>
          </a:ln>
        </p:spPr>
      </p:pic>
      <p:pic>
        <p:nvPicPr>
          <p:cNvPr id="2009" name="Google Shape;2009;p15"/>
          <p:cNvPicPr preferRelativeResize="0"/>
          <p:nvPr/>
        </p:nvPicPr>
        <p:blipFill rotWithShape="1">
          <a:blip r:embed="rId8">
            <a:alphaModFix/>
          </a:blip>
          <a:srcRect/>
          <a:stretch/>
        </p:blipFill>
        <p:spPr>
          <a:xfrm>
            <a:off x="8598363" y="2705761"/>
            <a:ext cx="3164571" cy="1918139"/>
          </a:xfrm>
          <a:prstGeom prst="rect">
            <a:avLst/>
          </a:prstGeom>
          <a:noFill/>
          <a:ln>
            <a:noFill/>
          </a:ln>
        </p:spPr>
      </p:pic>
      <p:pic>
        <p:nvPicPr>
          <p:cNvPr id="2010" name="Google Shape;2010;p15"/>
          <p:cNvPicPr preferRelativeResize="0"/>
          <p:nvPr/>
        </p:nvPicPr>
        <p:blipFill rotWithShape="1">
          <a:blip r:embed="rId9">
            <a:alphaModFix/>
          </a:blip>
          <a:srcRect/>
          <a:stretch/>
        </p:blipFill>
        <p:spPr>
          <a:xfrm>
            <a:off x="8219672" y="4497777"/>
            <a:ext cx="3377231" cy="1757040"/>
          </a:xfrm>
          <a:prstGeom prst="rect">
            <a:avLst/>
          </a:prstGeom>
          <a:noFill/>
          <a:ln>
            <a:noFill/>
          </a:ln>
        </p:spPr>
      </p:pic>
      <p:pic>
        <p:nvPicPr>
          <p:cNvPr id="2011" name="Google Shape;2011;p15"/>
          <p:cNvPicPr preferRelativeResize="0"/>
          <p:nvPr/>
        </p:nvPicPr>
        <p:blipFill rotWithShape="1">
          <a:blip r:embed="rId7">
            <a:alphaModFix/>
          </a:blip>
          <a:srcRect t="65036"/>
          <a:stretch/>
        </p:blipFill>
        <p:spPr>
          <a:xfrm>
            <a:off x="4566793" y="5086444"/>
            <a:ext cx="1848401" cy="914078"/>
          </a:xfrm>
          <a:prstGeom prst="rect">
            <a:avLst/>
          </a:prstGeom>
          <a:noFill/>
          <a:ln>
            <a:noFill/>
          </a:ln>
        </p:spPr>
      </p:pic>
      <p:sp>
        <p:nvSpPr>
          <p:cNvPr id="2012" name="Google Shape;2012;p15"/>
          <p:cNvSpPr/>
          <p:nvPr/>
        </p:nvSpPr>
        <p:spPr>
          <a:xfrm>
            <a:off x="2600960" y="5986655"/>
            <a:ext cx="6990080" cy="686019"/>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chemeClr val="lt1"/>
                </a:solidFill>
                <a:latin typeface="Arial"/>
                <a:ea typeface="Arial"/>
                <a:cs typeface="Arial"/>
                <a:sym typeface="Arial"/>
              </a:rPr>
              <a:t>We cover a wide range of design formats – PPT presentations, pdf brochures, infographics, videos etc</a:t>
            </a:r>
            <a:endParaRPr sz="1400" b="0" i="0" u="none" strike="noStrike" cap="none">
              <a:solidFill>
                <a:srgbClr val="000000"/>
              </a:solidFill>
              <a:latin typeface="Arial"/>
              <a:ea typeface="Arial"/>
              <a:cs typeface="Arial"/>
              <a:sym typeface="Arial"/>
            </a:endParaRPr>
          </a:p>
        </p:txBody>
      </p:sp>
      <p:grpSp>
        <p:nvGrpSpPr>
          <p:cNvPr id="2013" name="Google Shape;2013;p15"/>
          <p:cNvGrpSpPr/>
          <p:nvPr/>
        </p:nvGrpSpPr>
        <p:grpSpPr>
          <a:xfrm>
            <a:off x="10688715" y="135255"/>
            <a:ext cx="1334482" cy="468742"/>
            <a:chOff x="10688715" y="135255"/>
            <a:chExt cx="1334482" cy="468742"/>
          </a:xfrm>
        </p:grpSpPr>
        <p:grpSp>
          <p:nvGrpSpPr>
            <p:cNvPr id="2014" name="Google Shape;2014;p15"/>
            <p:cNvGrpSpPr/>
            <p:nvPr/>
          </p:nvGrpSpPr>
          <p:grpSpPr>
            <a:xfrm>
              <a:off x="10688715" y="135255"/>
              <a:ext cx="1334482" cy="468742"/>
              <a:chOff x="10688715" y="135255"/>
              <a:chExt cx="1334482" cy="468742"/>
            </a:xfrm>
          </p:grpSpPr>
          <p:sp>
            <p:nvSpPr>
              <p:cNvPr id="2015" name="Google Shape;2015;p15"/>
              <p:cNvSpPr txBox="1"/>
              <p:nvPr/>
            </p:nvSpPr>
            <p:spPr>
              <a:xfrm>
                <a:off x="10688715" y="230150"/>
                <a:ext cx="821549" cy="1384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Graphic design</a:t>
                </a:r>
                <a:endParaRPr sz="1400" b="0" i="0" u="none" strike="noStrike" cap="none">
                  <a:solidFill>
                    <a:srgbClr val="000000"/>
                  </a:solidFill>
                  <a:latin typeface="Arial"/>
                  <a:ea typeface="Arial"/>
                  <a:cs typeface="Arial"/>
                  <a:sym typeface="Arial"/>
                </a:endParaRPr>
              </a:p>
            </p:txBody>
          </p:sp>
          <p:sp>
            <p:nvSpPr>
              <p:cNvPr id="2016" name="Google Shape;2016;p15"/>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pic>
          <p:nvPicPr>
            <p:cNvPr id="2017" name="Google Shape;2017;p15"/>
            <p:cNvPicPr preferRelativeResize="0"/>
            <p:nvPr/>
          </p:nvPicPr>
          <p:blipFill rotWithShape="1">
            <a:blip r:embed="rId10">
              <a:alphaModFix/>
            </a:blip>
            <a:srcRect/>
            <a:stretch/>
          </p:blipFill>
          <p:spPr>
            <a:xfrm>
              <a:off x="11648065" y="227889"/>
              <a:ext cx="281520" cy="281520"/>
            </a:xfrm>
            <a:prstGeom prst="rect">
              <a:avLst/>
            </a:prstGeom>
            <a:noFill/>
            <a:ln>
              <a:noFill/>
            </a:ln>
          </p:spPr>
        </p:pic>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087"/>
        <p:cNvGrpSpPr/>
        <p:nvPr/>
      </p:nvGrpSpPr>
      <p:grpSpPr>
        <a:xfrm>
          <a:off x="0" y="0"/>
          <a:ext cx="0" cy="0"/>
          <a:chOff x="0" y="0"/>
          <a:chExt cx="0" cy="0"/>
        </a:xfrm>
      </p:grpSpPr>
      <p:pic>
        <p:nvPicPr>
          <p:cNvPr id="1088" name="Google Shape;1088;p72" descr="Diagram&#10;&#10;Description automatically generated"/>
          <p:cNvPicPr preferRelativeResize="0"/>
          <p:nvPr/>
        </p:nvPicPr>
        <p:blipFill rotWithShape="1">
          <a:blip r:embed="rId3">
            <a:alphaModFix/>
          </a:blip>
          <a:srcRect/>
          <a:stretch/>
        </p:blipFill>
        <p:spPr>
          <a:xfrm>
            <a:off x="340307" y="5225977"/>
            <a:ext cx="8232193" cy="1533549"/>
          </a:xfrm>
          <a:prstGeom prst="rect">
            <a:avLst/>
          </a:prstGeom>
          <a:noFill/>
          <a:ln>
            <a:noFill/>
          </a:ln>
        </p:spPr>
      </p:pic>
      <p:sp>
        <p:nvSpPr>
          <p:cNvPr id="1089" name="Google Shape;1089;p72"/>
          <p:cNvSpPr txBox="1">
            <a:spLocks noGrp="1"/>
          </p:cNvSpPr>
          <p:nvPr>
            <p:ph type="title"/>
          </p:nvPr>
        </p:nvSpPr>
        <p:spPr>
          <a:xfrm>
            <a:off x="539399" y="560588"/>
            <a:ext cx="11222661" cy="830997"/>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sz="3000" dirty="0"/>
              <a:t>As a senior professional you face many challenges – here is what we hear from you</a:t>
            </a:r>
            <a:endParaRPr dirty="0"/>
          </a:p>
        </p:txBody>
      </p:sp>
      <p:sp>
        <p:nvSpPr>
          <p:cNvPr id="1090" name="Google Shape;1090;p72"/>
          <p:cNvSpPr/>
          <p:nvPr/>
        </p:nvSpPr>
        <p:spPr>
          <a:xfrm>
            <a:off x="9438246" y="2674199"/>
            <a:ext cx="2323826" cy="1329595"/>
          </a:xfrm>
          <a:prstGeom prst="rect">
            <a:avLst/>
          </a:prstGeom>
          <a:noFill/>
          <a:ln>
            <a:noFill/>
          </a:ln>
        </p:spPr>
        <p:txBody>
          <a:bodyPr spcFirstLastPara="1" wrap="square" lIns="0" tIns="0" rIns="0" bIns="0" anchor="ctr" anchorCtr="0">
            <a:spAutoFit/>
          </a:bodyPr>
          <a:lstStyle/>
          <a:p>
            <a:pPr marL="0" marR="0" lvl="0" indent="0" algn="ctr" rtl="0">
              <a:lnSpc>
                <a:spcPct val="90000"/>
              </a:lnSpc>
              <a:spcBef>
                <a:spcPts val="0"/>
              </a:spcBef>
              <a:spcAft>
                <a:spcPts val="0"/>
              </a:spcAft>
              <a:buClr>
                <a:srgbClr val="000000"/>
              </a:buClr>
              <a:buSzPts val="2400"/>
              <a:buFont typeface="Arial"/>
              <a:buNone/>
            </a:pPr>
            <a:r>
              <a:rPr lang="en-US" sz="2400" b="0" i="0" u="none" strike="noStrike" cap="none" dirty="0">
                <a:solidFill>
                  <a:schemeClr val="accent1"/>
                </a:solidFill>
                <a:latin typeface="Franklin Gothic"/>
                <a:ea typeface="Franklin Gothic"/>
                <a:cs typeface="Franklin Gothic"/>
                <a:sym typeface="Franklin Gothic"/>
              </a:rPr>
              <a:t>If you could have said any of these then move to next page! </a:t>
            </a:r>
            <a:endParaRPr sz="1400" b="0" i="0" u="none" strike="noStrike" cap="none" dirty="0">
              <a:solidFill>
                <a:srgbClr val="000000"/>
              </a:solidFill>
              <a:latin typeface="Arial"/>
              <a:ea typeface="Arial"/>
              <a:cs typeface="Arial"/>
              <a:sym typeface="Arial"/>
            </a:endParaRPr>
          </a:p>
        </p:txBody>
      </p:sp>
      <p:grpSp>
        <p:nvGrpSpPr>
          <p:cNvPr id="1092" name="Google Shape;1092;p72"/>
          <p:cNvGrpSpPr/>
          <p:nvPr/>
        </p:nvGrpSpPr>
        <p:grpSpPr>
          <a:xfrm>
            <a:off x="9077557" y="3179930"/>
            <a:ext cx="288000" cy="288000"/>
            <a:chOff x="550862" y="2496471"/>
            <a:chExt cx="360000" cy="360000"/>
          </a:xfrm>
        </p:grpSpPr>
        <p:sp>
          <p:nvSpPr>
            <p:cNvPr id="1093" name="Google Shape;1093;p72"/>
            <p:cNvSpPr/>
            <p:nvPr/>
          </p:nvSpPr>
          <p:spPr>
            <a:xfrm>
              <a:off x="564471" y="2510079"/>
              <a:ext cx="332784" cy="332784"/>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200" b="0" i="0" u="none" strike="noStrike" cap="none">
                <a:solidFill>
                  <a:schemeClr val="lt1"/>
                </a:solidFill>
                <a:latin typeface="Arial"/>
                <a:ea typeface="Arial"/>
                <a:cs typeface="Arial"/>
                <a:sym typeface="Arial"/>
              </a:endParaRPr>
            </a:p>
          </p:txBody>
        </p:sp>
        <p:pic>
          <p:nvPicPr>
            <p:cNvPr id="1094" name="Google Shape;1094;p72"/>
            <p:cNvPicPr preferRelativeResize="0"/>
            <p:nvPr/>
          </p:nvPicPr>
          <p:blipFill rotWithShape="1">
            <a:blip r:embed="rId4">
              <a:alphaModFix/>
            </a:blip>
            <a:srcRect/>
            <a:stretch/>
          </p:blipFill>
          <p:spPr>
            <a:xfrm>
              <a:off x="550862" y="2496471"/>
              <a:ext cx="360000" cy="360000"/>
            </a:xfrm>
            <a:prstGeom prst="rect">
              <a:avLst/>
            </a:prstGeom>
            <a:noFill/>
            <a:ln>
              <a:noFill/>
            </a:ln>
          </p:spPr>
        </p:pic>
      </p:grpSp>
      <p:sp>
        <p:nvSpPr>
          <p:cNvPr id="1095" name="Google Shape;1095;p72"/>
          <p:cNvSpPr/>
          <p:nvPr/>
        </p:nvSpPr>
        <p:spPr>
          <a:xfrm>
            <a:off x="3462056" y="1497295"/>
            <a:ext cx="2286000" cy="914400"/>
          </a:xfrm>
          <a:prstGeom prst="roundRect">
            <a:avLst>
              <a:gd name="adj" fmla="val 16667"/>
            </a:avLst>
          </a:prstGeom>
          <a:solidFill>
            <a:schemeClr val="lt1"/>
          </a:solidFill>
          <a:ln w="12700" cap="flat" cmpd="sng">
            <a:solidFill>
              <a:srgbClr val="BFBFBF"/>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0" i="0" u="none" strike="noStrike" cap="none">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t>When I</a:t>
            </a:r>
            <a:r>
              <a:rPr lang="en-US" sz="1200" b="0"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 </a:t>
            </a:r>
            <a:r>
              <a:rPr lang="en-US" sz="1200" b="1"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work during the night </a:t>
            </a:r>
            <a:r>
              <a:rPr lang="en-US" sz="1200" b="0" i="0" u="none" strike="noStrike" cap="none">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t>it is either to do my </a:t>
            </a:r>
            <a:r>
              <a:rPr lang="en-US" sz="1200" b="1"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slides</a:t>
            </a:r>
            <a:r>
              <a:rPr lang="en-US" sz="1200" b="0"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 </a:t>
            </a:r>
            <a:r>
              <a:rPr lang="en-US" sz="1200" b="0" i="0" u="none" strike="noStrike" cap="none">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t>or do some </a:t>
            </a:r>
            <a:r>
              <a:rPr lang="en-US" sz="1200" b="1"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research</a:t>
            </a:r>
            <a:endParaRPr sz="1200" b="0" i="0" u="none" strike="noStrike" cap="none">
              <a:solidFill>
                <a:srgbClr val="000000"/>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097" name="Google Shape;1097;p72"/>
          <p:cNvSpPr/>
          <p:nvPr/>
        </p:nvSpPr>
        <p:spPr>
          <a:xfrm>
            <a:off x="554729" y="1497295"/>
            <a:ext cx="2286000" cy="914400"/>
          </a:xfrm>
          <a:prstGeom prst="roundRect">
            <a:avLst>
              <a:gd name="adj" fmla="val 16667"/>
            </a:avLst>
          </a:prstGeom>
          <a:solidFill>
            <a:schemeClr val="lt1"/>
          </a:solidFill>
          <a:ln w="12700" cap="flat" cmpd="sng">
            <a:solidFill>
              <a:srgbClr val="BFBFBF"/>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0" i="0" u="none" strike="noStrike" cap="none" dirty="0">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t>I am anxious when I take decisions because</a:t>
            </a:r>
            <a:r>
              <a:rPr lang="en-US" sz="12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 </a:t>
            </a:r>
            <a:r>
              <a:rPr lang="en-US" sz="1200" b="1"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I don’t have strong data</a:t>
            </a:r>
            <a:endParaRPr sz="1200" b="0" i="0" u="none" strike="noStrike" cap="none" dirty="0">
              <a:solidFill>
                <a:srgbClr val="000000"/>
              </a:solidFill>
              <a:latin typeface="Calibri" panose="020F0502020204030204" pitchFamily="34" charset="0"/>
              <a:ea typeface="Calibri" panose="020F0502020204030204" pitchFamily="34" charset="0"/>
              <a:cs typeface="Calibri" panose="020F0502020204030204" pitchFamily="34" charset="0"/>
              <a:sym typeface="Arial"/>
            </a:endParaRPr>
          </a:p>
        </p:txBody>
      </p:sp>
      <p:pic>
        <p:nvPicPr>
          <p:cNvPr id="1098" name="Google Shape;1098;p72" descr="Closed quotation mark"/>
          <p:cNvPicPr preferRelativeResize="0"/>
          <p:nvPr/>
        </p:nvPicPr>
        <p:blipFill rotWithShape="1">
          <a:blip r:embed="rId5">
            <a:alphaModFix/>
          </a:blip>
          <a:srcRect/>
          <a:stretch/>
        </p:blipFill>
        <p:spPr>
          <a:xfrm>
            <a:off x="539399" y="1347719"/>
            <a:ext cx="475932" cy="309630"/>
          </a:xfrm>
          <a:prstGeom prst="rect">
            <a:avLst/>
          </a:prstGeom>
          <a:noFill/>
          <a:ln>
            <a:noFill/>
          </a:ln>
        </p:spPr>
      </p:pic>
      <p:sp>
        <p:nvSpPr>
          <p:cNvPr id="1099" name="Google Shape;1099;p72"/>
          <p:cNvSpPr/>
          <p:nvPr/>
        </p:nvSpPr>
        <p:spPr>
          <a:xfrm>
            <a:off x="554727" y="2510183"/>
            <a:ext cx="2286000" cy="914400"/>
          </a:xfrm>
          <a:prstGeom prst="roundRect">
            <a:avLst>
              <a:gd name="adj" fmla="val 16667"/>
            </a:avLst>
          </a:prstGeom>
          <a:solidFill>
            <a:schemeClr val="lt1"/>
          </a:solidFill>
          <a:ln w="12700" cap="flat" cmpd="sng">
            <a:solidFill>
              <a:srgbClr val="BFBFBF"/>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0" i="0" u="none" strike="noStrike" cap="none" dirty="0">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t>When I want to get rid of some tasks, I ask an </a:t>
            </a:r>
            <a:r>
              <a:rPr lang="en-US" sz="1200" b="1"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intern or a junior </a:t>
            </a:r>
            <a:r>
              <a:rPr lang="en-US" sz="12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 </a:t>
            </a:r>
            <a:r>
              <a:rPr lang="en-US" sz="1200" b="0" i="0" u="none" strike="noStrike" cap="none" dirty="0">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t>Not great but no choice</a:t>
            </a:r>
            <a:r>
              <a:rPr lang="en-US" sz="1200" b="1" i="0" u="none" strike="noStrike" cap="none" dirty="0">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t> </a:t>
            </a:r>
            <a:endParaRPr sz="1200" b="0" i="0" u="none" strike="noStrike" cap="none" dirty="0">
              <a:solidFill>
                <a:srgbClr val="000000"/>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101" name="Google Shape;1101;p72"/>
          <p:cNvSpPr/>
          <p:nvPr/>
        </p:nvSpPr>
        <p:spPr>
          <a:xfrm>
            <a:off x="568579" y="4539242"/>
            <a:ext cx="2286000" cy="914400"/>
          </a:xfrm>
          <a:prstGeom prst="roundRect">
            <a:avLst>
              <a:gd name="adj" fmla="val 16667"/>
            </a:avLst>
          </a:prstGeom>
          <a:solidFill>
            <a:schemeClr val="lt1"/>
          </a:solidFill>
          <a:ln w="12700" cap="flat" cmpd="sng">
            <a:solidFill>
              <a:srgbClr val="BFBFBF"/>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1"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Research? </a:t>
            </a:r>
            <a:r>
              <a:rPr lang="en-US" sz="1200" b="0" i="0" u="none" strike="noStrike" cap="none" dirty="0">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t>I type my question on Google between 2 calls ;-)</a:t>
            </a:r>
            <a:endParaRPr sz="1200" b="1" i="0" u="none" strike="noStrike" cap="none" dirty="0">
              <a:solidFill>
                <a:srgbClr val="7F7F7F"/>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103" name="Google Shape;1103;p72"/>
          <p:cNvSpPr/>
          <p:nvPr/>
        </p:nvSpPr>
        <p:spPr>
          <a:xfrm>
            <a:off x="3462055" y="2510183"/>
            <a:ext cx="2286000" cy="914400"/>
          </a:xfrm>
          <a:prstGeom prst="roundRect">
            <a:avLst>
              <a:gd name="adj" fmla="val 16667"/>
            </a:avLst>
          </a:prstGeom>
          <a:solidFill>
            <a:schemeClr val="lt1"/>
          </a:solidFill>
          <a:ln w="12700" cap="flat" cmpd="sng">
            <a:solidFill>
              <a:srgbClr val="BFBFBF"/>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0" i="0" u="none" strike="noStrike" cap="none" dirty="0">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t>Outsourcing? The </a:t>
            </a:r>
            <a:r>
              <a:rPr lang="en-US" sz="1200" b="1"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admin processes </a:t>
            </a:r>
            <a:r>
              <a:rPr lang="en-US" sz="1200" b="0" i="0" u="none" strike="noStrike" cap="none" dirty="0">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t>are so heavy that I prefer to do the work myself</a:t>
            </a:r>
            <a:endParaRPr sz="1200" b="0" i="0" u="none" strike="noStrike" cap="none" dirty="0">
              <a:solidFill>
                <a:srgbClr val="000000"/>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105" name="Google Shape;1105;p72"/>
          <p:cNvSpPr/>
          <p:nvPr/>
        </p:nvSpPr>
        <p:spPr>
          <a:xfrm>
            <a:off x="3468981" y="4539242"/>
            <a:ext cx="2286000" cy="914400"/>
          </a:xfrm>
          <a:prstGeom prst="roundRect">
            <a:avLst>
              <a:gd name="adj" fmla="val 16667"/>
            </a:avLst>
          </a:prstGeom>
          <a:solidFill>
            <a:schemeClr val="lt1"/>
          </a:solidFill>
          <a:ln w="12700" cap="flat" cmpd="sng">
            <a:solidFill>
              <a:srgbClr val="BFBFBF"/>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200" b="0" i="0" u="none" strike="noStrike" cap="none" dirty="0">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t>My worst nightmare?</a:t>
            </a:r>
            <a:br>
              <a:rPr lang="en-US" sz="1200" b="0" i="0" u="none" strike="noStrike" cap="none" dirty="0">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br>
            <a:r>
              <a:rPr lang="en-US" sz="1200" b="1" i="0" u="none" strike="noStrike" cap="none" dirty="0" err="1">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Powerpoint</a:t>
            </a:r>
            <a:endParaRPr sz="1200" b="1"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107" name="Google Shape;1107;p72"/>
          <p:cNvSpPr/>
          <p:nvPr/>
        </p:nvSpPr>
        <p:spPr>
          <a:xfrm>
            <a:off x="6369383" y="1497295"/>
            <a:ext cx="2286000" cy="914400"/>
          </a:xfrm>
          <a:prstGeom prst="roundRect">
            <a:avLst>
              <a:gd name="adj" fmla="val 16667"/>
            </a:avLst>
          </a:prstGeom>
          <a:solidFill>
            <a:schemeClr val="lt1"/>
          </a:solidFill>
          <a:ln w="12700" cap="flat" cmpd="sng">
            <a:solidFill>
              <a:srgbClr val="BFBFBF"/>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2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I have</a:t>
            </a:r>
            <a:r>
              <a:rPr lang="en-US" sz="1200" b="1"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 multiple jobs </a:t>
            </a:r>
            <a:r>
              <a:rPr lang="en-US" sz="1200" b="0" i="0" u="none" strike="noStrike" cap="none" dirty="0">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t>in one – Finding information, designing presentations, translating... Impossible to do in a normal workday!</a:t>
            </a:r>
            <a:r>
              <a:rPr lang="en-US" sz="1200" b="1"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 </a:t>
            </a:r>
            <a:endParaRPr sz="1200" b="0" i="0" u="none" strike="noStrike" cap="none" dirty="0">
              <a:solidFill>
                <a:srgbClr val="000000"/>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109" name="Google Shape;1109;p72"/>
          <p:cNvSpPr/>
          <p:nvPr/>
        </p:nvSpPr>
        <p:spPr>
          <a:xfrm>
            <a:off x="6369383" y="4539242"/>
            <a:ext cx="2286000" cy="914400"/>
          </a:xfrm>
          <a:prstGeom prst="roundRect">
            <a:avLst>
              <a:gd name="adj" fmla="val 16667"/>
            </a:avLst>
          </a:prstGeom>
          <a:solidFill>
            <a:schemeClr val="lt1"/>
          </a:solidFill>
          <a:ln w="12700" cap="flat" cmpd="sng">
            <a:solidFill>
              <a:srgbClr val="BFBFBF"/>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200" dirty="0">
                <a:solidFill>
                  <a:srgbClr val="7F7F7F"/>
                </a:solidFill>
                <a:latin typeface="Calibri" panose="020F0502020204030204" pitchFamily="34" charset="0"/>
                <a:ea typeface="Calibri" panose="020F0502020204030204" pitchFamily="34" charset="0"/>
                <a:cs typeface="Calibri" panose="020F0502020204030204" pitchFamily="34" charset="0"/>
              </a:rPr>
              <a:t>I would like to use more </a:t>
            </a:r>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data </a:t>
            </a:r>
            <a:r>
              <a:rPr lang="en-US" sz="1200" dirty="0">
                <a:solidFill>
                  <a:srgbClr val="7F7F7F"/>
                </a:solidFill>
                <a:latin typeface="Calibri" panose="020F0502020204030204" pitchFamily="34" charset="0"/>
                <a:ea typeface="Calibri" panose="020F0502020204030204" pitchFamily="34" charset="0"/>
                <a:cs typeface="Calibri" panose="020F0502020204030204" pitchFamily="34" charset="0"/>
              </a:rPr>
              <a:t>to get </a:t>
            </a:r>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insights </a:t>
            </a:r>
            <a:r>
              <a:rPr lang="en-US" sz="1200" dirty="0">
                <a:solidFill>
                  <a:srgbClr val="7F7F7F"/>
                </a:solidFill>
                <a:latin typeface="Calibri" panose="020F0502020204030204" pitchFamily="34" charset="0"/>
                <a:ea typeface="Calibri" panose="020F0502020204030204" pitchFamily="34" charset="0"/>
                <a:cs typeface="Calibri" panose="020F0502020204030204" pitchFamily="34" charset="0"/>
              </a:rPr>
              <a:t>but I don’t have the </a:t>
            </a:r>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right capabilities </a:t>
            </a:r>
            <a:r>
              <a:rPr lang="en-US" sz="1200" dirty="0">
                <a:solidFill>
                  <a:srgbClr val="7F7F7F"/>
                </a:solidFill>
                <a:latin typeface="Calibri" panose="020F0502020204030204" pitchFamily="34" charset="0"/>
                <a:ea typeface="Calibri" panose="020F0502020204030204" pitchFamily="34" charset="0"/>
                <a:cs typeface="Calibri" panose="020F0502020204030204" pitchFamily="34" charset="0"/>
              </a:rPr>
              <a:t>in my team </a:t>
            </a:r>
            <a:endParaRPr sz="1200" b="1"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111" name="Google Shape;1111;p72"/>
          <p:cNvSpPr/>
          <p:nvPr/>
        </p:nvSpPr>
        <p:spPr>
          <a:xfrm>
            <a:off x="6369383" y="2510183"/>
            <a:ext cx="2286000" cy="914400"/>
          </a:xfrm>
          <a:prstGeom prst="roundRect">
            <a:avLst>
              <a:gd name="adj" fmla="val 16667"/>
            </a:avLst>
          </a:prstGeom>
          <a:solidFill>
            <a:schemeClr val="lt1"/>
          </a:solidFill>
          <a:ln w="12700" cap="flat" cmpd="sng">
            <a:solidFill>
              <a:srgbClr val="BFBFBF"/>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200" b="0"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We </a:t>
            </a:r>
            <a:r>
              <a:rPr lang="en-US" sz="1200" b="0" i="0" u="none" strike="noStrike" cap="none">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t>use providers but they</a:t>
            </a:r>
            <a:br>
              <a:rPr lang="en-US" sz="1200" b="0" i="0" u="none" strike="noStrike" cap="none">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br>
            <a:r>
              <a:rPr lang="en-US" sz="1200" b="0" i="0" u="none" strike="noStrike" cap="none">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t>have </a:t>
            </a:r>
            <a:r>
              <a:rPr lang="en-US" sz="1200" b="1"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zero critical thinking</a:t>
            </a:r>
            <a:r>
              <a:rPr lang="en-US" sz="1200" b="0"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 </a:t>
            </a:r>
            <a:r>
              <a:rPr lang="en-US" sz="1200" b="0" i="0" u="none" strike="noStrike" cap="none">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t>–</a:t>
            </a:r>
            <a:br>
              <a:rPr lang="en-US" sz="1200" b="0" i="0" u="none" strike="noStrike" cap="none">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br>
            <a:r>
              <a:rPr lang="en-US" sz="1200" b="0" i="0" u="none" strike="noStrike" cap="none">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t>I only use them for basic stuff</a:t>
            </a:r>
            <a:r>
              <a:rPr lang="en-US" sz="1200" b="0"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 </a:t>
            </a:r>
            <a:endParaRPr sz="1200" b="0" i="0" u="none" strike="noStrike" cap="none">
              <a:solidFill>
                <a:srgbClr val="000000"/>
              </a:solidFill>
              <a:latin typeface="Calibri" panose="020F0502020204030204" pitchFamily="34" charset="0"/>
              <a:ea typeface="Calibri" panose="020F0502020204030204" pitchFamily="34" charset="0"/>
              <a:cs typeface="Calibri" panose="020F0502020204030204" pitchFamily="34" charset="0"/>
              <a:sym typeface="Arial"/>
            </a:endParaRPr>
          </a:p>
        </p:txBody>
      </p:sp>
      <p:pic>
        <p:nvPicPr>
          <p:cNvPr id="3" name="Google Shape;1098;p72" descr="Closed quotation mark">
            <a:extLst>
              <a:ext uri="{FF2B5EF4-FFF2-40B4-BE49-F238E27FC236}">
                <a16:creationId xmlns:a16="http://schemas.microsoft.com/office/drawing/2014/main" id="{9F24220F-C6A0-6156-75AC-C39722C38860}"/>
              </a:ext>
            </a:extLst>
          </p:cNvPr>
          <p:cNvPicPr preferRelativeResize="0"/>
          <p:nvPr/>
        </p:nvPicPr>
        <p:blipFill rotWithShape="1">
          <a:blip r:embed="rId5">
            <a:alphaModFix/>
          </a:blip>
          <a:srcRect/>
          <a:stretch/>
        </p:blipFill>
        <p:spPr>
          <a:xfrm>
            <a:off x="539399" y="2352364"/>
            <a:ext cx="475932" cy="309630"/>
          </a:xfrm>
          <a:prstGeom prst="rect">
            <a:avLst/>
          </a:prstGeom>
          <a:noFill/>
          <a:ln>
            <a:noFill/>
          </a:ln>
        </p:spPr>
      </p:pic>
      <p:pic>
        <p:nvPicPr>
          <p:cNvPr id="4" name="Google Shape;1098;p72" descr="Closed quotation mark">
            <a:extLst>
              <a:ext uri="{FF2B5EF4-FFF2-40B4-BE49-F238E27FC236}">
                <a16:creationId xmlns:a16="http://schemas.microsoft.com/office/drawing/2014/main" id="{2D999FDE-6DCC-397F-8F9A-0DD3B8C5912F}"/>
              </a:ext>
            </a:extLst>
          </p:cNvPr>
          <p:cNvPicPr preferRelativeResize="0"/>
          <p:nvPr/>
        </p:nvPicPr>
        <p:blipFill rotWithShape="1">
          <a:blip r:embed="rId5">
            <a:alphaModFix/>
          </a:blip>
          <a:srcRect/>
          <a:stretch/>
        </p:blipFill>
        <p:spPr>
          <a:xfrm>
            <a:off x="554727" y="4384427"/>
            <a:ext cx="475932" cy="309630"/>
          </a:xfrm>
          <a:prstGeom prst="rect">
            <a:avLst/>
          </a:prstGeom>
          <a:noFill/>
          <a:ln>
            <a:noFill/>
          </a:ln>
        </p:spPr>
      </p:pic>
      <p:pic>
        <p:nvPicPr>
          <p:cNvPr id="5" name="Google Shape;1098;p72" descr="Closed quotation mark">
            <a:extLst>
              <a:ext uri="{FF2B5EF4-FFF2-40B4-BE49-F238E27FC236}">
                <a16:creationId xmlns:a16="http://schemas.microsoft.com/office/drawing/2014/main" id="{114A26EC-F9F7-9E89-8A7D-B7DEF42AE133}"/>
              </a:ext>
            </a:extLst>
          </p:cNvPr>
          <p:cNvPicPr preferRelativeResize="0"/>
          <p:nvPr/>
        </p:nvPicPr>
        <p:blipFill rotWithShape="1">
          <a:blip r:embed="rId5">
            <a:alphaModFix/>
          </a:blip>
          <a:srcRect/>
          <a:stretch/>
        </p:blipFill>
        <p:spPr>
          <a:xfrm>
            <a:off x="3491328" y="1360829"/>
            <a:ext cx="475932" cy="309630"/>
          </a:xfrm>
          <a:prstGeom prst="rect">
            <a:avLst/>
          </a:prstGeom>
          <a:noFill/>
          <a:ln>
            <a:noFill/>
          </a:ln>
        </p:spPr>
      </p:pic>
      <p:pic>
        <p:nvPicPr>
          <p:cNvPr id="6" name="Google Shape;1098;p72" descr="Closed quotation mark">
            <a:extLst>
              <a:ext uri="{FF2B5EF4-FFF2-40B4-BE49-F238E27FC236}">
                <a16:creationId xmlns:a16="http://schemas.microsoft.com/office/drawing/2014/main" id="{3993301B-BB86-F831-AF28-51A7E0636479}"/>
              </a:ext>
            </a:extLst>
          </p:cNvPr>
          <p:cNvPicPr preferRelativeResize="0"/>
          <p:nvPr/>
        </p:nvPicPr>
        <p:blipFill rotWithShape="1">
          <a:blip r:embed="rId5">
            <a:alphaModFix/>
          </a:blip>
          <a:srcRect/>
          <a:stretch/>
        </p:blipFill>
        <p:spPr>
          <a:xfrm>
            <a:off x="3491328" y="2365474"/>
            <a:ext cx="475932" cy="309630"/>
          </a:xfrm>
          <a:prstGeom prst="rect">
            <a:avLst/>
          </a:prstGeom>
          <a:noFill/>
          <a:ln>
            <a:noFill/>
          </a:ln>
        </p:spPr>
      </p:pic>
      <p:pic>
        <p:nvPicPr>
          <p:cNvPr id="7" name="Google Shape;1098;p72" descr="Closed quotation mark">
            <a:extLst>
              <a:ext uri="{FF2B5EF4-FFF2-40B4-BE49-F238E27FC236}">
                <a16:creationId xmlns:a16="http://schemas.microsoft.com/office/drawing/2014/main" id="{46FF916E-9D28-8869-A0CD-5BDF57D1BC9C}"/>
              </a:ext>
            </a:extLst>
          </p:cNvPr>
          <p:cNvPicPr preferRelativeResize="0"/>
          <p:nvPr/>
        </p:nvPicPr>
        <p:blipFill rotWithShape="1">
          <a:blip r:embed="rId5">
            <a:alphaModFix/>
          </a:blip>
          <a:srcRect/>
          <a:stretch/>
        </p:blipFill>
        <p:spPr>
          <a:xfrm>
            <a:off x="3506656" y="4397537"/>
            <a:ext cx="475932" cy="309630"/>
          </a:xfrm>
          <a:prstGeom prst="rect">
            <a:avLst/>
          </a:prstGeom>
          <a:noFill/>
          <a:ln>
            <a:noFill/>
          </a:ln>
        </p:spPr>
      </p:pic>
      <p:pic>
        <p:nvPicPr>
          <p:cNvPr id="8" name="Google Shape;1098;p72" descr="Closed quotation mark">
            <a:extLst>
              <a:ext uri="{FF2B5EF4-FFF2-40B4-BE49-F238E27FC236}">
                <a16:creationId xmlns:a16="http://schemas.microsoft.com/office/drawing/2014/main" id="{3BD3C95C-EDD3-0E72-2B34-64931C23B6AA}"/>
              </a:ext>
            </a:extLst>
          </p:cNvPr>
          <p:cNvPicPr preferRelativeResize="0"/>
          <p:nvPr/>
        </p:nvPicPr>
        <p:blipFill rotWithShape="1">
          <a:blip r:embed="rId5">
            <a:alphaModFix/>
          </a:blip>
          <a:srcRect/>
          <a:stretch/>
        </p:blipFill>
        <p:spPr>
          <a:xfrm>
            <a:off x="6358497" y="1350723"/>
            <a:ext cx="475932" cy="309630"/>
          </a:xfrm>
          <a:prstGeom prst="rect">
            <a:avLst/>
          </a:prstGeom>
          <a:noFill/>
          <a:ln>
            <a:noFill/>
          </a:ln>
        </p:spPr>
      </p:pic>
      <p:pic>
        <p:nvPicPr>
          <p:cNvPr id="9" name="Google Shape;1098;p72" descr="Closed quotation mark">
            <a:extLst>
              <a:ext uri="{FF2B5EF4-FFF2-40B4-BE49-F238E27FC236}">
                <a16:creationId xmlns:a16="http://schemas.microsoft.com/office/drawing/2014/main" id="{42C8A104-217F-B46E-61C9-2588CBC47CA6}"/>
              </a:ext>
            </a:extLst>
          </p:cNvPr>
          <p:cNvPicPr preferRelativeResize="0"/>
          <p:nvPr/>
        </p:nvPicPr>
        <p:blipFill rotWithShape="1">
          <a:blip r:embed="rId5">
            <a:alphaModFix/>
          </a:blip>
          <a:srcRect/>
          <a:stretch/>
        </p:blipFill>
        <p:spPr>
          <a:xfrm>
            <a:off x="6358497" y="2355368"/>
            <a:ext cx="475932" cy="309630"/>
          </a:xfrm>
          <a:prstGeom prst="rect">
            <a:avLst/>
          </a:prstGeom>
          <a:noFill/>
          <a:ln>
            <a:noFill/>
          </a:ln>
        </p:spPr>
      </p:pic>
      <p:pic>
        <p:nvPicPr>
          <p:cNvPr id="10" name="Google Shape;1098;p72" descr="Closed quotation mark">
            <a:extLst>
              <a:ext uri="{FF2B5EF4-FFF2-40B4-BE49-F238E27FC236}">
                <a16:creationId xmlns:a16="http://schemas.microsoft.com/office/drawing/2014/main" id="{AC2BC8E9-5484-6FCC-C333-4019D08FC13A}"/>
              </a:ext>
            </a:extLst>
          </p:cNvPr>
          <p:cNvPicPr preferRelativeResize="0"/>
          <p:nvPr/>
        </p:nvPicPr>
        <p:blipFill rotWithShape="1">
          <a:blip r:embed="rId5">
            <a:alphaModFix/>
          </a:blip>
          <a:srcRect/>
          <a:stretch/>
        </p:blipFill>
        <p:spPr>
          <a:xfrm>
            <a:off x="6373825" y="4387431"/>
            <a:ext cx="475932" cy="309630"/>
          </a:xfrm>
          <a:prstGeom prst="rect">
            <a:avLst/>
          </a:prstGeom>
          <a:noFill/>
          <a:ln>
            <a:noFill/>
          </a:ln>
        </p:spPr>
      </p:pic>
      <p:sp>
        <p:nvSpPr>
          <p:cNvPr id="11" name="Google Shape;1101;p72">
            <a:extLst>
              <a:ext uri="{FF2B5EF4-FFF2-40B4-BE49-F238E27FC236}">
                <a16:creationId xmlns:a16="http://schemas.microsoft.com/office/drawing/2014/main" id="{0180186A-61B2-89D4-8145-4682B835A3FD}"/>
              </a:ext>
            </a:extLst>
          </p:cNvPr>
          <p:cNvSpPr/>
          <p:nvPr/>
        </p:nvSpPr>
        <p:spPr>
          <a:xfrm>
            <a:off x="568579" y="3529592"/>
            <a:ext cx="2286000" cy="914400"/>
          </a:xfrm>
          <a:prstGeom prst="roundRect">
            <a:avLst>
              <a:gd name="adj" fmla="val 16667"/>
            </a:avLst>
          </a:prstGeom>
          <a:solidFill>
            <a:schemeClr val="lt1"/>
          </a:solidFill>
          <a:ln w="12700" cap="flat" cmpd="sng">
            <a:solidFill>
              <a:srgbClr val="BFBFBF"/>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1"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Analytics? </a:t>
            </a:r>
            <a:r>
              <a:rPr lang="en-US" sz="1200" b="0" i="0" u="none" strike="noStrike" cap="none" dirty="0">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t>Too many Data with bad quality – Very difficult to use </a:t>
            </a:r>
            <a:endParaRPr sz="1200" b="1" i="0" u="none" strike="noStrike" cap="none" dirty="0">
              <a:solidFill>
                <a:srgbClr val="7F7F7F"/>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2" name="Google Shape;1105;p72">
            <a:extLst>
              <a:ext uri="{FF2B5EF4-FFF2-40B4-BE49-F238E27FC236}">
                <a16:creationId xmlns:a16="http://schemas.microsoft.com/office/drawing/2014/main" id="{49C74942-CB28-0506-C6A0-B470FBF33238}"/>
              </a:ext>
            </a:extLst>
          </p:cNvPr>
          <p:cNvSpPr/>
          <p:nvPr/>
        </p:nvSpPr>
        <p:spPr>
          <a:xfrm>
            <a:off x="3468981" y="3529592"/>
            <a:ext cx="2286000" cy="914400"/>
          </a:xfrm>
          <a:prstGeom prst="roundRect">
            <a:avLst>
              <a:gd name="adj" fmla="val 16667"/>
            </a:avLst>
          </a:prstGeom>
          <a:solidFill>
            <a:schemeClr val="lt1"/>
          </a:solidFill>
          <a:ln w="12700" cap="flat" cmpd="sng">
            <a:solidFill>
              <a:srgbClr val="BFBFBF"/>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200" b="0" i="0" u="none" strike="noStrike" cap="none" dirty="0">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t>I would love to have an automatized </a:t>
            </a:r>
            <a:r>
              <a:rPr lang="en-US" sz="1200" b="1"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Dashboard </a:t>
            </a:r>
            <a:r>
              <a:rPr lang="en-US" sz="1200" dirty="0">
                <a:solidFill>
                  <a:srgbClr val="7F7F7F"/>
                </a:solidFill>
                <a:latin typeface="Calibri" panose="020F0502020204030204" pitchFamily="34" charset="0"/>
                <a:ea typeface="Calibri" panose="020F0502020204030204" pitchFamily="34" charset="0"/>
                <a:cs typeface="Calibri" panose="020F0502020204030204" pitchFamily="34" charset="0"/>
              </a:rPr>
              <a:t>but I don’t know where to start ?</a:t>
            </a:r>
            <a:endParaRPr sz="1200" dirty="0">
              <a:solidFill>
                <a:srgbClr val="7F7F7F"/>
              </a:solidFill>
              <a:latin typeface="Calibri" panose="020F0502020204030204" pitchFamily="34" charset="0"/>
              <a:ea typeface="Calibri" panose="020F0502020204030204" pitchFamily="34" charset="0"/>
              <a:cs typeface="Calibri" panose="020F0502020204030204" pitchFamily="34" charset="0"/>
            </a:endParaRPr>
          </a:p>
        </p:txBody>
      </p:sp>
      <p:sp>
        <p:nvSpPr>
          <p:cNvPr id="13" name="Google Shape;1109;p72">
            <a:extLst>
              <a:ext uri="{FF2B5EF4-FFF2-40B4-BE49-F238E27FC236}">
                <a16:creationId xmlns:a16="http://schemas.microsoft.com/office/drawing/2014/main" id="{D33BB41A-13B5-A75B-5CB3-A43B46457F84}"/>
              </a:ext>
            </a:extLst>
          </p:cNvPr>
          <p:cNvSpPr/>
          <p:nvPr/>
        </p:nvSpPr>
        <p:spPr>
          <a:xfrm>
            <a:off x="6369383" y="3529592"/>
            <a:ext cx="2286000" cy="914400"/>
          </a:xfrm>
          <a:prstGeom prst="roundRect">
            <a:avLst>
              <a:gd name="adj" fmla="val 16667"/>
            </a:avLst>
          </a:prstGeom>
          <a:solidFill>
            <a:schemeClr val="lt1"/>
          </a:solidFill>
          <a:ln w="12700" cap="flat" cmpd="sng">
            <a:solidFill>
              <a:srgbClr val="BFBFBF"/>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200" dirty="0">
                <a:solidFill>
                  <a:srgbClr val="7F7F7F"/>
                </a:solidFill>
                <a:latin typeface="Calibri" panose="020F0502020204030204" pitchFamily="34" charset="0"/>
                <a:ea typeface="Calibri" panose="020F0502020204030204" pitchFamily="34" charset="0"/>
                <a:cs typeface="Calibri" panose="020F0502020204030204" pitchFamily="34" charset="0"/>
              </a:rPr>
              <a:t>My clients demand </a:t>
            </a:r>
            <a:r>
              <a:rPr lang="en-US" sz="1200" b="0" i="0" u="none" strike="noStrike" cap="none" dirty="0">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t>that</a:t>
            </a:r>
            <a:br>
              <a:rPr lang="en-US" sz="1200" b="0" i="0" u="none" strike="noStrike" cap="none" dirty="0">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br>
            <a:r>
              <a:rPr lang="en-US" sz="1200" b="0" i="0" u="none" strike="noStrike" cap="none" dirty="0">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t>I </a:t>
            </a:r>
            <a:r>
              <a:rPr lang="en-US" sz="1200" b="1"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translate</a:t>
            </a:r>
            <a:r>
              <a:rPr lang="en-US" sz="12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 </a:t>
            </a:r>
            <a:r>
              <a:rPr lang="en-US" sz="1200" b="0" i="0" u="none" strike="noStrike" cap="none" dirty="0">
                <a:solidFill>
                  <a:srgbClr val="7F7F7F"/>
                </a:solidFill>
                <a:latin typeface="Calibri" panose="020F0502020204030204" pitchFamily="34" charset="0"/>
                <a:ea typeface="Calibri" panose="020F0502020204030204" pitchFamily="34" charset="0"/>
                <a:cs typeface="Calibri" panose="020F0502020204030204" pitchFamily="34" charset="0"/>
                <a:sym typeface="Arial"/>
              </a:rPr>
              <a:t>all my work to Arabic – But I can only find unstructured </a:t>
            </a:r>
            <a:r>
              <a:rPr lang="en-US" sz="1200" b="1"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free lancers</a:t>
            </a:r>
            <a:r>
              <a:rPr lang="en-US" sz="12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 </a:t>
            </a:r>
            <a:endParaRPr sz="1200" b="1"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endParaRPr>
          </a:p>
        </p:txBody>
      </p:sp>
      <p:pic>
        <p:nvPicPr>
          <p:cNvPr id="14" name="Google Shape;1098;p72" descr="Closed quotation mark">
            <a:extLst>
              <a:ext uri="{FF2B5EF4-FFF2-40B4-BE49-F238E27FC236}">
                <a16:creationId xmlns:a16="http://schemas.microsoft.com/office/drawing/2014/main" id="{5D986906-5429-CBF9-24DC-880199B47120}"/>
              </a:ext>
            </a:extLst>
          </p:cNvPr>
          <p:cNvPicPr preferRelativeResize="0"/>
          <p:nvPr/>
        </p:nvPicPr>
        <p:blipFill rotWithShape="1">
          <a:blip r:embed="rId5">
            <a:alphaModFix/>
          </a:blip>
          <a:srcRect/>
          <a:stretch/>
        </p:blipFill>
        <p:spPr>
          <a:xfrm>
            <a:off x="554727" y="3374777"/>
            <a:ext cx="475932" cy="309630"/>
          </a:xfrm>
          <a:prstGeom prst="rect">
            <a:avLst/>
          </a:prstGeom>
          <a:noFill/>
          <a:ln>
            <a:noFill/>
          </a:ln>
        </p:spPr>
      </p:pic>
      <p:pic>
        <p:nvPicPr>
          <p:cNvPr id="15" name="Google Shape;1098;p72" descr="Closed quotation mark">
            <a:extLst>
              <a:ext uri="{FF2B5EF4-FFF2-40B4-BE49-F238E27FC236}">
                <a16:creationId xmlns:a16="http://schemas.microsoft.com/office/drawing/2014/main" id="{5562DC2D-1E6A-E01F-517A-477B521319D5}"/>
              </a:ext>
            </a:extLst>
          </p:cNvPr>
          <p:cNvPicPr preferRelativeResize="0"/>
          <p:nvPr/>
        </p:nvPicPr>
        <p:blipFill rotWithShape="1">
          <a:blip r:embed="rId5">
            <a:alphaModFix/>
          </a:blip>
          <a:srcRect/>
          <a:stretch/>
        </p:blipFill>
        <p:spPr>
          <a:xfrm>
            <a:off x="3506656" y="3387887"/>
            <a:ext cx="475932" cy="309630"/>
          </a:xfrm>
          <a:prstGeom prst="rect">
            <a:avLst/>
          </a:prstGeom>
          <a:noFill/>
          <a:ln>
            <a:noFill/>
          </a:ln>
        </p:spPr>
      </p:pic>
      <p:pic>
        <p:nvPicPr>
          <p:cNvPr id="16" name="Google Shape;1098;p72" descr="Closed quotation mark">
            <a:extLst>
              <a:ext uri="{FF2B5EF4-FFF2-40B4-BE49-F238E27FC236}">
                <a16:creationId xmlns:a16="http://schemas.microsoft.com/office/drawing/2014/main" id="{93F8CA4A-B102-E7D2-C711-CB4B9C1BEC92}"/>
              </a:ext>
            </a:extLst>
          </p:cNvPr>
          <p:cNvPicPr preferRelativeResize="0"/>
          <p:nvPr/>
        </p:nvPicPr>
        <p:blipFill rotWithShape="1">
          <a:blip r:embed="rId5">
            <a:alphaModFix/>
          </a:blip>
          <a:srcRect/>
          <a:stretch/>
        </p:blipFill>
        <p:spPr>
          <a:xfrm>
            <a:off x="6373825" y="3377781"/>
            <a:ext cx="475932" cy="309630"/>
          </a:xfrm>
          <a:prstGeom prst="rect">
            <a:avLst/>
          </a:prstGeom>
          <a:noFill/>
          <a:ln>
            <a:noFill/>
          </a:ln>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021"/>
        <p:cNvGrpSpPr/>
        <p:nvPr/>
      </p:nvGrpSpPr>
      <p:grpSpPr>
        <a:xfrm>
          <a:off x="0" y="0"/>
          <a:ext cx="0" cy="0"/>
          <a:chOff x="0" y="0"/>
          <a:chExt cx="0" cy="0"/>
        </a:xfrm>
      </p:grpSpPr>
      <p:sp>
        <p:nvSpPr>
          <p:cNvPr id="2022" name="Google Shape;2022;p16"/>
          <p:cNvSpPr txBox="1">
            <a:spLocks noGrp="1"/>
          </p:cNvSpPr>
          <p:nvPr>
            <p:ph type="title"/>
          </p:nvPr>
        </p:nvSpPr>
        <p:spPr>
          <a:xfrm>
            <a:off x="539400"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Our approach to helping you</a:t>
            </a:r>
            <a:endParaRPr/>
          </a:p>
        </p:txBody>
      </p:sp>
      <p:sp>
        <p:nvSpPr>
          <p:cNvPr id="2023" name="Google Shape;2023;p16"/>
          <p:cNvSpPr/>
          <p:nvPr/>
        </p:nvSpPr>
        <p:spPr>
          <a:xfrm>
            <a:off x="2155587" y="1544321"/>
            <a:ext cx="1753954" cy="847316"/>
          </a:xfrm>
          <a:custGeom>
            <a:avLst/>
            <a:gdLst/>
            <a:ahLst/>
            <a:cxnLst/>
            <a:rect l="l" t="t" r="r" b="b"/>
            <a:pathLst>
              <a:path w="1997022" h="1014395" extrusionOk="0">
                <a:moveTo>
                  <a:pt x="998511" y="0"/>
                </a:moveTo>
                <a:cubicBezTo>
                  <a:pt x="1549973" y="0"/>
                  <a:pt x="1997022" y="447048"/>
                  <a:pt x="1997022" y="998510"/>
                </a:cubicBezTo>
                <a:lnTo>
                  <a:pt x="1996220" y="1014395"/>
                </a:lnTo>
                <a:lnTo>
                  <a:pt x="802" y="1014395"/>
                </a:lnTo>
                <a:lnTo>
                  <a:pt x="0" y="998510"/>
                </a:lnTo>
                <a:cubicBezTo>
                  <a:pt x="0" y="447048"/>
                  <a:pt x="447049" y="0"/>
                  <a:pt x="998511" y="0"/>
                </a:cubicBezTo>
                <a:close/>
              </a:path>
            </a:pathLst>
          </a:custGeom>
          <a:gradFill>
            <a:gsLst>
              <a:gs pos="0">
                <a:srgbClr val="E5E5E5"/>
              </a:gs>
              <a:gs pos="73000">
                <a:srgbClr val="F0F0F0">
                  <a:alpha val="47843"/>
                </a:srgbClr>
              </a:gs>
              <a:gs pos="100000">
                <a:srgbClr val="FFFFFF">
                  <a:alpha val="0"/>
                </a:srgbClr>
              </a:gs>
            </a:gsLst>
            <a:lin ang="54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24" name="Google Shape;2024;p16"/>
          <p:cNvSpPr/>
          <p:nvPr/>
        </p:nvSpPr>
        <p:spPr>
          <a:xfrm>
            <a:off x="6295955" y="1544321"/>
            <a:ext cx="1753954" cy="847316"/>
          </a:xfrm>
          <a:custGeom>
            <a:avLst/>
            <a:gdLst/>
            <a:ahLst/>
            <a:cxnLst/>
            <a:rect l="l" t="t" r="r" b="b"/>
            <a:pathLst>
              <a:path w="1997022" h="1014395" extrusionOk="0">
                <a:moveTo>
                  <a:pt x="998511" y="0"/>
                </a:moveTo>
                <a:cubicBezTo>
                  <a:pt x="1549973" y="0"/>
                  <a:pt x="1997022" y="447048"/>
                  <a:pt x="1997022" y="998510"/>
                </a:cubicBezTo>
                <a:lnTo>
                  <a:pt x="1996220" y="1014395"/>
                </a:lnTo>
                <a:lnTo>
                  <a:pt x="802" y="1014395"/>
                </a:lnTo>
                <a:lnTo>
                  <a:pt x="0" y="998510"/>
                </a:lnTo>
                <a:cubicBezTo>
                  <a:pt x="0" y="447048"/>
                  <a:pt x="447049" y="0"/>
                  <a:pt x="998511" y="0"/>
                </a:cubicBezTo>
                <a:close/>
              </a:path>
            </a:pathLst>
          </a:custGeom>
          <a:gradFill>
            <a:gsLst>
              <a:gs pos="0">
                <a:srgbClr val="E5E5E5"/>
              </a:gs>
              <a:gs pos="73000">
                <a:srgbClr val="F0F0F0">
                  <a:alpha val="47843"/>
                </a:srgbClr>
              </a:gs>
              <a:gs pos="100000">
                <a:srgbClr val="FFFFFF">
                  <a:alpha val="0"/>
                </a:srgbClr>
              </a:gs>
            </a:gsLst>
            <a:lin ang="54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25" name="Google Shape;2025;p16"/>
          <p:cNvSpPr/>
          <p:nvPr/>
        </p:nvSpPr>
        <p:spPr>
          <a:xfrm>
            <a:off x="9275249" y="1544321"/>
            <a:ext cx="1753954" cy="847316"/>
          </a:xfrm>
          <a:custGeom>
            <a:avLst/>
            <a:gdLst/>
            <a:ahLst/>
            <a:cxnLst/>
            <a:rect l="l" t="t" r="r" b="b"/>
            <a:pathLst>
              <a:path w="1997022" h="1014395" extrusionOk="0">
                <a:moveTo>
                  <a:pt x="998511" y="0"/>
                </a:moveTo>
                <a:cubicBezTo>
                  <a:pt x="1549973" y="0"/>
                  <a:pt x="1997022" y="447048"/>
                  <a:pt x="1997022" y="998510"/>
                </a:cubicBezTo>
                <a:lnTo>
                  <a:pt x="1996220" y="1014395"/>
                </a:lnTo>
                <a:lnTo>
                  <a:pt x="802" y="1014395"/>
                </a:lnTo>
                <a:lnTo>
                  <a:pt x="0" y="998510"/>
                </a:lnTo>
                <a:cubicBezTo>
                  <a:pt x="0" y="447048"/>
                  <a:pt x="447049" y="0"/>
                  <a:pt x="998511" y="0"/>
                </a:cubicBezTo>
                <a:close/>
              </a:path>
            </a:pathLst>
          </a:custGeom>
          <a:gradFill>
            <a:gsLst>
              <a:gs pos="0">
                <a:srgbClr val="E5E5E5"/>
              </a:gs>
              <a:gs pos="73000">
                <a:srgbClr val="F0F0F0">
                  <a:alpha val="47843"/>
                </a:srgbClr>
              </a:gs>
              <a:gs pos="100000">
                <a:srgbClr val="FFFFFF">
                  <a:alpha val="0"/>
                </a:srgbClr>
              </a:gs>
            </a:gsLst>
            <a:lin ang="54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cxnSp>
        <p:nvCxnSpPr>
          <p:cNvPr id="2026" name="Google Shape;2026;p16"/>
          <p:cNvCxnSpPr/>
          <p:nvPr/>
        </p:nvCxnSpPr>
        <p:spPr>
          <a:xfrm>
            <a:off x="539400" y="2598255"/>
            <a:ext cx="4986329" cy="0"/>
          </a:xfrm>
          <a:prstGeom prst="straightConnector1">
            <a:avLst/>
          </a:prstGeom>
          <a:noFill/>
          <a:ln w="12700" cap="flat" cmpd="sng">
            <a:solidFill>
              <a:schemeClr val="dk2"/>
            </a:solidFill>
            <a:prstDash val="solid"/>
            <a:miter lim="800000"/>
            <a:headEnd type="none" w="sm" len="sm"/>
            <a:tailEnd type="triangle" w="med" len="med"/>
          </a:ln>
        </p:spPr>
      </p:cxnSp>
      <p:cxnSp>
        <p:nvCxnSpPr>
          <p:cNvPr id="2027" name="Google Shape;2027;p16"/>
          <p:cNvCxnSpPr/>
          <p:nvPr/>
        </p:nvCxnSpPr>
        <p:spPr>
          <a:xfrm>
            <a:off x="5645900" y="2598255"/>
            <a:ext cx="3054065" cy="0"/>
          </a:xfrm>
          <a:prstGeom prst="straightConnector1">
            <a:avLst/>
          </a:prstGeom>
          <a:noFill/>
          <a:ln w="12700" cap="flat" cmpd="sng">
            <a:solidFill>
              <a:schemeClr val="dk2"/>
            </a:solidFill>
            <a:prstDash val="solid"/>
            <a:miter lim="800000"/>
            <a:headEnd type="none" w="sm" len="sm"/>
            <a:tailEnd type="triangle" w="med" len="med"/>
          </a:ln>
        </p:spPr>
      </p:cxnSp>
      <p:cxnSp>
        <p:nvCxnSpPr>
          <p:cNvPr id="2028" name="Google Shape;2028;p16"/>
          <p:cNvCxnSpPr/>
          <p:nvPr/>
        </p:nvCxnSpPr>
        <p:spPr>
          <a:xfrm>
            <a:off x="8800711" y="2598255"/>
            <a:ext cx="2703031" cy="0"/>
          </a:xfrm>
          <a:prstGeom prst="straightConnector1">
            <a:avLst/>
          </a:prstGeom>
          <a:noFill/>
          <a:ln w="12700" cap="flat" cmpd="sng">
            <a:solidFill>
              <a:schemeClr val="dk2"/>
            </a:solidFill>
            <a:prstDash val="solid"/>
            <a:miter lim="800000"/>
            <a:headEnd type="none" w="sm" len="sm"/>
            <a:tailEnd type="triangle" w="med" len="med"/>
          </a:ln>
        </p:spPr>
      </p:cxnSp>
      <p:sp>
        <p:nvSpPr>
          <p:cNvPr id="2029" name="Google Shape;2029;p16"/>
          <p:cNvSpPr/>
          <p:nvPr/>
        </p:nvSpPr>
        <p:spPr>
          <a:xfrm>
            <a:off x="5645900" y="3350369"/>
            <a:ext cx="3045816" cy="3079928"/>
          </a:xfrm>
          <a:prstGeom prst="rect">
            <a:avLst/>
          </a:prstGeom>
          <a:solidFill>
            <a:srgbClr val="99E3FE">
              <a:alpha val="60000"/>
            </a:srgbClr>
          </a:solidFill>
          <a:ln>
            <a:noFill/>
          </a:ln>
        </p:spPr>
        <p:txBody>
          <a:bodyPr spcFirstLastPara="1" wrap="square" lIns="0" tIns="37325" rIns="0" bIns="37325" anchor="ctr" anchorCtr="0">
            <a:noAutofit/>
          </a:bodyPr>
          <a:lstStyle/>
          <a:p>
            <a:pPr marL="0" marR="0" lvl="0" indent="0" algn="ctr" rtl="0">
              <a:lnSpc>
                <a:spcPct val="90000"/>
              </a:lnSpc>
              <a:spcBef>
                <a:spcPts val="0"/>
              </a:spcBef>
              <a:spcAft>
                <a:spcPts val="0"/>
              </a:spcAft>
              <a:buClr>
                <a:srgbClr val="000000"/>
              </a:buClr>
              <a:buSzPts val="1600"/>
              <a:buFont typeface="Arial"/>
              <a:buNone/>
            </a:pPr>
            <a:endParaRPr sz="1600" b="1" i="0" u="none" strike="noStrike" cap="none">
              <a:solidFill>
                <a:schemeClr val="lt1"/>
              </a:solidFill>
              <a:latin typeface="Calibri"/>
              <a:ea typeface="Calibri"/>
              <a:cs typeface="Calibri"/>
              <a:sym typeface="Calibri"/>
            </a:endParaRPr>
          </a:p>
        </p:txBody>
      </p:sp>
      <p:sp>
        <p:nvSpPr>
          <p:cNvPr id="2030" name="Google Shape;2030;p16"/>
          <p:cNvSpPr txBox="1"/>
          <p:nvPr/>
        </p:nvSpPr>
        <p:spPr>
          <a:xfrm>
            <a:off x="539399" y="3420321"/>
            <a:ext cx="2297874" cy="1572225"/>
          </a:xfrm>
          <a:prstGeom prst="rect">
            <a:avLst/>
          </a:prstGeom>
          <a:noFill/>
          <a:ln>
            <a:noFill/>
          </a:ln>
        </p:spPr>
        <p:txBody>
          <a:bodyPr spcFirstLastPara="1" wrap="square" lIns="0" tIns="0" rIns="0" bIns="0" anchor="t" anchorCtr="0">
            <a:spAutoFit/>
          </a:bodyPr>
          <a:lstStyle/>
          <a:p>
            <a:pPr marL="176213" marR="0" lvl="1" indent="-176213" algn="l" rtl="0">
              <a:lnSpc>
                <a:spcPct val="100000"/>
              </a:lnSpc>
              <a:spcBef>
                <a:spcPts val="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Get a deep understanding of the client objectives, context and expectations: Print or presentation? Sober or creative? High or low stake?</a:t>
            </a:r>
            <a:endParaRPr sz="1400" b="0" i="0" u="none" strike="noStrike" cap="none">
              <a:solidFill>
                <a:srgbClr val="000000"/>
              </a:solidFill>
              <a:latin typeface="Arial"/>
              <a:ea typeface="Arial"/>
              <a:cs typeface="Arial"/>
              <a:sym typeface="Arial"/>
            </a:endParaRPr>
          </a:p>
          <a:p>
            <a:pPr marL="176213" marR="0" lvl="1" indent="-176213" algn="l" rtl="0">
              <a:lnSpc>
                <a:spcPct val="100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Understand the constraints – Deadline, time budget etc.</a:t>
            </a:r>
            <a:endParaRPr sz="1400" b="0" i="0" u="none" strike="noStrike" cap="none">
              <a:solidFill>
                <a:srgbClr val="000000"/>
              </a:solidFill>
              <a:latin typeface="Arial"/>
              <a:ea typeface="Arial"/>
              <a:cs typeface="Arial"/>
              <a:sym typeface="Arial"/>
            </a:endParaRPr>
          </a:p>
        </p:txBody>
      </p:sp>
      <p:sp>
        <p:nvSpPr>
          <p:cNvPr id="2031" name="Google Shape;2031;p16"/>
          <p:cNvSpPr/>
          <p:nvPr/>
        </p:nvSpPr>
        <p:spPr>
          <a:xfrm>
            <a:off x="539400" y="2787780"/>
            <a:ext cx="2566439" cy="555190"/>
          </a:xfrm>
          <a:prstGeom prst="homePlate">
            <a:avLst>
              <a:gd name="adj" fmla="val 16795"/>
            </a:avLst>
          </a:prstGeom>
          <a:solidFill>
            <a:schemeClr val="accent1"/>
          </a:solidFill>
          <a:ln>
            <a:noFill/>
          </a:ln>
        </p:spPr>
        <p:txBody>
          <a:bodyPr spcFirstLastPara="1" wrap="square" lIns="0" tIns="37325" rIns="0" bIns="37325" anchor="ctr" anchorCtr="0">
            <a:noAutofit/>
          </a:bodyPr>
          <a:lstStyle/>
          <a:p>
            <a:pPr marL="0" marR="0" lvl="0" indent="0" algn="ctr" rtl="0">
              <a:lnSpc>
                <a:spcPct val="85000"/>
              </a:lnSpc>
              <a:spcBef>
                <a:spcPts val="0"/>
              </a:spcBef>
              <a:spcAft>
                <a:spcPts val="0"/>
              </a:spcAft>
              <a:buClr>
                <a:schemeClr val="lt1"/>
              </a:buClr>
              <a:buSzPts val="1600"/>
              <a:buFont typeface="Calibri"/>
              <a:buNone/>
            </a:pPr>
            <a:r>
              <a:rPr lang="en-US" sz="1600" b="1" i="0" u="none" strike="noStrike" cap="none">
                <a:solidFill>
                  <a:schemeClr val="lt1"/>
                </a:solidFill>
                <a:latin typeface="Calibri"/>
                <a:ea typeface="Calibri"/>
                <a:cs typeface="Calibri"/>
                <a:sym typeface="Calibri"/>
              </a:rPr>
              <a:t>Understanding client</a:t>
            </a:r>
            <a:br>
              <a:rPr lang="en-US" sz="1600" b="1" i="0" u="none" strike="noStrike" cap="none">
                <a:solidFill>
                  <a:schemeClr val="lt1"/>
                </a:solidFill>
                <a:latin typeface="Calibri"/>
                <a:ea typeface="Calibri"/>
                <a:cs typeface="Calibri"/>
                <a:sym typeface="Calibri"/>
              </a:rPr>
            </a:br>
            <a:r>
              <a:rPr lang="en-US" sz="1600" b="1" i="0" u="none" strike="noStrike" cap="none">
                <a:solidFill>
                  <a:schemeClr val="lt1"/>
                </a:solidFill>
                <a:latin typeface="Calibri"/>
                <a:ea typeface="Calibri"/>
                <a:cs typeface="Calibri"/>
                <a:sym typeface="Calibri"/>
              </a:rPr>
              <a:t>needs and objective</a:t>
            </a:r>
            <a:endParaRPr sz="1400" b="0" i="0" u="none" strike="noStrike" cap="none">
              <a:solidFill>
                <a:srgbClr val="000000"/>
              </a:solidFill>
              <a:latin typeface="Arial"/>
              <a:ea typeface="Arial"/>
              <a:cs typeface="Arial"/>
              <a:sym typeface="Arial"/>
            </a:endParaRPr>
          </a:p>
        </p:txBody>
      </p:sp>
      <p:sp>
        <p:nvSpPr>
          <p:cNvPr id="2032" name="Google Shape;2032;p16"/>
          <p:cNvSpPr/>
          <p:nvPr/>
        </p:nvSpPr>
        <p:spPr>
          <a:xfrm>
            <a:off x="3092650" y="2787780"/>
            <a:ext cx="2566439" cy="555190"/>
          </a:xfrm>
          <a:prstGeom prst="chevron">
            <a:avLst>
              <a:gd name="adj" fmla="val 16379"/>
            </a:avLst>
          </a:prstGeom>
          <a:solidFill>
            <a:schemeClr val="accent1"/>
          </a:solidFill>
          <a:ln>
            <a:noFill/>
          </a:ln>
        </p:spPr>
        <p:txBody>
          <a:bodyPr spcFirstLastPara="1" wrap="square" lIns="0" tIns="37325" rIns="0" bIns="37325" anchor="ctr" anchorCtr="0">
            <a:noAutofit/>
          </a:bodyPr>
          <a:lstStyle/>
          <a:p>
            <a:pPr marL="0" marR="0" lvl="0" indent="0" algn="ctr" rtl="0">
              <a:lnSpc>
                <a:spcPct val="85000"/>
              </a:lnSpc>
              <a:spcBef>
                <a:spcPts val="0"/>
              </a:spcBef>
              <a:spcAft>
                <a:spcPts val="0"/>
              </a:spcAft>
              <a:buClr>
                <a:srgbClr val="000000"/>
              </a:buClr>
              <a:buSzPts val="1600"/>
              <a:buFont typeface="Arial"/>
              <a:buNone/>
            </a:pPr>
            <a:r>
              <a:rPr lang="en-US" sz="1600" b="1" i="0" u="none" strike="noStrike" cap="none">
                <a:solidFill>
                  <a:schemeClr val="lt1"/>
                </a:solidFill>
                <a:latin typeface="Calibri"/>
                <a:ea typeface="Calibri"/>
                <a:cs typeface="Calibri"/>
                <a:sym typeface="Calibri"/>
              </a:rPr>
              <a:t>Structuring approach</a:t>
            </a:r>
            <a:endParaRPr sz="1600" b="1" i="0" u="none" strike="noStrike" cap="none">
              <a:solidFill>
                <a:schemeClr val="lt1"/>
              </a:solidFill>
              <a:latin typeface="Calibri"/>
              <a:ea typeface="Calibri"/>
              <a:cs typeface="Calibri"/>
              <a:sym typeface="Calibri"/>
            </a:endParaRPr>
          </a:p>
        </p:txBody>
      </p:sp>
      <p:sp>
        <p:nvSpPr>
          <p:cNvPr id="2033" name="Google Shape;2033;p16"/>
          <p:cNvSpPr txBox="1"/>
          <p:nvPr/>
        </p:nvSpPr>
        <p:spPr>
          <a:xfrm>
            <a:off x="3174458" y="3420321"/>
            <a:ext cx="2297874" cy="1205458"/>
          </a:xfrm>
          <a:prstGeom prst="rect">
            <a:avLst/>
          </a:prstGeom>
          <a:noFill/>
          <a:ln>
            <a:noFill/>
          </a:ln>
        </p:spPr>
        <p:txBody>
          <a:bodyPr spcFirstLastPara="1" wrap="square" lIns="0" tIns="0" rIns="0" bIns="0" anchor="t" anchorCtr="0">
            <a:spAutoFit/>
          </a:bodyPr>
          <a:lstStyle/>
          <a:p>
            <a:pPr marL="176213" marR="0" lvl="1" indent="-176213" algn="l" rtl="0">
              <a:lnSpc>
                <a:spcPct val="100000"/>
              </a:lnSpc>
              <a:spcBef>
                <a:spcPts val="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Define the best design strategy and tools</a:t>
            </a:r>
            <a:endParaRPr sz="1400" b="0" i="0" u="none" strike="noStrike" cap="none">
              <a:solidFill>
                <a:srgbClr val="000000"/>
              </a:solidFill>
              <a:latin typeface="Arial"/>
              <a:ea typeface="Arial"/>
              <a:cs typeface="Arial"/>
              <a:sym typeface="Arial"/>
            </a:endParaRPr>
          </a:p>
          <a:p>
            <a:pPr marL="176213" marR="0" lvl="1" indent="-176213" algn="l" rtl="0">
              <a:lnSpc>
                <a:spcPct val="100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Assess and validate the time needed</a:t>
            </a:r>
            <a:endParaRPr sz="1400" b="0" i="0" u="none" strike="noStrike" cap="none">
              <a:solidFill>
                <a:srgbClr val="000000"/>
              </a:solidFill>
              <a:latin typeface="Arial"/>
              <a:ea typeface="Arial"/>
              <a:cs typeface="Arial"/>
              <a:sym typeface="Arial"/>
            </a:endParaRPr>
          </a:p>
          <a:p>
            <a:pPr marL="176213" marR="0" lvl="1" indent="-176213" algn="l" rtl="0">
              <a:lnSpc>
                <a:spcPct val="100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Define the criteria of success</a:t>
            </a:r>
            <a:endParaRPr sz="1400" b="0" i="0" u="none" strike="noStrike" cap="none">
              <a:solidFill>
                <a:srgbClr val="000000"/>
              </a:solidFill>
              <a:latin typeface="Arial"/>
              <a:ea typeface="Arial"/>
              <a:cs typeface="Arial"/>
              <a:sym typeface="Arial"/>
            </a:endParaRPr>
          </a:p>
        </p:txBody>
      </p:sp>
      <p:sp>
        <p:nvSpPr>
          <p:cNvPr id="2034" name="Google Shape;2034;p16"/>
          <p:cNvSpPr txBox="1"/>
          <p:nvPr/>
        </p:nvSpPr>
        <p:spPr>
          <a:xfrm>
            <a:off x="5752630" y="3420321"/>
            <a:ext cx="2797323" cy="2918748"/>
          </a:xfrm>
          <a:prstGeom prst="rect">
            <a:avLst/>
          </a:prstGeom>
          <a:noFill/>
          <a:ln>
            <a:noFill/>
          </a:ln>
        </p:spPr>
        <p:txBody>
          <a:bodyPr spcFirstLastPara="1" wrap="square" lIns="0" tIns="0" rIns="0" bIns="0" anchor="t" anchorCtr="0">
            <a:spAutoFit/>
          </a:bodyPr>
          <a:lstStyle/>
          <a:p>
            <a:pPr marL="176213" marR="0" lvl="1" indent="-176213" algn="l" rtl="0">
              <a:lnSpc>
                <a:spcPct val="100000"/>
              </a:lnSpc>
              <a:spcBef>
                <a:spcPts val="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Leveraging multiple tools</a:t>
            </a:r>
            <a:endParaRPr sz="1400" b="0" i="0" u="none" strike="noStrike" cap="none">
              <a:solidFill>
                <a:srgbClr val="000000"/>
              </a:solidFill>
              <a:latin typeface="Arial"/>
              <a:ea typeface="Arial"/>
              <a:cs typeface="Arial"/>
              <a:sym typeface="Arial"/>
            </a:endParaRPr>
          </a:p>
          <a:p>
            <a:pPr marL="358775" marR="0" lvl="2" indent="-179387" algn="l" rtl="0">
              <a:lnSpc>
                <a:spcPct val="100000"/>
              </a:lnSpc>
              <a:spcBef>
                <a:spcPts val="100"/>
              </a:spcBef>
              <a:spcAft>
                <a:spcPts val="0"/>
              </a:spcAft>
              <a:buClr>
                <a:schemeClr val="dk2"/>
              </a:buClr>
              <a:buSzPts val="1400"/>
              <a:buFont typeface="Calibri"/>
              <a:buChar char="−"/>
            </a:pPr>
            <a:r>
              <a:rPr lang="en-US" sz="1400" b="0" i="0" u="none" strike="noStrike" cap="none">
                <a:solidFill>
                  <a:schemeClr val="dk1"/>
                </a:solidFill>
                <a:latin typeface="Calibri"/>
                <a:ea typeface="Calibri"/>
                <a:cs typeface="Calibri"/>
                <a:sym typeface="Calibri"/>
              </a:rPr>
              <a:t>Powerpoint</a:t>
            </a:r>
            <a:endParaRPr sz="1400" b="0" i="0" u="none" strike="noStrike" cap="none">
              <a:solidFill>
                <a:srgbClr val="000000"/>
              </a:solidFill>
              <a:latin typeface="Arial"/>
              <a:ea typeface="Arial"/>
              <a:cs typeface="Arial"/>
              <a:sym typeface="Arial"/>
            </a:endParaRPr>
          </a:p>
          <a:p>
            <a:pPr marL="358775" marR="0" lvl="2" indent="-179387" algn="l" rtl="0">
              <a:lnSpc>
                <a:spcPct val="100000"/>
              </a:lnSpc>
              <a:spcBef>
                <a:spcPts val="100"/>
              </a:spcBef>
              <a:spcAft>
                <a:spcPts val="0"/>
              </a:spcAft>
              <a:buClr>
                <a:schemeClr val="dk2"/>
              </a:buClr>
              <a:buSzPts val="1400"/>
              <a:buFont typeface="Calibri"/>
              <a:buChar char="−"/>
            </a:pPr>
            <a:r>
              <a:rPr lang="en-US" sz="1400" b="0" i="0" u="none" strike="noStrike" cap="none">
                <a:solidFill>
                  <a:schemeClr val="dk1"/>
                </a:solidFill>
                <a:latin typeface="Calibri"/>
                <a:ea typeface="Calibri"/>
                <a:cs typeface="Calibri"/>
                <a:sym typeface="Calibri"/>
              </a:rPr>
              <a:t>Infographics</a:t>
            </a:r>
            <a:endParaRPr sz="1400" b="0" i="0" u="none" strike="noStrike" cap="none">
              <a:solidFill>
                <a:srgbClr val="000000"/>
              </a:solidFill>
              <a:latin typeface="Arial"/>
              <a:ea typeface="Arial"/>
              <a:cs typeface="Arial"/>
              <a:sym typeface="Arial"/>
            </a:endParaRPr>
          </a:p>
          <a:p>
            <a:pPr marL="358775" marR="0" lvl="2" indent="-179387" algn="l" rtl="0">
              <a:lnSpc>
                <a:spcPct val="100000"/>
              </a:lnSpc>
              <a:spcBef>
                <a:spcPts val="100"/>
              </a:spcBef>
              <a:spcAft>
                <a:spcPts val="0"/>
              </a:spcAft>
              <a:buClr>
                <a:schemeClr val="dk2"/>
              </a:buClr>
              <a:buSzPts val="1400"/>
              <a:buFont typeface="Calibri"/>
              <a:buChar char="−"/>
            </a:pPr>
            <a:r>
              <a:rPr lang="en-US" sz="1400" b="0" i="0" u="none" strike="noStrike" cap="none">
                <a:solidFill>
                  <a:schemeClr val="dk1"/>
                </a:solidFill>
                <a:latin typeface="Calibri"/>
                <a:ea typeface="Calibri"/>
                <a:cs typeface="Calibri"/>
                <a:sym typeface="Calibri"/>
              </a:rPr>
              <a:t>Pdf etc.</a:t>
            </a:r>
            <a:endParaRPr sz="1400" b="0" i="0" u="none" strike="noStrike" cap="none">
              <a:solidFill>
                <a:srgbClr val="000000"/>
              </a:solidFill>
              <a:latin typeface="Arial"/>
              <a:ea typeface="Arial"/>
              <a:cs typeface="Arial"/>
              <a:sym typeface="Arial"/>
            </a:endParaRPr>
          </a:p>
          <a:p>
            <a:pPr marL="176213" marR="0" lvl="1" indent="-176213" algn="l" rtl="0">
              <a:lnSpc>
                <a:spcPct val="100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Different design “depth”</a:t>
            </a:r>
            <a:endParaRPr sz="1400" b="0" i="0" u="none" strike="noStrike" cap="none">
              <a:solidFill>
                <a:srgbClr val="000000"/>
              </a:solidFill>
              <a:latin typeface="Arial"/>
              <a:ea typeface="Arial"/>
              <a:cs typeface="Arial"/>
              <a:sym typeface="Arial"/>
            </a:endParaRPr>
          </a:p>
          <a:p>
            <a:pPr marL="358775" marR="0" lvl="2" indent="-179387" algn="l" rtl="0">
              <a:lnSpc>
                <a:spcPct val="100000"/>
              </a:lnSpc>
              <a:spcBef>
                <a:spcPts val="100"/>
              </a:spcBef>
              <a:spcAft>
                <a:spcPts val="0"/>
              </a:spcAft>
              <a:buClr>
                <a:schemeClr val="dk2"/>
              </a:buClr>
              <a:buSzPts val="1400"/>
              <a:buFont typeface="Calibri"/>
              <a:buChar char="−"/>
            </a:pPr>
            <a:r>
              <a:rPr lang="en-US" sz="1400" b="0" i="0" u="none" strike="noStrike" cap="none">
                <a:solidFill>
                  <a:schemeClr val="dk1"/>
                </a:solidFill>
                <a:latin typeface="Calibri"/>
                <a:ea typeface="Calibri"/>
                <a:cs typeface="Calibri"/>
                <a:sym typeface="Calibri"/>
              </a:rPr>
              <a:t>Basic design</a:t>
            </a:r>
            <a:endParaRPr sz="1400" b="0" i="0" u="none" strike="noStrike" cap="none">
              <a:solidFill>
                <a:srgbClr val="000000"/>
              </a:solidFill>
              <a:latin typeface="Arial"/>
              <a:ea typeface="Arial"/>
              <a:cs typeface="Arial"/>
              <a:sym typeface="Arial"/>
            </a:endParaRPr>
          </a:p>
          <a:p>
            <a:pPr marL="358775" marR="0" lvl="2" indent="-179387" algn="l" rtl="0">
              <a:lnSpc>
                <a:spcPct val="100000"/>
              </a:lnSpc>
              <a:spcBef>
                <a:spcPts val="100"/>
              </a:spcBef>
              <a:spcAft>
                <a:spcPts val="0"/>
              </a:spcAft>
              <a:buClr>
                <a:schemeClr val="dk2"/>
              </a:buClr>
              <a:buSzPts val="1400"/>
              <a:buFont typeface="Calibri"/>
              <a:buChar char="−"/>
            </a:pPr>
            <a:r>
              <a:rPr lang="en-US" sz="1400" b="0" i="0" u="none" strike="noStrike" cap="none">
                <a:solidFill>
                  <a:schemeClr val="dk1"/>
                </a:solidFill>
                <a:latin typeface="Calibri"/>
                <a:ea typeface="Calibri"/>
                <a:cs typeface="Calibri"/>
                <a:sym typeface="Calibri"/>
              </a:rPr>
              <a:t>Enhanced design </a:t>
            </a:r>
            <a:endParaRPr sz="1400" b="0" i="0" u="none" strike="noStrike" cap="none">
              <a:solidFill>
                <a:srgbClr val="000000"/>
              </a:solidFill>
              <a:latin typeface="Arial"/>
              <a:ea typeface="Arial"/>
              <a:cs typeface="Arial"/>
              <a:sym typeface="Arial"/>
            </a:endParaRPr>
          </a:p>
          <a:p>
            <a:pPr marL="358775" marR="0" lvl="2" indent="-179387" algn="l" rtl="0">
              <a:lnSpc>
                <a:spcPct val="100000"/>
              </a:lnSpc>
              <a:spcBef>
                <a:spcPts val="100"/>
              </a:spcBef>
              <a:spcAft>
                <a:spcPts val="0"/>
              </a:spcAft>
              <a:buClr>
                <a:schemeClr val="dk2"/>
              </a:buClr>
              <a:buSzPts val="1400"/>
              <a:buFont typeface="Calibri"/>
              <a:buChar char="−"/>
            </a:pPr>
            <a:r>
              <a:rPr lang="en-US" sz="1400" b="0" i="0" u="none" strike="noStrike" cap="none">
                <a:solidFill>
                  <a:schemeClr val="dk1"/>
                </a:solidFill>
                <a:latin typeface="Calibri"/>
                <a:ea typeface="Calibri"/>
                <a:cs typeface="Calibri"/>
                <a:sym typeface="Calibri"/>
              </a:rPr>
              <a:t>Creative design</a:t>
            </a:r>
            <a:endParaRPr sz="1400" b="0" i="0" u="none" strike="noStrike" cap="none">
              <a:solidFill>
                <a:srgbClr val="000000"/>
              </a:solidFill>
              <a:latin typeface="Arial"/>
              <a:ea typeface="Arial"/>
              <a:cs typeface="Arial"/>
              <a:sym typeface="Arial"/>
            </a:endParaRPr>
          </a:p>
          <a:p>
            <a:pPr marL="176213" marR="0" lvl="1" indent="-176213" algn="l" rtl="0">
              <a:lnSpc>
                <a:spcPct val="100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Sharing different design options as required</a:t>
            </a:r>
            <a:endParaRPr sz="1400" b="0" i="0" u="none" strike="noStrike" cap="none">
              <a:solidFill>
                <a:srgbClr val="000000"/>
              </a:solidFill>
              <a:latin typeface="Arial"/>
              <a:ea typeface="Arial"/>
              <a:cs typeface="Arial"/>
              <a:sym typeface="Arial"/>
            </a:endParaRPr>
          </a:p>
          <a:p>
            <a:pPr marL="176213" marR="0" lvl="1" indent="-176213" algn="l" rtl="0">
              <a:lnSpc>
                <a:spcPct val="100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Regular iterations with client</a:t>
            </a:r>
            <a:endParaRPr sz="1400" b="0" i="0" u="none" strike="noStrike" cap="none">
              <a:solidFill>
                <a:srgbClr val="000000"/>
              </a:solidFill>
              <a:latin typeface="Arial"/>
              <a:ea typeface="Arial"/>
              <a:cs typeface="Arial"/>
              <a:sym typeface="Arial"/>
            </a:endParaRPr>
          </a:p>
          <a:p>
            <a:pPr marL="176213" marR="0" lvl="1" indent="-176213" algn="l" rtl="0">
              <a:lnSpc>
                <a:spcPct val="100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In-depth Quality Assurance</a:t>
            </a:r>
            <a:endParaRPr sz="1400" b="0" i="0" u="none" strike="noStrike" cap="none">
              <a:solidFill>
                <a:srgbClr val="000000"/>
              </a:solidFill>
              <a:latin typeface="Arial"/>
              <a:ea typeface="Arial"/>
              <a:cs typeface="Arial"/>
              <a:sym typeface="Arial"/>
            </a:endParaRPr>
          </a:p>
        </p:txBody>
      </p:sp>
      <p:sp>
        <p:nvSpPr>
          <p:cNvPr id="2035" name="Google Shape;2035;p16"/>
          <p:cNvSpPr txBox="1"/>
          <p:nvPr/>
        </p:nvSpPr>
        <p:spPr>
          <a:xfrm>
            <a:off x="8906755" y="3420321"/>
            <a:ext cx="2554347" cy="1700466"/>
          </a:xfrm>
          <a:prstGeom prst="rect">
            <a:avLst/>
          </a:prstGeom>
          <a:noFill/>
          <a:ln>
            <a:noFill/>
          </a:ln>
        </p:spPr>
        <p:txBody>
          <a:bodyPr spcFirstLastPara="1" wrap="square" lIns="0" tIns="0" rIns="0" bIns="0" anchor="t" anchorCtr="0">
            <a:spAutoFit/>
          </a:bodyPr>
          <a:lstStyle/>
          <a:p>
            <a:pPr marL="176213" marR="0" lvl="1" indent="-176213" algn="l" rtl="0">
              <a:lnSpc>
                <a:spcPct val="100000"/>
              </a:lnSpc>
              <a:spcBef>
                <a:spcPts val="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Speaking with the client to explain the design choices</a:t>
            </a:r>
            <a:endParaRPr sz="1400" b="0" i="0" u="none" strike="noStrike" cap="none">
              <a:solidFill>
                <a:srgbClr val="000000"/>
              </a:solidFill>
              <a:latin typeface="Arial"/>
              <a:ea typeface="Arial"/>
              <a:cs typeface="Arial"/>
              <a:sym typeface="Arial"/>
            </a:endParaRPr>
          </a:p>
          <a:p>
            <a:pPr marL="176213" marR="0" lvl="1" indent="-176213" algn="l" rtl="0">
              <a:lnSpc>
                <a:spcPct val="100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Explaining any technical elements (for ex. how to use a template)</a:t>
            </a:r>
            <a:endParaRPr sz="1400" b="0" i="0" u="none" strike="noStrike" cap="none">
              <a:solidFill>
                <a:srgbClr val="000000"/>
              </a:solidFill>
              <a:latin typeface="Arial"/>
              <a:ea typeface="Arial"/>
              <a:cs typeface="Arial"/>
              <a:sym typeface="Arial"/>
            </a:endParaRPr>
          </a:p>
          <a:p>
            <a:pPr marL="176213" marR="0" lvl="1" indent="-176213" algn="l" rtl="0">
              <a:lnSpc>
                <a:spcPct val="100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Getting client feedback</a:t>
            </a:r>
            <a:endParaRPr sz="1400" b="0" i="0" u="none" strike="noStrike" cap="none">
              <a:solidFill>
                <a:srgbClr val="000000"/>
              </a:solidFill>
              <a:latin typeface="Arial"/>
              <a:ea typeface="Arial"/>
              <a:cs typeface="Arial"/>
              <a:sym typeface="Arial"/>
            </a:endParaRPr>
          </a:p>
          <a:p>
            <a:pPr marL="176213" marR="0" lvl="1" indent="-176213" algn="l" rtl="0">
              <a:lnSpc>
                <a:spcPct val="100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Agreeing on potential next steps</a:t>
            </a:r>
            <a:endParaRPr sz="1400" b="0" i="0" u="none" strike="noStrike" cap="none">
              <a:solidFill>
                <a:srgbClr val="000000"/>
              </a:solidFill>
              <a:latin typeface="Arial"/>
              <a:ea typeface="Arial"/>
              <a:cs typeface="Arial"/>
              <a:sym typeface="Arial"/>
            </a:endParaRPr>
          </a:p>
        </p:txBody>
      </p:sp>
      <p:sp>
        <p:nvSpPr>
          <p:cNvPr id="2036" name="Google Shape;2036;p16"/>
          <p:cNvSpPr/>
          <p:nvPr/>
        </p:nvSpPr>
        <p:spPr>
          <a:xfrm>
            <a:off x="5645900" y="2787780"/>
            <a:ext cx="3168000" cy="555190"/>
          </a:xfrm>
          <a:prstGeom prst="chevron">
            <a:avLst>
              <a:gd name="adj" fmla="val 16379"/>
            </a:avLst>
          </a:prstGeom>
          <a:solidFill>
            <a:schemeClr val="accent1"/>
          </a:solidFill>
          <a:ln>
            <a:noFill/>
          </a:ln>
        </p:spPr>
        <p:txBody>
          <a:bodyPr spcFirstLastPara="1" wrap="square" lIns="0" tIns="37325" rIns="0" bIns="37325" anchor="ctr" anchorCtr="0">
            <a:noAutofit/>
          </a:bodyPr>
          <a:lstStyle/>
          <a:p>
            <a:pPr marL="0" marR="0" lvl="0" indent="0" algn="ctr" rtl="0">
              <a:lnSpc>
                <a:spcPct val="85000"/>
              </a:lnSpc>
              <a:spcBef>
                <a:spcPts val="0"/>
              </a:spcBef>
              <a:spcAft>
                <a:spcPts val="0"/>
              </a:spcAft>
              <a:buClr>
                <a:srgbClr val="000000"/>
              </a:buClr>
              <a:buSzPts val="1600"/>
              <a:buFont typeface="Arial"/>
              <a:buNone/>
            </a:pPr>
            <a:r>
              <a:rPr lang="en-US" sz="1600" b="1" i="0" u="none" strike="noStrike" cap="none">
                <a:solidFill>
                  <a:schemeClr val="lt1"/>
                </a:solidFill>
                <a:latin typeface="Calibri"/>
                <a:ea typeface="Calibri"/>
                <a:cs typeface="Calibri"/>
                <a:sym typeface="Calibri"/>
              </a:rPr>
              <a:t>Executing Design</a:t>
            </a:r>
            <a:endParaRPr sz="1400" b="0" i="0" u="none" strike="noStrike" cap="none">
              <a:solidFill>
                <a:srgbClr val="000000"/>
              </a:solidFill>
              <a:latin typeface="Arial"/>
              <a:ea typeface="Arial"/>
              <a:cs typeface="Arial"/>
              <a:sym typeface="Arial"/>
            </a:endParaRPr>
          </a:p>
        </p:txBody>
      </p:sp>
      <p:sp>
        <p:nvSpPr>
          <p:cNvPr id="2037" name="Google Shape;2037;p16"/>
          <p:cNvSpPr/>
          <p:nvPr/>
        </p:nvSpPr>
        <p:spPr>
          <a:xfrm>
            <a:off x="8800711" y="2787780"/>
            <a:ext cx="2847353" cy="555190"/>
          </a:xfrm>
          <a:prstGeom prst="chevron">
            <a:avLst>
              <a:gd name="adj" fmla="val 16379"/>
            </a:avLst>
          </a:prstGeom>
          <a:solidFill>
            <a:schemeClr val="accent1"/>
          </a:solidFill>
          <a:ln>
            <a:noFill/>
          </a:ln>
        </p:spPr>
        <p:txBody>
          <a:bodyPr spcFirstLastPara="1" wrap="square" lIns="0" tIns="37325" rIns="0" bIns="37325" anchor="ctr" anchorCtr="0">
            <a:noAutofit/>
          </a:bodyPr>
          <a:lstStyle/>
          <a:p>
            <a:pPr marL="0" marR="0" lvl="0" indent="0" algn="ctr" rtl="0">
              <a:lnSpc>
                <a:spcPct val="85000"/>
              </a:lnSpc>
              <a:spcBef>
                <a:spcPts val="0"/>
              </a:spcBef>
              <a:spcAft>
                <a:spcPts val="0"/>
              </a:spcAft>
              <a:buClr>
                <a:srgbClr val="000000"/>
              </a:buClr>
              <a:buSzPts val="1600"/>
              <a:buFont typeface="Arial"/>
              <a:buNone/>
            </a:pPr>
            <a:r>
              <a:rPr lang="en-US" sz="1600" b="1" i="0" u="none" strike="noStrike" cap="none">
                <a:solidFill>
                  <a:schemeClr val="lt1"/>
                </a:solidFill>
                <a:latin typeface="Calibri"/>
                <a:ea typeface="Calibri"/>
                <a:cs typeface="Calibri"/>
                <a:sym typeface="Calibri"/>
              </a:rPr>
              <a:t>Handover</a:t>
            </a:r>
            <a:endParaRPr sz="1600" b="1" i="0" u="none" strike="noStrike" cap="none">
              <a:solidFill>
                <a:schemeClr val="lt1"/>
              </a:solidFill>
              <a:latin typeface="Calibri"/>
              <a:ea typeface="Calibri"/>
              <a:cs typeface="Calibri"/>
              <a:sym typeface="Calibri"/>
            </a:endParaRPr>
          </a:p>
        </p:txBody>
      </p:sp>
      <p:sp>
        <p:nvSpPr>
          <p:cNvPr id="2038" name="Google Shape;2038;p16"/>
          <p:cNvSpPr/>
          <p:nvPr/>
        </p:nvSpPr>
        <p:spPr>
          <a:xfrm>
            <a:off x="2560320" y="2388172"/>
            <a:ext cx="908701" cy="338554"/>
          </a:xfrm>
          <a:prstGeom prst="rect">
            <a:avLst/>
          </a:prstGeom>
          <a:solidFill>
            <a:schemeClr val="lt1"/>
          </a:solidFill>
          <a:ln>
            <a:noFill/>
          </a:ln>
        </p:spPr>
        <p:txBody>
          <a:bodyPr spcFirstLastPara="1" wrap="square" lIns="72000" tIns="0" rIns="72000" bIns="0" anchor="ctr" anchorCtr="0">
            <a:spAutoFit/>
          </a:bodyPr>
          <a:lstStyle/>
          <a:p>
            <a:pPr marL="0" marR="0" lvl="0" indent="0" algn="ctr" rtl="0">
              <a:lnSpc>
                <a:spcPct val="100000"/>
              </a:lnSpc>
              <a:spcBef>
                <a:spcPts val="0"/>
              </a:spcBef>
              <a:spcAft>
                <a:spcPts val="0"/>
              </a:spcAft>
              <a:buClr>
                <a:srgbClr val="000000"/>
              </a:buClr>
              <a:buSzPts val="2200"/>
              <a:buFont typeface="Arial"/>
              <a:buNone/>
            </a:pPr>
            <a:r>
              <a:rPr lang="en-US" sz="2200" b="1" i="0" u="none" strike="noStrike" cap="none">
                <a:solidFill>
                  <a:schemeClr val="dk2"/>
                </a:solidFill>
                <a:latin typeface="Calibri"/>
                <a:ea typeface="Calibri"/>
                <a:cs typeface="Calibri"/>
                <a:sym typeface="Calibri"/>
              </a:rPr>
              <a:t>Intake</a:t>
            </a:r>
            <a:endParaRPr sz="2200" b="1" i="0" u="none" strike="noStrike" cap="none">
              <a:solidFill>
                <a:schemeClr val="dk2"/>
              </a:solidFill>
              <a:latin typeface="Calibri"/>
              <a:ea typeface="Calibri"/>
              <a:cs typeface="Calibri"/>
              <a:sym typeface="Calibri"/>
            </a:endParaRPr>
          </a:p>
        </p:txBody>
      </p:sp>
      <p:sp>
        <p:nvSpPr>
          <p:cNvPr id="2039" name="Google Shape;2039;p16"/>
          <p:cNvSpPr/>
          <p:nvPr/>
        </p:nvSpPr>
        <p:spPr>
          <a:xfrm>
            <a:off x="6528919" y="2388172"/>
            <a:ext cx="1288027" cy="338554"/>
          </a:xfrm>
          <a:prstGeom prst="rect">
            <a:avLst/>
          </a:prstGeom>
          <a:solidFill>
            <a:schemeClr val="lt1"/>
          </a:solidFill>
          <a:ln>
            <a:noFill/>
          </a:ln>
        </p:spPr>
        <p:txBody>
          <a:bodyPr spcFirstLastPara="1" wrap="square" lIns="72000" tIns="0" rIns="72000" bIns="0" anchor="ctr" anchorCtr="0">
            <a:spAutoFit/>
          </a:bodyPr>
          <a:lstStyle/>
          <a:p>
            <a:pPr marL="0" marR="0" lvl="0" indent="0" algn="ctr" rtl="0">
              <a:lnSpc>
                <a:spcPct val="100000"/>
              </a:lnSpc>
              <a:spcBef>
                <a:spcPts val="0"/>
              </a:spcBef>
              <a:spcAft>
                <a:spcPts val="0"/>
              </a:spcAft>
              <a:buClr>
                <a:srgbClr val="000000"/>
              </a:buClr>
              <a:buSzPts val="2200"/>
              <a:buFont typeface="Arial"/>
              <a:buNone/>
            </a:pPr>
            <a:r>
              <a:rPr lang="en-US" sz="2200" b="1" i="0" u="none" strike="noStrike" cap="none">
                <a:solidFill>
                  <a:schemeClr val="dk2"/>
                </a:solidFill>
                <a:latin typeface="Calibri"/>
                <a:ea typeface="Calibri"/>
                <a:cs typeface="Calibri"/>
                <a:sym typeface="Calibri"/>
              </a:rPr>
              <a:t>Execution</a:t>
            </a:r>
            <a:endParaRPr sz="2200" b="1" i="0" u="none" strike="noStrike" cap="none">
              <a:solidFill>
                <a:schemeClr val="dk2"/>
              </a:solidFill>
              <a:latin typeface="Calibri"/>
              <a:ea typeface="Calibri"/>
              <a:cs typeface="Calibri"/>
              <a:sym typeface="Calibri"/>
            </a:endParaRPr>
          </a:p>
        </p:txBody>
      </p:sp>
      <p:sp>
        <p:nvSpPr>
          <p:cNvPr id="2040" name="Google Shape;2040;p16"/>
          <p:cNvSpPr/>
          <p:nvPr/>
        </p:nvSpPr>
        <p:spPr>
          <a:xfrm>
            <a:off x="9596122" y="2388172"/>
            <a:ext cx="1112209" cy="338554"/>
          </a:xfrm>
          <a:prstGeom prst="rect">
            <a:avLst/>
          </a:prstGeom>
          <a:solidFill>
            <a:schemeClr val="lt1"/>
          </a:solidFill>
          <a:ln>
            <a:noFill/>
          </a:ln>
        </p:spPr>
        <p:txBody>
          <a:bodyPr spcFirstLastPara="1" wrap="square" lIns="72000" tIns="0" rIns="72000" bIns="0" anchor="ctr" anchorCtr="0">
            <a:spAutoFit/>
          </a:bodyPr>
          <a:lstStyle/>
          <a:p>
            <a:pPr marL="0" marR="0" lvl="0" indent="0" algn="ctr" rtl="0">
              <a:lnSpc>
                <a:spcPct val="100000"/>
              </a:lnSpc>
              <a:spcBef>
                <a:spcPts val="0"/>
              </a:spcBef>
              <a:spcAft>
                <a:spcPts val="0"/>
              </a:spcAft>
              <a:buClr>
                <a:srgbClr val="000000"/>
              </a:buClr>
              <a:buSzPts val="2200"/>
              <a:buFont typeface="Arial"/>
              <a:buNone/>
            </a:pPr>
            <a:r>
              <a:rPr lang="en-US" sz="2200" b="1" i="0" u="none" strike="noStrike" cap="none">
                <a:solidFill>
                  <a:schemeClr val="dk2"/>
                </a:solidFill>
                <a:latin typeface="Calibri"/>
                <a:ea typeface="Calibri"/>
                <a:cs typeface="Calibri"/>
                <a:sym typeface="Calibri"/>
              </a:rPr>
              <a:t>Delivery</a:t>
            </a:r>
            <a:endParaRPr sz="1400" b="0" i="0" u="none" strike="noStrike" cap="none">
              <a:solidFill>
                <a:srgbClr val="000000"/>
              </a:solidFill>
              <a:latin typeface="Arial"/>
              <a:ea typeface="Arial"/>
              <a:cs typeface="Arial"/>
              <a:sym typeface="Arial"/>
            </a:endParaRPr>
          </a:p>
        </p:txBody>
      </p:sp>
      <p:grpSp>
        <p:nvGrpSpPr>
          <p:cNvPr id="2041" name="Google Shape;2041;p16"/>
          <p:cNvGrpSpPr/>
          <p:nvPr/>
        </p:nvGrpSpPr>
        <p:grpSpPr>
          <a:xfrm>
            <a:off x="2737179" y="1684820"/>
            <a:ext cx="590770" cy="590768"/>
            <a:chOff x="2021329" y="1470497"/>
            <a:chExt cx="594555" cy="594555"/>
          </a:xfrm>
        </p:grpSpPr>
        <p:sp>
          <p:nvSpPr>
            <p:cNvPr id="2042" name="Google Shape;2042;p16"/>
            <p:cNvSpPr/>
            <p:nvPr/>
          </p:nvSpPr>
          <p:spPr>
            <a:xfrm>
              <a:off x="2568219" y="1786590"/>
              <a:ext cx="17560" cy="61046"/>
            </a:xfrm>
            <a:custGeom>
              <a:avLst/>
              <a:gdLst/>
              <a:ahLst/>
              <a:cxnLst/>
              <a:rect l="l" t="t" r="r" b="b"/>
              <a:pathLst>
                <a:path w="17560" h="61046" extrusionOk="0">
                  <a:moveTo>
                    <a:pt x="8780" y="0"/>
                  </a:moveTo>
                  <a:cubicBezTo>
                    <a:pt x="3934" y="-3"/>
                    <a:pt x="3" y="3924"/>
                    <a:pt x="0" y="8770"/>
                  </a:cubicBezTo>
                  <a:cubicBezTo>
                    <a:pt x="0" y="8774"/>
                    <a:pt x="0" y="8777"/>
                    <a:pt x="0" y="8780"/>
                  </a:cubicBezTo>
                  <a:lnTo>
                    <a:pt x="0" y="52266"/>
                  </a:lnTo>
                  <a:cubicBezTo>
                    <a:pt x="0" y="57115"/>
                    <a:pt x="3931" y="61046"/>
                    <a:pt x="8780" y="61046"/>
                  </a:cubicBezTo>
                  <a:cubicBezTo>
                    <a:pt x="13630" y="61046"/>
                    <a:pt x="17561" y="57115"/>
                    <a:pt x="17561" y="52266"/>
                  </a:cubicBezTo>
                  <a:lnTo>
                    <a:pt x="17561" y="8780"/>
                  </a:lnTo>
                  <a:cubicBezTo>
                    <a:pt x="17563" y="3934"/>
                    <a:pt x="13637" y="3"/>
                    <a:pt x="8790" y="0"/>
                  </a:cubicBezTo>
                  <a:cubicBezTo>
                    <a:pt x="8787" y="0"/>
                    <a:pt x="8784" y="0"/>
                    <a:pt x="8780" y="0"/>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43" name="Google Shape;2043;p16"/>
            <p:cNvSpPr/>
            <p:nvPr/>
          </p:nvSpPr>
          <p:spPr>
            <a:xfrm>
              <a:off x="2021329" y="1470497"/>
              <a:ext cx="594555" cy="594555"/>
            </a:xfrm>
            <a:custGeom>
              <a:avLst/>
              <a:gdLst/>
              <a:ahLst/>
              <a:cxnLst/>
              <a:rect l="l" t="t" r="r" b="b"/>
              <a:pathLst>
                <a:path w="594555" h="594555" extrusionOk="0">
                  <a:moveTo>
                    <a:pt x="555671" y="0"/>
                  </a:moveTo>
                  <a:lnTo>
                    <a:pt x="38884" y="0"/>
                  </a:lnTo>
                  <a:cubicBezTo>
                    <a:pt x="17419" y="25"/>
                    <a:pt x="25" y="17419"/>
                    <a:pt x="0" y="38884"/>
                  </a:cubicBezTo>
                  <a:lnTo>
                    <a:pt x="0" y="466914"/>
                  </a:lnTo>
                  <a:cubicBezTo>
                    <a:pt x="25" y="488379"/>
                    <a:pt x="17419" y="505774"/>
                    <a:pt x="38884" y="505798"/>
                  </a:cubicBezTo>
                  <a:lnTo>
                    <a:pt x="88757" y="505798"/>
                  </a:lnTo>
                  <a:lnTo>
                    <a:pt x="88757" y="555671"/>
                  </a:lnTo>
                  <a:cubicBezTo>
                    <a:pt x="88782" y="577136"/>
                    <a:pt x="106176" y="594530"/>
                    <a:pt x="127641" y="594555"/>
                  </a:cubicBezTo>
                  <a:lnTo>
                    <a:pt x="466914" y="594555"/>
                  </a:lnTo>
                  <a:cubicBezTo>
                    <a:pt x="488379" y="594530"/>
                    <a:pt x="505774" y="577136"/>
                    <a:pt x="505798" y="555671"/>
                  </a:cubicBezTo>
                  <a:lnTo>
                    <a:pt x="505798" y="505798"/>
                  </a:lnTo>
                  <a:lnTo>
                    <a:pt x="555671" y="505798"/>
                  </a:lnTo>
                  <a:cubicBezTo>
                    <a:pt x="577136" y="505774"/>
                    <a:pt x="594530" y="488379"/>
                    <a:pt x="594555" y="466914"/>
                  </a:cubicBezTo>
                  <a:lnTo>
                    <a:pt x="594555" y="38884"/>
                  </a:lnTo>
                  <a:cubicBezTo>
                    <a:pt x="594530" y="17419"/>
                    <a:pt x="577136" y="25"/>
                    <a:pt x="555671" y="0"/>
                  </a:cubicBezTo>
                  <a:close/>
                  <a:moveTo>
                    <a:pt x="17561" y="38884"/>
                  </a:moveTo>
                  <a:cubicBezTo>
                    <a:pt x="17575" y="27113"/>
                    <a:pt x="27113" y="17575"/>
                    <a:pt x="38884" y="17561"/>
                  </a:cubicBezTo>
                  <a:lnTo>
                    <a:pt x="555671" y="17561"/>
                  </a:lnTo>
                  <a:cubicBezTo>
                    <a:pt x="567443" y="17572"/>
                    <a:pt x="576983" y="27112"/>
                    <a:pt x="576995" y="38884"/>
                  </a:cubicBezTo>
                  <a:lnTo>
                    <a:pt x="576995" y="60208"/>
                  </a:lnTo>
                  <a:lnTo>
                    <a:pt x="17561" y="60208"/>
                  </a:lnTo>
                  <a:close/>
                  <a:moveTo>
                    <a:pt x="288497" y="363903"/>
                  </a:moveTo>
                  <a:lnTo>
                    <a:pt x="247305" y="330603"/>
                  </a:lnTo>
                  <a:cubicBezTo>
                    <a:pt x="243557" y="327526"/>
                    <a:pt x="238024" y="328070"/>
                    <a:pt x="234947" y="331818"/>
                  </a:cubicBezTo>
                  <a:cubicBezTo>
                    <a:pt x="231870" y="335566"/>
                    <a:pt x="232414" y="341099"/>
                    <a:pt x="236162" y="344176"/>
                  </a:cubicBezTo>
                  <a:cubicBezTo>
                    <a:pt x="236197" y="344204"/>
                    <a:pt x="236232" y="344232"/>
                    <a:pt x="236267" y="344260"/>
                  </a:cubicBezTo>
                  <a:lnTo>
                    <a:pt x="291759" y="389120"/>
                  </a:lnTo>
                  <a:cubicBezTo>
                    <a:pt x="294981" y="391713"/>
                    <a:pt x="299574" y="391713"/>
                    <a:pt x="302797" y="389120"/>
                  </a:cubicBezTo>
                  <a:lnTo>
                    <a:pt x="358289" y="344260"/>
                  </a:lnTo>
                  <a:cubicBezTo>
                    <a:pt x="362083" y="341241"/>
                    <a:pt x="362712" y="335717"/>
                    <a:pt x="359692" y="331922"/>
                  </a:cubicBezTo>
                  <a:cubicBezTo>
                    <a:pt x="356673" y="328128"/>
                    <a:pt x="351149" y="327499"/>
                    <a:pt x="347355" y="330518"/>
                  </a:cubicBezTo>
                  <a:cubicBezTo>
                    <a:pt x="347320" y="330546"/>
                    <a:pt x="347285" y="330574"/>
                    <a:pt x="347250" y="330603"/>
                  </a:cubicBezTo>
                  <a:lnTo>
                    <a:pt x="306058" y="363903"/>
                  </a:lnTo>
                  <a:lnTo>
                    <a:pt x="306058" y="306058"/>
                  </a:lnTo>
                  <a:lnTo>
                    <a:pt x="466914" y="306058"/>
                  </a:lnTo>
                  <a:cubicBezTo>
                    <a:pt x="468451" y="306073"/>
                    <a:pt x="469982" y="306256"/>
                    <a:pt x="471480" y="306605"/>
                  </a:cubicBezTo>
                  <a:lnTo>
                    <a:pt x="297278" y="447397"/>
                  </a:lnTo>
                  <a:lnTo>
                    <a:pt x="123075" y="306605"/>
                  </a:lnTo>
                  <a:cubicBezTo>
                    <a:pt x="124573" y="306256"/>
                    <a:pt x="126104" y="306073"/>
                    <a:pt x="127641" y="306058"/>
                  </a:cubicBezTo>
                  <a:lnTo>
                    <a:pt x="288497" y="306058"/>
                  </a:lnTo>
                  <a:close/>
                  <a:moveTo>
                    <a:pt x="488238" y="555671"/>
                  </a:moveTo>
                  <a:cubicBezTo>
                    <a:pt x="488224" y="567442"/>
                    <a:pt x="478685" y="576981"/>
                    <a:pt x="466914" y="576995"/>
                  </a:cubicBezTo>
                  <a:lnTo>
                    <a:pt x="127641" y="576995"/>
                  </a:lnTo>
                  <a:cubicBezTo>
                    <a:pt x="115870" y="576981"/>
                    <a:pt x="106331" y="567442"/>
                    <a:pt x="106318" y="555671"/>
                  </a:cubicBezTo>
                  <a:lnTo>
                    <a:pt x="106318" y="327382"/>
                  </a:lnTo>
                  <a:cubicBezTo>
                    <a:pt x="106354" y="323985"/>
                    <a:pt x="107215" y="320648"/>
                    <a:pt x="108826" y="317658"/>
                  </a:cubicBezTo>
                  <a:lnTo>
                    <a:pt x="291759" y="465514"/>
                  </a:lnTo>
                  <a:cubicBezTo>
                    <a:pt x="294978" y="468116"/>
                    <a:pt x="299577" y="468116"/>
                    <a:pt x="302797" y="465514"/>
                  </a:cubicBezTo>
                  <a:lnTo>
                    <a:pt x="485749" y="317653"/>
                  </a:lnTo>
                  <a:cubicBezTo>
                    <a:pt x="487357" y="320646"/>
                    <a:pt x="488218" y="323984"/>
                    <a:pt x="488258" y="327382"/>
                  </a:cubicBezTo>
                  <a:close/>
                  <a:moveTo>
                    <a:pt x="555671" y="488238"/>
                  </a:moveTo>
                  <a:lnTo>
                    <a:pt x="505798" y="488238"/>
                  </a:lnTo>
                  <a:lnTo>
                    <a:pt x="505798" y="327382"/>
                  </a:lnTo>
                  <a:cubicBezTo>
                    <a:pt x="505783" y="316496"/>
                    <a:pt x="501193" y="306118"/>
                    <a:pt x="493150" y="298783"/>
                  </a:cubicBezTo>
                  <a:lnTo>
                    <a:pt x="492844" y="298522"/>
                  </a:lnTo>
                  <a:lnTo>
                    <a:pt x="492678" y="298386"/>
                  </a:lnTo>
                  <a:cubicBezTo>
                    <a:pt x="485609" y="292017"/>
                    <a:pt x="476430" y="288494"/>
                    <a:pt x="466914" y="288497"/>
                  </a:cubicBezTo>
                  <a:lnTo>
                    <a:pt x="306058" y="288497"/>
                  </a:lnTo>
                  <a:lnTo>
                    <a:pt x="306058" y="204457"/>
                  </a:lnTo>
                  <a:cubicBezTo>
                    <a:pt x="306058" y="199608"/>
                    <a:pt x="302127" y="195676"/>
                    <a:pt x="297278" y="195676"/>
                  </a:cubicBezTo>
                  <a:cubicBezTo>
                    <a:pt x="292428" y="195676"/>
                    <a:pt x="288497" y="199608"/>
                    <a:pt x="288497" y="204457"/>
                  </a:cubicBezTo>
                  <a:lnTo>
                    <a:pt x="288497" y="288497"/>
                  </a:lnTo>
                  <a:lnTo>
                    <a:pt x="127641" y="288497"/>
                  </a:lnTo>
                  <a:cubicBezTo>
                    <a:pt x="118121" y="288483"/>
                    <a:pt x="108935" y="292003"/>
                    <a:pt x="101862" y="298376"/>
                  </a:cubicBezTo>
                  <a:lnTo>
                    <a:pt x="101727" y="298492"/>
                  </a:lnTo>
                  <a:lnTo>
                    <a:pt x="101466" y="298708"/>
                  </a:lnTo>
                  <a:cubicBezTo>
                    <a:pt x="93384" y="306052"/>
                    <a:pt x="88771" y="316461"/>
                    <a:pt x="88757" y="327382"/>
                  </a:cubicBezTo>
                  <a:lnTo>
                    <a:pt x="88757" y="488238"/>
                  </a:lnTo>
                  <a:lnTo>
                    <a:pt x="38884" y="488238"/>
                  </a:lnTo>
                  <a:cubicBezTo>
                    <a:pt x="27113" y="488224"/>
                    <a:pt x="17575" y="478685"/>
                    <a:pt x="17561" y="466914"/>
                  </a:cubicBezTo>
                  <a:lnTo>
                    <a:pt x="17561" y="77769"/>
                  </a:lnTo>
                  <a:lnTo>
                    <a:pt x="576995" y="77769"/>
                  </a:lnTo>
                  <a:lnTo>
                    <a:pt x="576995" y="466914"/>
                  </a:lnTo>
                  <a:cubicBezTo>
                    <a:pt x="576981" y="478685"/>
                    <a:pt x="567442" y="488224"/>
                    <a:pt x="555671" y="488238"/>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44" name="Google Shape;2044;p16"/>
            <p:cNvSpPr/>
            <p:nvPr/>
          </p:nvSpPr>
          <p:spPr>
            <a:xfrm>
              <a:off x="2478620" y="1501855"/>
              <a:ext cx="15052" cy="15052"/>
            </a:xfrm>
            <a:custGeom>
              <a:avLst/>
              <a:gdLst/>
              <a:ahLst/>
              <a:cxnLst/>
              <a:rect l="l" t="t" r="r" b="b"/>
              <a:pathLst>
                <a:path w="15052" h="15052" extrusionOk="0">
                  <a:moveTo>
                    <a:pt x="15052" y="7526"/>
                  </a:moveTo>
                  <a:cubicBezTo>
                    <a:pt x="15052" y="11683"/>
                    <a:pt x="11683" y="15052"/>
                    <a:pt x="7526" y="15052"/>
                  </a:cubicBezTo>
                  <a:cubicBezTo>
                    <a:pt x="3369" y="15052"/>
                    <a:pt x="0" y="11683"/>
                    <a:pt x="0" y="7526"/>
                  </a:cubicBezTo>
                  <a:cubicBezTo>
                    <a:pt x="0" y="3370"/>
                    <a:pt x="3369" y="0"/>
                    <a:pt x="7526" y="0"/>
                  </a:cubicBezTo>
                  <a:cubicBezTo>
                    <a:pt x="11683" y="0"/>
                    <a:pt x="15052" y="3370"/>
                    <a:pt x="15052" y="7526"/>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45" name="Google Shape;2045;p16"/>
            <p:cNvSpPr/>
            <p:nvPr/>
          </p:nvSpPr>
          <p:spPr>
            <a:xfrm>
              <a:off x="2511232" y="1501855"/>
              <a:ext cx="15052" cy="15052"/>
            </a:xfrm>
            <a:custGeom>
              <a:avLst/>
              <a:gdLst/>
              <a:ahLst/>
              <a:cxnLst/>
              <a:rect l="l" t="t" r="r" b="b"/>
              <a:pathLst>
                <a:path w="15052" h="15052" extrusionOk="0">
                  <a:moveTo>
                    <a:pt x="15052" y="7526"/>
                  </a:moveTo>
                  <a:cubicBezTo>
                    <a:pt x="15052" y="11683"/>
                    <a:pt x="11683" y="15052"/>
                    <a:pt x="7526" y="15052"/>
                  </a:cubicBezTo>
                  <a:cubicBezTo>
                    <a:pt x="3369" y="15052"/>
                    <a:pt x="0" y="11683"/>
                    <a:pt x="0" y="7526"/>
                  </a:cubicBezTo>
                  <a:cubicBezTo>
                    <a:pt x="0" y="3370"/>
                    <a:pt x="3369" y="0"/>
                    <a:pt x="7526" y="0"/>
                  </a:cubicBezTo>
                  <a:cubicBezTo>
                    <a:pt x="11683" y="0"/>
                    <a:pt x="15052" y="3370"/>
                    <a:pt x="15052" y="7526"/>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46" name="Google Shape;2046;p16"/>
            <p:cNvSpPr/>
            <p:nvPr/>
          </p:nvSpPr>
          <p:spPr>
            <a:xfrm>
              <a:off x="2543845" y="1501855"/>
              <a:ext cx="15052" cy="15052"/>
            </a:xfrm>
            <a:custGeom>
              <a:avLst/>
              <a:gdLst/>
              <a:ahLst/>
              <a:cxnLst/>
              <a:rect l="l" t="t" r="r" b="b"/>
              <a:pathLst>
                <a:path w="15052" h="15052" extrusionOk="0">
                  <a:moveTo>
                    <a:pt x="15052" y="7526"/>
                  </a:moveTo>
                  <a:cubicBezTo>
                    <a:pt x="15052" y="11683"/>
                    <a:pt x="11683" y="15052"/>
                    <a:pt x="7526" y="15052"/>
                  </a:cubicBezTo>
                  <a:cubicBezTo>
                    <a:pt x="3369" y="15052"/>
                    <a:pt x="0" y="11683"/>
                    <a:pt x="0" y="7526"/>
                  </a:cubicBezTo>
                  <a:cubicBezTo>
                    <a:pt x="0" y="3370"/>
                    <a:pt x="3369" y="0"/>
                    <a:pt x="7526" y="0"/>
                  </a:cubicBezTo>
                  <a:cubicBezTo>
                    <a:pt x="11683" y="0"/>
                    <a:pt x="15052" y="3370"/>
                    <a:pt x="15052" y="7526"/>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2047" name="Google Shape;2047;p16"/>
          <p:cNvPicPr preferRelativeResize="0"/>
          <p:nvPr/>
        </p:nvPicPr>
        <p:blipFill rotWithShape="1">
          <a:blip r:embed="rId3">
            <a:alphaModFix/>
          </a:blip>
          <a:srcRect/>
          <a:stretch/>
        </p:blipFill>
        <p:spPr>
          <a:xfrm>
            <a:off x="9829137" y="1644114"/>
            <a:ext cx="646179" cy="646177"/>
          </a:xfrm>
          <a:prstGeom prst="rect">
            <a:avLst/>
          </a:prstGeom>
          <a:noFill/>
          <a:ln>
            <a:noFill/>
          </a:ln>
        </p:spPr>
      </p:pic>
      <p:pic>
        <p:nvPicPr>
          <p:cNvPr id="2048" name="Google Shape;2048;p16"/>
          <p:cNvPicPr preferRelativeResize="0"/>
          <p:nvPr/>
        </p:nvPicPr>
        <p:blipFill rotWithShape="1">
          <a:blip r:embed="rId4">
            <a:alphaModFix/>
          </a:blip>
          <a:srcRect/>
          <a:stretch/>
        </p:blipFill>
        <p:spPr>
          <a:xfrm>
            <a:off x="6857199" y="1644116"/>
            <a:ext cx="631466" cy="631466"/>
          </a:xfrm>
          <a:prstGeom prst="rect">
            <a:avLst/>
          </a:prstGeom>
          <a:noFill/>
          <a:ln>
            <a:noFill/>
          </a:ln>
        </p:spPr>
      </p:pic>
      <p:grpSp>
        <p:nvGrpSpPr>
          <p:cNvPr id="2049" name="Google Shape;2049;p16"/>
          <p:cNvGrpSpPr/>
          <p:nvPr/>
        </p:nvGrpSpPr>
        <p:grpSpPr>
          <a:xfrm>
            <a:off x="10688715" y="135255"/>
            <a:ext cx="1334482" cy="468742"/>
            <a:chOff x="10688715" y="135255"/>
            <a:chExt cx="1334482" cy="468742"/>
          </a:xfrm>
        </p:grpSpPr>
        <p:grpSp>
          <p:nvGrpSpPr>
            <p:cNvPr id="2050" name="Google Shape;2050;p16"/>
            <p:cNvGrpSpPr/>
            <p:nvPr/>
          </p:nvGrpSpPr>
          <p:grpSpPr>
            <a:xfrm>
              <a:off x="10688715" y="135255"/>
              <a:ext cx="1334482" cy="468742"/>
              <a:chOff x="10688715" y="135255"/>
              <a:chExt cx="1334482" cy="468742"/>
            </a:xfrm>
          </p:grpSpPr>
          <p:sp>
            <p:nvSpPr>
              <p:cNvPr id="2051" name="Google Shape;2051;p16"/>
              <p:cNvSpPr txBox="1"/>
              <p:nvPr/>
            </p:nvSpPr>
            <p:spPr>
              <a:xfrm>
                <a:off x="10688715" y="230150"/>
                <a:ext cx="821549" cy="1384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Graphic design</a:t>
                </a:r>
                <a:endParaRPr sz="1400" b="0" i="0" u="none" strike="noStrike" cap="none">
                  <a:solidFill>
                    <a:srgbClr val="000000"/>
                  </a:solidFill>
                  <a:latin typeface="Arial"/>
                  <a:ea typeface="Arial"/>
                  <a:cs typeface="Arial"/>
                  <a:sym typeface="Arial"/>
                </a:endParaRPr>
              </a:p>
            </p:txBody>
          </p:sp>
          <p:sp>
            <p:nvSpPr>
              <p:cNvPr id="2052" name="Google Shape;2052;p16"/>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pic>
          <p:nvPicPr>
            <p:cNvPr id="2053" name="Google Shape;2053;p16"/>
            <p:cNvPicPr preferRelativeResize="0"/>
            <p:nvPr/>
          </p:nvPicPr>
          <p:blipFill rotWithShape="1">
            <a:blip r:embed="rId5">
              <a:alphaModFix/>
            </a:blip>
            <a:srcRect/>
            <a:stretch/>
          </p:blipFill>
          <p:spPr>
            <a:xfrm>
              <a:off x="11648065" y="227889"/>
              <a:ext cx="281520" cy="281520"/>
            </a:xfrm>
            <a:prstGeom prst="rect">
              <a:avLst/>
            </a:prstGeom>
            <a:noFill/>
            <a:ln>
              <a:noFill/>
            </a:ln>
          </p:spPr>
        </p:pic>
      </p:gr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058"/>
        <p:cNvGrpSpPr/>
        <p:nvPr/>
      </p:nvGrpSpPr>
      <p:grpSpPr>
        <a:xfrm>
          <a:off x="0" y="0"/>
          <a:ext cx="0" cy="0"/>
          <a:chOff x="0" y="0"/>
          <a:chExt cx="0" cy="0"/>
        </a:xfrm>
      </p:grpSpPr>
      <p:sp>
        <p:nvSpPr>
          <p:cNvPr id="2059" name="Google Shape;2059;p17"/>
          <p:cNvSpPr/>
          <p:nvPr/>
        </p:nvSpPr>
        <p:spPr>
          <a:xfrm>
            <a:off x="8374087" y="1725326"/>
            <a:ext cx="2960914" cy="1571215"/>
          </a:xfrm>
          <a:prstGeom prst="curvedDownArrow">
            <a:avLst>
              <a:gd name="adj1" fmla="val 20078"/>
              <a:gd name="adj2" fmla="val 41570"/>
              <a:gd name="adj3" fmla="val 14999"/>
            </a:avLst>
          </a:prstGeom>
          <a:solidFill>
            <a:srgbClr val="BFBFB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60" name="Google Shape;2060;p17"/>
          <p:cNvSpPr txBox="1">
            <a:spLocks noGrp="1"/>
          </p:cNvSpPr>
          <p:nvPr>
            <p:ph type="title"/>
          </p:nvPr>
        </p:nvSpPr>
        <p:spPr>
          <a:xfrm>
            <a:off x="539400" y="562841"/>
            <a:ext cx="5412138" cy="418576"/>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Our work - Standard Design</a:t>
            </a:r>
            <a:endParaRPr/>
          </a:p>
        </p:txBody>
      </p:sp>
      <p:sp>
        <p:nvSpPr>
          <p:cNvPr id="2061" name="Google Shape;2061;p17"/>
          <p:cNvSpPr txBox="1">
            <a:spLocks noGrp="1"/>
          </p:cNvSpPr>
          <p:nvPr>
            <p:ph type="body" idx="4294967295"/>
          </p:nvPr>
        </p:nvSpPr>
        <p:spPr>
          <a:xfrm>
            <a:off x="452846" y="1028700"/>
            <a:ext cx="10637429" cy="292388"/>
          </a:xfrm>
          <a:prstGeom prst="rect">
            <a:avLst/>
          </a:prstGeom>
          <a:noFill/>
          <a:ln>
            <a:noFill/>
          </a:ln>
        </p:spPr>
        <p:txBody>
          <a:bodyPr spcFirstLastPara="1" wrap="square" lIns="0" tIns="0" rIns="0" bIns="0" anchor="t" anchorCtr="0">
            <a:spAutoFit/>
          </a:bodyPr>
          <a:lstStyle/>
          <a:p>
            <a:pPr marL="0" lvl="0" indent="0" algn="l" rtl="0">
              <a:lnSpc>
                <a:spcPct val="95000"/>
              </a:lnSpc>
              <a:spcBef>
                <a:spcPts val="0"/>
              </a:spcBef>
              <a:spcAft>
                <a:spcPts val="0"/>
              </a:spcAft>
              <a:buClr>
                <a:srgbClr val="6D90F8"/>
              </a:buClr>
              <a:buSzPts val="2000"/>
              <a:buNone/>
            </a:pPr>
            <a:r>
              <a:rPr lang="en-US" sz="2000"/>
              <a:t>Creating new slides from scratch</a:t>
            </a:r>
            <a:endParaRPr sz="2000"/>
          </a:p>
        </p:txBody>
      </p:sp>
      <p:sp>
        <p:nvSpPr>
          <p:cNvPr id="2062" name="Google Shape;2062;p17"/>
          <p:cNvSpPr/>
          <p:nvPr/>
        </p:nvSpPr>
        <p:spPr>
          <a:xfrm>
            <a:off x="2397458" y="1725326"/>
            <a:ext cx="2960914" cy="1571215"/>
          </a:xfrm>
          <a:prstGeom prst="curvedDownArrow">
            <a:avLst>
              <a:gd name="adj1" fmla="val 20078"/>
              <a:gd name="adj2" fmla="val 41570"/>
              <a:gd name="adj3" fmla="val 14999"/>
            </a:avLst>
          </a:prstGeom>
          <a:solidFill>
            <a:srgbClr val="BFBFB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2063" name="Google Shape;2063;p17"/>
          <p:cNvPicPr preferRelativeResize="0"/>
          <p:nvPr/>
        </p:nvPicPr>
        <p:blipFill rotWithShape="1">
          <a:blip r:embed="rId3">
            <a:alphaModFix/>
          </a:blip>
          <a:srcRect/>
          <a:stretch/>
        </p:blipFill>
        <p:spPr>
          <a:xfrm>
            <a:off x="550863" y="2120503"/>
            <a:ext cx="3279251" cy="2014863"/>
          </a:xfrm>
          <a:prstGeom prst="rect">
            <a:avLst/>
          </a:prstGeom>
          <a:noFill/>
          <a:ln>
            <a:noFill/>
          </a:ln>
        </p:spPr>
      </p:pic>
      <p:pic>
        <p:nvPicPr>
          <p:cNvPr id="2064" name="Google Shape;2064;p17"/>
          <p:cNvPicPr preferRelativeResize="0"/>
          <p:nvPr/>
        </p:nvPicPr>
        <p:blipFill rotWithShape="1">
          <a:blip r:embed="rId4">
            <a:alphaModFix/>
          </a:blip>
          <a:srcRect/>
          <a:stretch/>
        </p:blipFill>
        <p:spPr>
          <a:xfrm>
            <a:off x="821833" y="3466842"/>
            <a:ext cx="4959107" cy="2830570"/>
          </a:xfrm>
          <a:prstGeom prst="rect">
            <a:avLst/>
          </a:prstGeom>
          <a:noFill/>
          <a:ln w="9525" cap="flat" cmpd="sng">
            <a:solidFill>
              <a:srgbClr val="D8D8D8"/>
            </a:solidFill>
            <a:prstDash val="solid"/>
            <a:round/>
            <a:headEnd type="none" w="sm" len="sm"/>
            <a:tailEnd type="none" w="sm" len="sm"/>
          </a:ln>
          <a:effectLst>
            <a:outerShdw blurRad="254000" dist="63500" dir="2700000" algn="tl" rotWithShape="0">
              <a:srgbClr val="000000">
                <a:alpha val="20000"/>
              </a:srgbClr>
            </a:outerShdw>
          </a:effectLst>
        </p:spPr>
      </p:pic>
      <p:pic>
        <p:nvPicPr>
          <p:cNvPr id="2065" name="Google Shape;2065;p17"/>
          <p:cNvPicPr preferRelativeResize="0"/>
          <p:nvPr/>
        </p:nvPicPr>
        <p:blipFill rotWithShape="1">
          <a:blip r:embed="rId5">
            <a:alphaModFix/>
          </a:blip>
          <a:srcRect/>
          <a:stretch/>
        </p:blipFill>
        <p:spPr>
          <a:xfrm>
            <a:off x="6471063" y="2120503"/>
            <a:ext cx="3279251" cy="2014863"/>
          </a:xfrm>
          <a:prstGeom prst="rect">
            <a:avLst/>
          </a:prstGeom>
          <a:noFill/>
          <a:ln>
            <a:noFill/>
          </a:ln>
        </p:spPr>
      </p:pic>
      <p:pic>
        <p:nvPicPr>
          <p:cNvPr id="2066" name="Google Shape;2066;p17"/>
          <p:cNvPicPr preferRelativeResize="0"/>
          <p:nvPr/>
        </p:nvPicPr>
        <p:blipFill rotWithShape="1">
          <a:blip r:embed="rId6">
            <a:alphaModFix/>
          </a:blip>
          <a:srcRect/>
          <a:stretch/>
        </p:blipFill>
        <p:spPr>
          <a:xfrm>
            <a:off x="6725865" y="3466842"/>
            <a:ext cx="4959107" cy="2830570"/>
          </a:xfrm>
          <a:prstGeom prst="rect">
            <a:avLst/>
          </a:prstGeom>
          <a:noFill/>
          <a:ln w="9525" cap="flat" cmpd="sng">
            <a:solidFill>
              <a:srgbClr val="D8D8D8"/>
            </a:solidFill>
            <a:prstDash val="solid"/>
            <a:round/>
            <a:headEnd type="none" w="sm" len="sm"/>
            <a:tailEnd type="none" w="sm" len="sm"/>
          </a:ln>
          <a:effectLst>
            <a:outerShdw blurRad="254000" dist="63500" dir="2700000" algn="tl" rotWithShape="0">
              <a:srgbClr val="000000">
                <a:alpha val="20000"/>
              </a:srgbClr>
            </a:outerShdw>
          </a:effectLst>
        </p:spPr>
      </p:pic>
      <p:grpSp>
        <p:nvGrpSpPr>
          <p:cNvPr id="2067" name="Google Shape;2067;p17"/>
          <p:cNvGrpSpPr/>
          <p:nvPr/>
        </p:nvGrpSpPr>
        <p:grpSpPr>
          <a:xfrm>
            <a:off x="10688715" y="135255"/>
            <a:ext cx="1334482" cy="468742"/>
            <a:chOff x="10688715" y="135255"/>
            <a:chExt cx="1334482" cy="468742"/>
          </a:xfrm>
        </p:grpSpPr>
        <p:grpSp>
          <p:nvGrpSpPr>
            <p:cNvPr id="2068" name="Google Shape;2068;p17"/>
            <p:cNvGrpSpPr/>
            <p:nvPr/>
          </p:nvGrpSpPr>
          <p:grpSpPr>
            <a:xfrm>
              <a:off x="10688715" y="135255"/>
              <a:ext cx="1334482" cy="468742"/>
              <a:chOff x="10688715" y="135255"/>
              <a:chExt cx="1334482" cy="468742"/>
            </a:xfrm>
          </p:grpSpPr>
          <p:sp>
            <p:nvSpPr>
              <p:cNvPr id="2069" name="Google Shape;2069;p17"/>
              <p:cNvSpPr txBox="1"/>
              <p:nvPr/>
            </p:nvSpPr>
            <p:spPr>
              <a:xfrm>
                <a:off x="10688715" y="230150"/>
                <a:ext cx="821549" cy="1384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Graphic design</a:t>
                </a:r>
                <a:endParaRPr sz="1400" b="0" i="0" u="none" strike="noStrike" cap="none">
                  <a:solidFill>
                    <a:srgbClr val="000000"/>
                  </a:solidFill>
                  <a:latin typeface="Arial"/>
                  <a:ea typeface="Arial"/>
                  <a:cs typeface="Arial"/>
                  <a:sym typeface="Arial"/>
                </a:endParaRPr>
              </a:p>
            </p:txBody>
          </p:sp>
          <p:sp>
            <p:nvSpPr>
              <p:cNvPr id="2070" name="Google Shape;2070;p17"/>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pic>
          <p:nvPicPr>
            <p:cNvPr id="2071" name="Google Shape;2071;p17"/>
            <p:cNvPicPr preferRelativeResize="0"/>
            <p:nvPr/>
          </p:nvPicPr>
          <p:blipFill rotWithShape="1">
            <a:blip r:embed="rId7">
              <a:alphaModFix/>
            </a:blip>
            <a:srcRect/>
            <a:stretch/>
          </p:blipFill>
          <p:spPr>
            <a:xfrm>
              <a:off x="11648065" y="227889"/>
              <a:ext cx="281520" cy="281520"/>
            </a:xfrm>
            <a:prstGeom prst="rect">
              <a:avLst/>
            </a:prstGeom>
            <a:noFill/>
            <a:ln>
              <a:noFill/>
            </a:ln>
          </p:spPr>
        </p:pic>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076"/>
        <p:cNvGrpSpPr/>
        <p:nvPr/>
      </p:nvGrpSpPr>
      <p:grpSpPr>
        <a:xfrm>
          <a:off x="0" y="0"/>
          <a:ext cx="0" cy="0"/>
          <a:chOff x="0" y="0"/>
          <a:chExt cx="0" cy="0"/>
        </a:xfrm>
      </p:grpSpPr>
      <p:sp>
        <p:nvSpPr>
          <p:cNvPr id="2077" name="Google Shape;2077;p18"/>
          <p:cNvSpPr txBox="1">
            <a:spLocks noGrp="1"/>
          </p:cNvSpPr>
          <p:nvPr>
            <p:ph type="title"/>
          </p:nvPr>
        </p:nvSpPr>
        <p:spPr>
          <a:xfrm>
            <a:off x="539400" y="562841"/>
            <a:ext cx="5412138" cy="418576"/>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Our work - Creative Design</a:t>
            </a:r>
            <a:endParaRPr/>
          </a:p>
        </p:txBody>
      </p:sp>
      <p:pic>
        <p:nvPicPr>
          <p:cNvPr id="2078" name="Google Shape;2078;p18"/>
          <p:cNvPicPr preferRelativeResize="0"/>
          <p:nvPr/>
        </p:nvPicPr>
        <p:blipFill rotWithShape="1">
          <a:blip r:embed="rId3">
            <a:alphaModFix/>
          </a:blip>
          <a:srcRect/>
          <a:stretch/>
        </p:blipFill>
        <p:spPr>
          <a:xfrm>
            <a:off x="566142" y="4492500"/>
            <a:ext cx="3286800" cy="1800000"/>
          </a:xfrm>
          <a:prstGeom prst="rect">
            <a:avLst/>
          </a:prstGeom>
          <a:noFill/>
          <a:ln w="9525" cap="flat" cmpd="sng">
            <a:solidFill>
              <a:srgbClr val="D8D8D8"/>
            </a:solidFill>
            <a:prstDash val="solid"/>
            <a:round/>
            <a:headEnd type="none" w="sm" len="sm"/>
            <a:tailEnd type="none" w="sm" len="sm"/>
          </a:ln>
          <a:effectLst>
            <a:outerShdw blurRad="254000" dist="63500" dir="2700000" algn="tl" rotWithShape="0">
              <a:srgbClr val="000000">
                <a:alpha val="20000"/>
              </a:srgbClr>
            </a:outerShdw>
          </a:effectLst>
        </p:spPr>
      </p:pic>
      <p:grpSp>
        <p:nvGrpSpPr>
          <p:cNvPr id="2079" name="Google Shape;2079;p18"/>
          <p:cNvGrpSpPr/>
          <p:nvPr/>
        </p:nvGrpSpPr>
        <p:grpSpPr>
          <a:xfrm>
            <a:off x="566142" y="1864299"/>
            <a:ext cx="3286800" cy="1800000"/>
            <a:chOff x="690576" y="866313"/>
            <a:chExt cx="4850106" cy="2665058"/>
          </a:xfrm>
        </p:grpSpPr>
        <p:pic>
          <p:nvPicPr>
            <p:cNvPr id="2080" name="Google Shape;2080;p18"/>
            <p:cNvPicPr preferRelativeResize="0"/>
            <p:nvPr/>
          </p:nvPicPr>
          <p:blipFill rotWithShape="1">
            <a:blip r:embed="rId4">
              <a:alphaModFix/>
            </a:blip>
            <a:srcRect/>
            <a:stretch/>
          </p:blipFill>
          <p:spPr>
            <a:xfrm>
              <a:off x="690576" y="866313"/>
              <a:ext cx="4850106" cy="2665058"/>
            </a:xfrm>
            <a:prstGeom prst="rect">
              <a:avLst/>
            </a:prstGeom>
            <a:noFill/>
            <a:ln w="9525" cap="flat" cmpd="sng">
              <a:solidFill>
                <a:srgbClr val="D8D8D8"/>
              </a:solidFill>
              <a:prstDash val="solid"/>
              <a:round/>
              <a:headEnd type="none" w="sm" len="sm"/>
              <a:tailEnd type="none" w="sm" len="sm"/>
            </a:ln>
            <a:effectLst>
              <a:outerShdw blurRad="254000" dist="63500" dir="2700000" algn="tl" rotWithShape="0">
                <a:srgbClr val="000000">
                  <a:alpha val="20000"/>
                </a:srgbClr>
              </a:outerShdw>
            </a:effectLst>
          </p:spPr>
        </p:pic>
        <p:pic>
          <p:nvPicPr>
            <p:cNvPr id="2081" name="Google Shape;2081;p18"/>
            <p:cNvPicPr preferRelativeResize="0"/>
            <p:nvPr/>
          </p:nvPicPr>
          <p:blipFill rotWithShape="1">
            <a:blip r:embed="rId5">
              <a:alphaModFix/>
            </a:blip>
            <a:srcRect/>
            <a:stretch/>
          </p:blipFill>
          <p:spPr>
            <a:xfrm>
              <a:off x="1101512" y="1298483"/>
              <a:ext cx="1003059" cy="229147"/>
            </a:xfrm>
            <a:prstGeom prst="rect">
              <a:avLst/>
            </a:prstGeom>
            <a:noFill/>
            <a:ln>
              <a:noFill/>
            </a:ln>
            <a:effectLst>
              <a:outerShdw blurRad="254000" dist="63500" dir="2700000" algn="tl" rotWithShape="0">
                <a:srgbClr val="000000">
                  <a:alpha val="20000"/>
                </a:srgbClr>
              </a:outerShdw>
            </a:effectLst>
          </p:spPr>
        </p:pic>
      </p:grpSp>
      <p:pic>
        <p:nvPicPr>
          <p:cNvPr id="2082" name="Google Shape;2082;p18"/>
          <p:cNvPicPr preferRelativeResize="0"/>
          <p:nvPr/>
        </p:nvPicPr>
        <p:blipFill rotWithShape="1">
          <a:blip r:embed="rId6">
            <a:alphaModFix/>
          </a:blip>
          <a:srcRect/>
          <a:stretch/>
        </p:blipFill>
        <p:spPr>
          <a:xfrm>
            <a:off x="6394109" y="4492500"/>
            <a:ext cx="3286800" cy="1800000"/>
          </a:xfrm>
          <a:prstGeom prst="rect">
            <a:avLst/>
          </a:prstGeom>
          <a:noFill/>
          <a:ln w="9525" cap="flat" cmpd="sng">
            <a:solidFill>
              <a:srgbClr val="D8D8D8"/>
            </a:solidFill>
            <a:prstDash val="solid"/>
            <a:round/>
            <a:headEnd type="none" w="sm" len="sm"/>
            <a:tailEnd type="none" w="sm" len="sm"/>
          </a:ln>
          <a:effectLst>
            <a:outerShdw blurRad="254000" dist="63500" dir="2700000" algn="tl" rotWithShape="0">
              <a:srgbClr val="000000">
                <a:alpha val="20000"/>
              </a:srgbClr>
            </a:outerShdw>
          </a:effectLst>
        </p:spPr>
      </p:pic>
      <p:pic>
        <p:nvPicPr>
          <p:cNvPr id="2083" name="Google Shape;2083;p18"/>
          <p:cNvPicPr preferRelativeResize="0"/>
          <p:nvPr/>
        </p:nvPicPr>
        <p:blipFill rotWithShape="1">
          <a:blip r:embed="rId7">
            <a:alphaModFix/>
          </a:blip>
          <a:srcRect/>
          <a:stretch/>
        </p:blipFill>
        <p:spPr>
          <a:xfrm>
            <a:off x="8354338" y="4827850"/>
            <a:ext cx="3286800" cy="1800000"/>
          </a:xfrm>
          <a:prstGeom prst="rect">
            <a:avLst/>
          </a:prstGeom>
          <a:noFill/>
          <a:ln w="9525" cap="flat" cmpd="sng">
            <a:solidFill>
              <a:srgbClr val="D8D8D8"/>
            </a:solidFill>
            <a:prstDash val="solid"/>
            <a:round/>
            <a:headEnd type="none" w="sm" len="sm"/>
            <a:tailEnd type="none" w="sm" len="sm"/>
          </a:ln>
          <a:effectLst>
            <a:outerShdw blurRad="254000" dist="63500" dir="2700000" algn="tl" rotWithShape="0">
              <a:srgbClr val="000000">
                <a:alpha val="20000"/>
              </a:srgbClr>
            </a:outerShdw>
          </a:effectLst>
        </p:spPr>
      </p:pic>
      <p:grpSp>
        <p:nvGrpSpPr>
          <p:cNvPr id="2084" name="Google Shape;2084;p18"/>
          <p:cNvGrpSpPr/>
          <p:nvPr/>
        </p:nvGrpSpPr>
        <p:grpSpPr>
          <a:xfrm>
            <a:off x="6394109" y="1856090"/>
            <a:ext cx="3286800" cy="1800000"/>
            <a:chOff x="690576" y="866313"/>
            <a:chExt cx="4850106" cy="2665058"/>
          </a:xfrm>
        </p:grpSpPr>
        <p:pic>
          <p:nvPicPr>
            <p:cNvPr id="2085" name="Google Shape;2085;p18"/>
            <p:cNvPicPr preferRelativeResize="0"/>
            <p:nvPr/>
          </p:nvPicPr>
          <p:blipFill rotWithShape="1">
            <a:blip r:embed="rId8">
              <a:alphaModFix/>
            </a:blip>
            <a:srcRect/>
            <a:stretch/>
          </p:blipFill>
          <p:spPr>
            <a:xfrm>
              <a:off x="690576" y="866313"/>
              <a:ext cx="4850106" cy="2665058"/>
            </a:xfrm>
            <a:prstGeom prst="rect">
              <a:avLst/>
            </a:prstGeom>
            <a:noFill/>
            <a:ln w="9525" cap="flat" cmpd="sng">
              <a:solidFill>
                <a:srgbClr val="D8D8D8"/>
              </a:solidFill>
              <a:prstDash val="solid"/>
              <a:round/>
              <a:headEnd type="none" w="sm" len="sm"/>
              <a:tailEnd type="none" w="sm" len="sm"/>
            </a:ln>
            <a:effectLst>
              <a:outerShdw blurRad="254000" dist="63500" dir="2700000" algn="tl" rotWithShape="0">
                <a:srgbClr val="000000">
                  <a:alpha val="20000"/>
                </a:srgbClr>
              </a:outerShdw>
            </a:effectLst>
          </p:spPr>
        </p:pic>
        <p:pic>
          <p:nvPicPr>
            <p:cNvPr id="2086" name="Google Shape;2086;p18"/>
            <p:cNvPicPr preferRelativeResize="0"/>
            <p:nvPr/>
          </p:nvPicPr>
          <p:blipFill rotWithShape="1">
            <a:blip r:embed="rId5">
              <a:alphaModFix/>
            </a:blip>
            <a:srcRect/>
            <a:stretch/>
          </p:blipFill>
          <p:spPr>
            <a:xfrm>
              <a:off x="985397" y="1101044"/>
              <a:ext cx="1104902" cy="252413"/>
            </a:xfrm>
            <a:prstGeom prst="rect">
              <a:avLst/>
            </a:prstGeom>
            <a:noFill/>
            <a:ln>
              <a:noFill/>
            </a:ln>
            <a:effectLst>
              <a:outerShdw blurRad="254000" dist="63500" dir="2700000" algn="tl" rotWithShape="0">
                <a:srgbClr val="000000">
                  <a:alpha val="20000"/>
                </a:srgbClr>
              </a:outerShdw>
            </a:effectLst>
          </p:spPr>
        </p:pic>
      </p:grpSp>
      <p:pic>
        <p:nvPicPr>
          <p:cNvPr id="2087" name="Google Shape;2087;p18"/>
          <p:cNvPicPr preferRelativeResize="0"/>
          <p:nvPr/>
        </p:nvPicPr>
        <p:blipFill rotWithShape="1">
          <a:blip r:embed="rId9">
            <a:alphaModFix/>
          </a:blip>
          <a:srcRect/>
          <a:stretch/>
        </p:blipFill>
        <p:spPr>
          <a:xfrm>
            <a:off x="8354338" y="2380716"/>
            <a:ext cx="3286800" cy="1800000"/>
          </a:xfrm>
          <a:prstGeom prst="rect">
            <a:avLst/>
          </a:prstGeom>
          <a:noFill/>
          <a:ln w="9525" cap="flat" cmpd="sng">
            <a:solidFill>
              <a:srgbClr val="D8D8D8"/>
            </a:solidFill>
            <a:prstDash val="solid"/>
            <a:round/>
            <a:headEnd type="none" w="sm" len="sm"/>
            <a:tailEnd type="none" w="sm" len="sm"/>
          </a:ln>
          <a:effectLst>
            <a:outerShdw blurRad="254000" dist="63500" dir="2700000" algn="tl" rotWithShape="0">
              <a:srgbClr val="000000">
                <a:alpha val="20000"/>
              </a:srgbClr>
            </a:outerShdw>
          </a:effectLst>
        </p:spPr>
      </p:pic>
      <p:pic>
        <p:nvPicPr>
          <p:cNvPr id="2088" name="Google Shape;2088;p18"/>
          <p:cNvPicPr preferRelativeResize="0"/>
          <p:nvPr/>
        </p:nvPicPr>
        <p:blipFill rotWithShape="1">
          <a:blip r:embed="rId10">
            <a:alphaModFix/>
          </a:blip>
          <a:srcRect/>
          <a:stretch/>
        </p:blipFill>
        <p:spPr>
          <a:xfrm>
            <a:off x="2496110" y="2388925"/>
            <a:ext cx="3286800" cy="1800000"/>
          </a:xfrm>
          <a:prstGeom prst="rect">
            <a:avLst/>
          </a:prstGeom>
          <a:noFill/>
          <a:ln w="9525" cap="flat" cmpd="sng">
            <a:solidFill>
              <a:srgbClr val="D8D8D8"/>
            </a:solidFill>
            <a:prstDash val="solid"/>
            <a:round/>
            <a:headEnd type="none" w="sm" len="sm"/>
            <a:tailEnd type="none" w="sm" len="sm"/>
          </a:ln>
          <a:effectLst>
            <a:outerShdw blurRad="254000" dist="63500" dir="2700000" algn="tl" rotWithShape="0">
              <a:srgbClr val="000000">
                <a:alpha val="20000"/>
              </a:srgbClr>
            </a:outerShdw>
          </a:effectLst>
        </p:spPr>
      </p:pic>
      <p:pic>
        <p:nvPicPr>
          <p:cNvPr id="2089" name="Google Shape;2089;p18"/>
          <p:cNvPicPr preferRelativeResize="0"/>
          <p:nvPr/>
        </p:nvPicPr>
        <p:blipFill rotWithShape="1">
          <a:blip r:embed="rId11">
            <a:alphaModFix/>
          </a:blip>
          <a:srcRect/>
          <a:stretch/>
        </p:blipFill>
        <p:spPr>
          <a:xfrm>
            <a:off x="2496110" y="4827850"/>
            <a:ext cx="3286800" cy="1800000"/>
          </a:xfrm>
          <a:prstGeom prst="rect">
            <a:avLst/>
          </a:prstGeom>
          <a:noFill/>
          <a:ln w="9525" cap="flat" cmpd="sng">
            <a:solidFill>
              <a:srgbClr val="D8D8D8"/>
            </a:solidFill>
            <a:prstDash val="solid"/>
            <a:round/>
            <a:headEnd type="none" w="sm" len="sm"/>
            <a:tailEnd type="none" w="sm" len="sm"/>
          </a:ln>
          <a:effectLst>
            <a:outerShdw blurRad="254000" dist="63500" dir="2700000" algn="tl" rotWithShape="0">
              <a:srgbClr val="000000">
                <a:alpha val="20000"/>
              </a:srgbClr>
            </a:outerShdw>
          </a:effectLst>
        </p:spPr>
      </p:pic>
      <p:cxnSp>
        <p:nvCxnSpPr>
          <p:cNvPr id="2090" name="Google Shape;2090;p18"/>
          <p:cNvCxnSpPr/>
          <p:nvPr/>
        </p:nvCxnSpPr>
        <p:spPr>
          <a:xfrm>
            <a:off x="539400" y="1495640"/>
            <a:ext cx="5412138" cy="0"/>
          </a:xfrm>
          <a:prstGeom prst="straightConnector1">
            <a:avLst/>
          </a:prstGeom>
          <a:noFill/>
          <a:ln w="9525" cap="flat" cmpd="sng">
            <a:solidFill>
              <a:schemeClr val="accent1"/>
            </a:solidFill>
            <a:prstDash val="solid"/>
            <a:miter lim="800000"/>
            <a:headEnd type="oval" w="med" len="med"/>
            <a:tailEnd type="oval" w="med" len="med"/>
          </a:ln>
        </p:spPr>
      </p:cxnSp>
      <p:sp>
        <p:nvSpPr>
          <p:cNvPr id="2091" name="Google Shape;2091;p18"/>
          <p:cNvSpPr txBox="1"/>
          <p:nvPr/>
        </p:nvSpPr>
        <p:spPr>
          <a:xfrm>
            <a:off x="2792558" y="1313217"/>
            <a:ext cx="905825" cy="338554"/>
          </a:xfrm>
          <a:prstGeom prst="rect">
            <a:avLst/>
          </a:prstGeom>
          <a:solidFill>
            <a:schemeClr val="lt2"/>
          </a:solid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2200"/>
              <a:buFont typeface="Arial"/>
              <a:buNone/>
            </a:pPr>
            <a:r>
              <a:rPr lang="en-US" sz="2200" b="1" i="0" u="none" strike="noStrike" cap="none">
                <a:solidFill>
                  <a:schemeClr val="dk1"/>
                </a:solidFill>
                <a:latin typeface="Calibri"/>
                <a:ea typeface="Calibri"/>
                <a:cs typeface="Calibri"/>
                <a:sym typeface="Calibri"/>
              </a:rPr>
              <a:t> Before </a:t>
            </a:r>
            <a:endParaRPr sz="2200" b="1" i="0" u="none" strike="noStrike" cap="none">
              <a:solidFill>
                <a:schemeClr val="dk1"/>
              </a:solidFill>
              <a:latin typeface="Calibri"/>
              <a:ea typeface="Calibri"/>
              <a:cs typeface="Calibri"/>
              <a:sym typeface="Calibri"/>
            </a:endParaRPr>
          </a:p>
        </p:txBody>
      </p:sp>
      <p:cxnSp>
        <p:nvCxnSpPr>
          <p:cNvPr id="2092" name="Google Shape;2092;p18"/>
          <p:cNvCxnSpPr/>
          <p:nvPr/>
        </p:nvCxnSpPr>
        <p:spPr>
          <a:xfrm>
            <a:off x="6394109" y="1495640"/>
            <a:ext cx="5412138" cy="0"/>
          </a:xfrm>
          <a:prstGeom prst="straightConnector1">
            <a:avLst/>
          </a:prstGeom>
          <a:noFill/>
          <a:ln w="9525" cap="flat" cmpd="sng">
            <a:solidFill>
              <a:schemeClr val="accent1"/>
            </a:solidFill>
            <a:prstDash val="solid"/>
            <a:miter lim="800000"/>
            <a:headEnd type="oval" w="med" len="med"/>
            <a:tailEnd type="oval" w="med" len="med"/>
          </a:ln>
        </p:spPr>
      </p:cxnSp>
      <p:sp>
        <p:nvSpPr>
          <p:cNvPr id="2093" name="Google Shape;2093;p18"/>
          <p:cNvSpPr txBox="1"/>
          <p:nvPr/>
        </p:nvSpPr>
        <p:spPr>
          <a:xfrm>
            <a:off x="8800545" y="1313217"/>
            <a:ext cx="599267" cy="338554"/>
          </a:xfrm>
          <a:prstGeom prst="rect">
            <a:avLst/>
          </a:prstGeom>
          <a:solidFill>
            <a:schemeClr val="lt1"/>
          </a:solid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2200"/>
              <a:buFont typeface="Arial"/>
              <a:buNone/>
            </a:pPr>
            <a:r>
              <a:rPr lang="en-US" sz="2200" b="1" i="0" u="none" strike="noStrike" cap="none">
                <a:solidFill>
                  <a:schemeClr val="dk1"/>
                </a:solidFill>
                <a:latin typeface="Calibri"/>
                <a:ea typeface="Calibri"/>
                <a:cs typeface="Calibri"/>
                <a:sym typeface="Calibri"/>
              </a:rPr>
              <a:t>After</a:t>
            </a:r>
            <a:endParaRPr sz="2200" b="1" i="0" u="none" strike="noStrike" cap="none">
              <a:solidFill>
                <a:schemeClr val="dk1"/>
              </a:solidFill>
              <a:latin typeface="Calibri"/>
              <a:ea typeface="Calibri"/>
              <a:cs typeface="Calibri"/>
              <a:sym typeface="Calibri"/>
            </a:endParaRPr>
          </a:p>
        </p:txBody>
      </p:sp>
      <p:grpSp>
        <p:nvGrpSpPr>
          <p:cNvPr id="2094" name="Google Shape;2094;p18"/>
          <p:cNvGrpSpPr/>
          <p:nvPr/>
        </p:nvGrpSpPr>
        <p:grpSpPr>
          <a:xfrm>
            <a:off x="10688715" y="135255"/>
            <a:ext cx="1334482" cy="468742"/>
            <a:chOff x="10688715" y="135255"/>
            <a:chExt cx="1334482" cy="468742"/>
          </a:xfrm>
        </p:grpSpPr>
        <p:grpSp>
          <p:nvGrpSpPr>
            <p:cNvPr id="2095" name="Google Shape;2095;p18"/>
            <p:cNvGrpSpPr/>
            <p:nvPr/>
          </p:nvGrpSpPr>
          <p:grpSpPr>
            <a:xfrm>
              <a:off x="10688715" y="135255"/>
              <a:ext cx="1334482" cy="468742"/>
              <a:chOff x="10688715" y="135255"/>
              <a:chExt cx="1334482" cy="468742"/>
            </a:xfrm>
          </p:grpSpPr>
          <p:sp>
            <p:nvSpPr>
              <p:cNvPr id="2096" name="Google Shape;2096;p18"/>
              <p:cNvSpPr txBox="1"/>
              <p:nvPr/>
            </p:nvSpPr>
            <p:spPr>
              <a:xfrm>
                <a:off x="10688715" y="230150"/>
                <a:ext cx="821549" cy="1384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Graphic design</a:t>
                </a:r>
                <a:endParaRPr sz="1400" b="0" i="0" u="none" strike="noStrike" cap="none">
                  <a:solidFill>
                    <a:srgbClr val="000000"/>
                  </a:solidFill>
                  <a:latin typeface="Arial"/>
                  <a:ea typeface="Arial"/>
                  <a:cs typeface="Arial"/>
                  <a:sym typeface="Arial"/>
                </a:endParaRPr>
              </a:p>
            </p:txBody>
          </p:sp>
          <p:sp>
            <p:nvSpPr>
              <p:cNvPr id="2097" name="Google Shape;2097;p18"/>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pic>
          <p:nvPicPr>
            <p:cNvPr id="2098" name="Google Shape;2098;p18"/>
            <p:cNvPicPr preferRelativeResize="0"/>
            <p:nvPr/>
          </p:nvPicPr>
          <p:blipFill rotWithShape="1">
            <a:blip r:embed="rId12">
              <a:alphaModFix/>
            </a:blip>
            <a:srcRect/>
            <a:stretch/>
          </p:blipFill>
          <p:spPr>
            <a:xfrm>
              <a:off x="11648065" y="227889"/>
              <a:ext cx="281520" cy="281520"/>
            </a:xfrm>
            <a:prstGeom prst="rect">
              <a:avLst/>
            </a:prstGeom>
            <a:noFill/>
            <a:ln>
              <a:noFill/>
            </a:ln>
          </p:spPr>
        </p:pic>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2103"/>
        <p:cNvGrpSpPr/>
        <p:nvPr/>
      </p:nvGrpSpPr>
      <p:grpSpPr>
        <a:xfrm>
          <a:off x="0" y="0"/>
          <a:ext cx="0" cy="0"/>
          <a:chOff x="0" y="0"/>
          <a:chExt cx="0" cy="0"/>
        </a:xfrm>
      </p:grpSpPr>
      <p:sp>
        <p:nvSpPr>
          <p:cNvPr id="2104" name="Google Shape;2104;p19"/>
          <p:cNvSpPr txBox="1">
            <a:spLocks noGrp="1"/>
          </p:cNvSpPr>
          <p:nvPr>
            <p:ph type="title"/>
          </p:nvPr>
        </p:nvSpPr>
        <p:spPr>
          <a:xfrm>
            <a:off x="539400" y="562841"/>
            <a:ext cx="3077171" cy="13295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Our work - Creative Design</a:t>
            </a:r>
            <a:br>
              <a:rPr lang="en-US"/>
            </a:br>
            <a:r>
              <a:rPr lang="en-US"/>
              <a:t>Before</a:t>
            </a:r>
            <a:endParaRPr/>
          </a:p>
        </p:txBody>
      </p:sp>
      <p:sp>
        <p:nvSpPr>
          <p:cNvPr id="2105" name="Google Shape;2105;p19"/>
          <p:cNvSpPr txBox="1"/>
          <p:nvPr/>
        </p:nvSpPr>
        <p:spPr>
          <a:xfrm>
            <a:off x="550862" y="1918338"/>
            <a:ext cx="3077171" cy="147732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1" i="0" u="none" strike="noStrike" cap="none">
                <a:solidFill>
                  <a:schemeClr val="dk1"/>
                </a:solidFill>
                <a:latin typeface="Calibri"/>
                <a:ea typeface="Calibri"/>
                <a:cs typeface="Calibri"/>
                <a:sym typeface="Calibri"/>
              </a:rPr>
              <a:t>Project background:</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600"/>
              <a:buFont typeface="Arial"/>
              <a:buNone/>
            </a:pPr>
            <a:r>
              <a:rPr lang="en-US" sz="1600" b="0" i="0" u="none" strike="noStrike" cap="none">
                <a:solidFill>
                  <a:schemeClr val="dk1"/>
                </a:solidFill>
                <a:latin typeface="Calibri"/>
                <a:ea typeface="Calibri"/>
                <a:cs typeface="Calibri"/>
                <a:sym typeface="Calibri"/>
              </a:rPr>
              <a:t>Client has asked us to redesign this slide as this was the main slide in the deck which explains that the UAE government need to focus on improving their sports activities </a:t>
            </a:r>
            <a:endParaRPr sz="1400" b="0" i="0" u="none" strike="noStrike" cap="none">
              <a:solidFill>
                <a:srgbClr val="000000"/>
              </a:solidFill>
              <a:latin typeface="Arial"/>
              <a:ea typeface="Arial"/>
              <a:cs typeface="Arial"/>
              <a:sym typeface="Arial"/>
            </a:endParaRPr>
          </a:p>
        </p:txBody>
      </p:sp>
      <p:pic>
        <p:nvPicPr>
          <p:cNvPr id="2106" name="Google Shape;2106;p19"/>
          <p:cNvPicPr preferRelativeResize="0"/>
          <p:nvPr/>
        </p:nvPicPr>
        <p:blipFill rotWithShape="1">
          <a:blip r:embed="rId3">
            <a:alphaModFix/>
          </a:blip>
          <a:srcRect/>
          <a:stretch/>
        </p:blipFill>
        <p:spPr>
          <a:xfrm>
            <a:off x="550864" y="3502702"/>
            <a:ext cx="3077169" cy="1831545"/>
          </a:xfrm>
          <a:prstGeom prst="rect">
            <a:avLst/>
          </a:prstGeom>
          <a:noFill/>
          <a:ln>
            <a:noFill/>
          </a:ln>
        </p:spPr>
      </p:pic>
      <p:sp>
        <p:nvSpPr>
          <p:cNvPr id="2107" name="Google Shape;2107;p19"/>
          <p:cNvSpPr/>
          <p:nvPr/>
        </p:nvSpPr>
        <p:spPr>
          <a:xfrm>
            <a:off x="4368799" y="1857376"/>
            <a:ext cx="7272337" cy="4437784"/>
          </a:xfrm>
          <a:prstGeom prst="rect">
            <a:avLst/>
          </a:prstGeom>
          <a:noFill/>
          <a:ln w="9525" cap="rnd" cmpd="sng">
            <a:solidFill>
              <a:srgbClr val="BFBFB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FFFFFF"/>
              </a:solidFill>
              <a:latin typeface="Trebuchet MS"/>
              <a:ea typeface="Trebuchet MS"/>
              <a:cs typeface="Trebuchet MS"/>
              <a:sym typeface="Trebuchet MS"/>
            </a:endParaRPr>
          </a:p>
        </p:txBody>
      </p:sp>
      <p:pic>
        <p:nvPicPr>
          <p:cNvPr id="2108" name="Google Shape;2108;p19"/>
          <p:cNvPicPr preferRelativeResize="0"/>
          <p:nvPr/>
        </p:nvPicPr>
        <p:blipFill rotWithShape="1">
          <a:blip r:embed="rId4">
            <a:alphaModFix/>
          </a:blip>
          <a:srcRect l="1285"/>
          <a:stretch/>
        </p:blipFill>
        <p:spPr>
          <a:xfrm>
            <a:off x="4518660" y="2269943"/>
            <a:ext cx="7031772" cy="3612650"/>
          </a:xfrm>
          <a:prstGeom prst="rect">
            <a:avLst/>
          </a:prstGeom>
          <a:noFill/>
          <a:ln>
            <a:noFill/>
          </a:ln>
        </p:spPr>
      </p:pic>
      <p:sp>
        <p:nvSpPr>
          <p:cNvPr id="2109" name="Google Shape;2109;p19"/>
          <p:cNvSpPr txBox="1"/>
          <p:nvPr/>
        </p:nvSpPr>
        <p:spPr>
          <a:xfrm>
            <a:off x="4368799" y="1067938"/>
            <a:ext cx="5104154" cy="4431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2"/>
              </a:buClr>
              <a:buSzPts val="3200"/>
              <a:buFont typeface="Franklin Gothic"/>
              <a:buNone/>
            </a:pPr>
            <a:r>
              <a:rPr lang="en-US" sz="3200" b="0" i="0" u="none" strike="noStrike" cap="none">
                <a:solidFill>
                  <a:schemeClr val="dk2"/>
                </a:solidFill>
                <a:latin typeface="Franklin Gothic"/>
                <a:ea typeface="Franklin Gothic"/>
                <a:cs typeface="Franklin Gothic"/>
                <a:sym typeface="Franklin Gothic"/>
              </a:rPr>
              <a:t>After</a:t>
            </a:r>
            <a:endParaRPr sz="1400" b="0" i="0" u="none" strike="noStrike" cap="none">
              <a:solidFill>
                <a:srgbClr val="000000"/>
              </a:solidFill>
              <a:latin typeface="Arial"/>
              <a:ea typeface="Arial"/>
              <a:cs typeface="Arial"/>
              <a:sym typeface="Arial"/>
            </a:endParaRPr>
          </a:p>
        </p:txBody>
      </p:sp>
      <p:grpSp>
        <p:nvGrpSpPr>
          <p:cNvPr id="2110" name="Google Shape;2110;p19"/>
          <p:cNvGrpSpPr/>
          <p:nvPr/>
        </p:nvGrpSpPr>
        <p:grpSpPr>
          <a:xfrm>
            <a:off x="10688715" y="135255"/>
            <a:ext cx="1334482" cy="468742"/>
            <a:chOff x="10688715" y="135255"/>
            <a:chExt cx="1334482" cy="468742"/>
          </a:xfrm>
        </p:grpSpPr>
        <p:grpSp>
          <p:nvGrpSpPr>
            <p:cNvPr id="2111" name="Google Shape;2111;p19"/>
            <p:cNvGrpSpPr/>
            <p:nvPr/>
          </p:nvGrpSpPr>
          <p:grpSpPr>
            <a:xfrm>
              <a:off x="10688715" y="135255"/>
              <a:ext cx="1334482" cy="468742"/>
              <a:chOff x="10688715" y="135255"/>
              <a:chExt cx="1334482" cy="468742"/>
            </a:xfrm>
          </p:grpSpPr>
          <p:sp>
            <p:nvSpPr>
              <p:cNvPr id="2112" name="Google Shape;2112;p19"/>
              <p:cNvSpPr txBox="1"/>
              <p:nvPr/>
            </p:nvSpPr>
            <p:spPr>
              <a:xfrm>
                <a:off x="10688715" y="230150"/>
                <a:ext cx="821549" cy="1384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Graphic design</a:t>
                </a:r>
                <a:endParaRPr sz="1400" b="0" i="0" u="none" strike="noStrike" cap="none">
                  <a:solidFill>
                    <a:srgbClr val="000000"/>
                  </a:solidFill>
                  <a:latin typeface="Arial"/>
                  <a:ea typeface="Arial"/>
                  <a:cs typeface="Arial"/>
                  <a:sym typeface="Arial"/>
                </a:endParaRPr>
              </a:p>
            </p:txBody>
          </p:sp>
          <p:sp>
            <p:nvSpPr>
              <p:cNvPr id="2113" name="Google Shape;2113;p19"/>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pic>
          <p:nvPicPr>
            <p:cNvPr id="2114" name="Google Shape;2114;p19"/>
            <p:cNvPicPr preferRelativeResize="0"/>
            <p:nvPr/>
          </p:nvPicPr>
          <p:blipFill rotWithShape="1">
            <a:blip r:embed="rId5">
              <a:alphaModFix/>
            </a:blip>
            <a:srcRect/>
            <a:stretch/>
          </p:blipFill>
          <p:spPr>
            <a:xfrm>
              <a:off x="11648065" y="227889"/>
              <a:ext cx="281520" cy="281520"/>
            </a:xfrm>
            <a:prstGeom prst="rect">
              <a:avLst/>
            </a:prstGeom>
            <a:noFill/>
            <a:ln>
              <a:noFill/>
            </a:ln>
          </p:spPr>
        </p:pic>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2119"/>
        <p:cNvGrpSpPr/>
        <p:nvPr/>
      </p:nvGrpSpPr>
      <p:grpSpPr>
        <a:xfrm>
          <a:off x="0" y="0"/>
          <a:ext cx="0" cy="0"/>
          <a:chOff x="0" y="0"/>
          <a:chExt cx="0" cy="0"/>
        </a:xfrm>
      </p:grpSpPr>
      <p:pic>
        <p:nvPicPr>
          <p:cNvPr id="2120" name="Google Shape;2120;p20"/>
          <p:cNvPicPr preferRelativeResize="0"/>
          <p:nvPr/>
        </p:nvPicPr>
        <p:blipFill rotWithShape="1">
          <a:blip r:embed="rId3">
            <a:alphaModFix/>
          </a:blip>
          <a:srcRect/>
          <a:stretch/>
        </p:blipFill>
        <p:spPr>
          <a:xfrm>
            <a:off x="550864" y="3758922"/>
            <a:ext cx="3113258" cy="1723549"/>
          </a:xfrm>
          <a:custGeom>
            <a:avLst/>
            <a:gdLst/>
            <a:ahLst/>
            <a:cxnLst/>
            <a:rect l="l" t="t" r="r" b="b"/>
            <a:pathLst>
              <a:path w="4207480" h="5251940" extrusionOk="0">
                <a:moveTo>
                  <a:pt x="0" y="0"/>
                </a:moveTo>
                <a:lnTo>
                  <a:pt x="4207480" y="0"/>
                </a:lnTo>
                <a:lnTo>
                  <a:pt x="4207480" y="5251940"/>
                </a:lnTo>
                <a:lnTo>
                  <a:pt x="0" y="5251940"/>
                </a:lnTo>
                <a:close/>
              </a:path>
            </a:pathLst>
          </a:custGeom>
          <a:noFill/>
          <a:ln>
            <a:noFill/>
          </a:ln>
        </p:spPr>
      </p:pic>
      <p:sp>
        <p:nvSpPr>
          <p:cNvPr id="2121" name="Google Shape;2121;p20"/>
          <p:cNvSpPr txBox="1">
            <a:spLocks noGrp="1"/>
          </p:cNvSpPr>
          <p:nvPr>
            <p:ph type="title"/>
          </p:nvPr>
        </p:nvSpPr>
        <p:spPr>
          <a:xfrm>
            <a:off x="539400" y="562841"/>
            <a:ext cx="3077171" cy="13295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Our work -Creative Design</a:t>
            </a:r>
            <a:br>
              <a:rPr lang="en-US"/>
            </a:br>
            <a:r>
              <a:rPr lang="en-US"/>
              <a:t>Before</a:t>
            </a:r>
            <a:endParaRPr/>
          </a:p>
        </p:txBody>
      </p:sp>
      <p:sp>
        <p:nvSpPr>
          <p:cNvPr id="2122" name="Google Shape;2122;p20"/>
          <p:cNvSpPr txBox="1"/>
          <p:nvPr/>
        </p:nvSpPr>
        <p:spPr>
          <a:xfrm>
            <a:off x="550862" y="1953172"/>
            <a:ext cx="3077171" cy="172354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1" i="0" u="none" strike="noStrike" cap="none">
                <a:solidFill>
                  <a:schemeClr val="dk1"/>
                </a:solidFill>
                <a:latin typeface="Calibri"/>
                <a:ea typeface="Calibri"/>
                <a:cs typeface="Calibri"/>
                <a:sym typeface="Calibri"/>
              </a:rPr>
              <a:t>Project background:</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600"/>
              <a:buFont typeface="Arial"/>
              <a:buNone/>
            </a:pPr>
            <a:r>
              <a:rPr lang="en-US" sz="1600" b="0" i="0" u="none" strike="noStrike" cap="none">
                <a:solidFill>
                  <a:schemeClr val="dk1"/>
                </a:solidFill>
                <a:latin typeface="Calibri"/>
                <a:ea typeface="Calibri"/>
                <a:cs typeface="Calibri"/>
                <a:sym typeface="Calibri"/>
              </a:rPr>
              <a:t>Client want was to come up with a rough layout for an office space that they were proposing to the client.</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600"/>
              <a:buFont typeface="Arial"/>
              <a:buNone/>
            </a:pPr>
            <a:r>
              <a:rPr lang="en-US" sz="1600" b="0" i="0" u="none" strike="noStrike" cap="none">
                <a:solidFill>
                  <a:schemeClr val="dk1"/>
                </a:solidFill>
                <a:latin typeface="Calibri"/>
                <a:ea typeface="Calibri"/>
                <a:cs typeface="Calibri"/>
                <a:sym typeface="Calibri"/>
              </a:rPr>
              <a:t>Instead of just drawing a layout in lines and icons, we had envisioned the same using isometric illustrations </a:t>
            </a:r>
            <a:endParaRPr sz="1400" b="0" i="0" u="none" strike="noStrike" cap="none">
              <a:solidFill>
                <a:srgbClr val="000000"/>
              </a:solidFill>
              <a:latin typeface="Arial"/>
              <a:ea typeface="Arial"/>
              <a:cs typeface="Arial"/>
              <a:sym typeface="Arial"/>
            </a:endParaRPr>
          </a:p>
        </p:txBody>
      </p:sp>
      <p:sp>
        <p:nvSpPr>
          <p:cNvPr id="2123" name="Google Shape;2123;p20"/>
          <p:cNvSpPr txBox="1"/>
          <p:nvPr/>
        </p:nvSpPr>
        <p:spPr>
          <a:xfrm>
            <a:off x="4354330" y="1372739"/>
            <a:ext cx="5104154" cy="4431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2"/>
              </a:buClr>
              <a:buSzPts val="3200"/>
              <a:buFont typeface="Franklin Gothic"/>
              <a:buNone/>
            </a:pPr>
            <a:r>
              <a:rPr lang="en-US" sz="3200" b="0" i="0" u="none" strike="noStrike" cap="none">
                <a:solidFill>
                  <a:schemeClr val="dk2"/>
                </a:solidFill>
                <a:latin typeface="Franklin Gothic"/>
                <a:ea typeface="Franklin Gothic"/>
                <a:cs typeface="Franklin Gothic"/>
                <a:sym typeface="Franklin Gothic"/>
              </a:rPr>
              <a:t>After – Isometric Illustration</a:t>
            </a:r>
            <a:endParaRPr sz="1400" b="0" i="0" u="none" strike="noStrike" cap="none">
              <a:solidFill>
                <a:srgbClr val="000000"/>
              </a:solidFill>
              <a:latin typeface="Arial"/>
              <a:ea typeface="Arial"/>
              <a:cs typeface="Arial"/>
              <a:sym typeface="Arial"/>
            </a:endParaRPr>
          </a:p>
        </p:txBody>
      </p:sp>
      <p:sp>
        <p:nvSpPr>
          <p:cNvPr id="2124" name="Google Shape;2124;p20"/>
          <p:cNvSpPr/>
          <p:nvPr/>
        </p:nvSpPr>
        <p:spPr>
          <a:xfrm>
            <a:off x="4368799" y="1857376"/>
            <a:ext cx="7272337" cy="4437784"/>
          </a:xfrm>
          <a:prstGeom prst="rect">
            <a:avLst/>
          </a:prstGeom>
          <a:noFill/>
          <a:ln w="9525" cap="rnd" cmpd="sng">
            <a:solidFill>
              <a:srgbClr val="BFBFB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FFFFFF"/>
              </a:solidFill>
              <a:latin typeface="Trebuchet MS"/>
              <a:ea typeface="Trebuchet MS"/>
              <a:cs typeface="Trebuchet MS"/>
              <a:sym typeface="Trebuchet MS"/>
            </a:endParaRPr>
          </a:p>
        </p:txBody>
      </p:sp>
      <p:pic>
        <p:nvPicPr>
          <p:cNvPr id="2125" name="Google Shape;2125;p20"/>
          <p:cNvPicPr preferRelativeResize="0"/>
          <p:nvPr/>
        </p:nvPicPr>
        <p:blipFill rotWithShape="1">
          <a:blip r:embed="rId4">
            <a:alphaModFix/>
          </a:blip>
          <a:srcRect/>
          <a:stretch/>
        </p:blipFill>
        <p:spPr>
          <a:xfrm>
            <a:off x="5127496" y="2088913"/>
            <a:ext cx="5960899" cy="4082710"/>
          </a:xfrm>
          <a:prstGeom prst="rect">
            <a:avLst/>
          </a:prstGeom>
          <a:noFill/>
          <a:ln>
            <a:noFill/>
          </a:ln>
        </p:spPr>
      </p:pic>
      <p:sp>
        <p:nvSpPr>
          <p:cNvPr id="2126" name="Google Shape;2126;p20"/>
          <p:cNvSpPr txBox="1"/>
          <p:nvPr/>
        </p:nvSpPr>
        <p:spPr>
          <a:xfrm>
            <a:off x="5871990" y="5500113"/>
            <a:ext cx="459609" cy="18476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chemeClr val="dk2"/>
              </a:buClr>
              <a:buSzPts val="1200"/>
              <a:buFont typeface="Calibri"/>
              <a:buNone/>
            </a:pPr>
            <a:r>
              <a:rPr lang="en-US" sz="1200" b="0" i="0" u="none" strike="noStrike" cap="none">
                <a:solidFill>
                  <a:schemeClr val="dk2"/>
                </a:solidFill>
                <a:latin typeface="Calibri"/>
                <a:ea typeface="Calibri"/>
                <a:cs typeface="Calibri"/>
                <a:sym typeface="Calibri"/>
              </a:rPr>
              <a:t>Garden</a:t>
            </a:r>
            <a:endParaRPr sz="1200" b="0" i="0" u="none" strike="noStrike" cap="none">
              <a:solidFill>
                <a:schemeClr val="dk2"/>
              </a:solidFill>
              <a:latin typeface="Calibri"/>
              <a:ea typeface="Calibri"/>
              <a:cs typeface="Calibri"/>
              <a:sym typeface="Calibri"/>
            </a:endParaRPr>
          </a:p>
        </p:txBody>
      </p:sp>
      <p:sp>
        <p:nvSpPr>
          <p:cNvPr id="2127" name="Google Shape;2127;p20"/>
          <p:cNvSpPr txBox="1"/>
          <p:nvPr/>
        </p:nvSpPr>
        <p:spPr>
          <a:xfrm>
            <a:off x="7614165" y="5832479"/>
            <a:ext cx="312514" cy="18476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chemeClr val="dk2"/>
              </a:buClr>
              <a:buSzPts val="1200"/>
              <a:buFont typeface="Calibri"/>
              <a:buNone/>
            </a:pPr>
            <a:r>
              <a:rPr lang="en-US" sz="1200" b="1" i="0" u="none" strike="noStrike" cap="none">
                <a:solidFill>
                  <a:schemeClr val="dk2"/>
                </a:solidFill>
                <a:latin typeface="Calibri"/>
                <a:ea typeface="Calibri"/>
                <a:cs typeface="Calibri"/>
                <a:sym typeface="Calibri"/>
              </a:rPr>
              <a:t>Deck</a:t>
            </a:r>
            <a:endParaRPr sz="1200" b="1" i="0" u="none" strike="noStrike" cap="none">
              <a:solidFill>
                <a:schemeClr val="dk2"/>
              </a:solidFill>
              <a:latin typeface="Calibri"/>
              <a:ea typeface="Calibri"/>
              <a:cs typeface="Calibri"/>
              <a:sym typeface="Calibri"/>
            </a:endParaRPr>
          </a:p>
        </p:txBody>
      </p:sp>
      <p:sp>
        <p:nvSpPr>
          <p:cNvPr id="2128" name="Google Shape;2128;p20"/>
          <p:cNvSpPr txBox="1"/>
          <p:nvPr/>
        </p:nvSpPr>
        <p:spPr>
          <a:xfrm>
            <a:off x="8602839" y="5214811"/>
            <a:ext cx="464699" cy="18476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chemeClr val="dk2"/>
              </a:buClr>
              <a:buSzPts val="1200"/>
              <a:buFont typeface="Calibri"/>
              <a:buNone/>
            </a:pPr>
            <a:r>
              <a:rPr lang="en-US" sz="1200" b="1" i="0" u="none" strike="noStrike" cap="none">
                <a:solidFill>
                  <a:schemeClr val="dk2"/>
                </a:solidFill>
                <a:latin typeface="Calibri"/>
                <a:ea typeface="Calibri"/>
                <a:cs typeface="Calibri"/>
                <a:sym typeface="Calibri"/>
              </a:rPr>
              <a:t>Lounge</a:t>
            </a:r>
            <a:endParaRPr sz="1200" b="1" i="0" u="none" strike="noStrike" cap="none">
              <a:solidFill>
                <a:schemeClr val="dk2"/>
              </a:solidFill>
              <a:latin typeface="Calibri"/>
              <a:ea typeface="Calibri"/>
              <a:cs typeface="Calibri"/>
              <a:sym typeface="Calibri"/>
            </a:endParaRPr>
          </a:p>
        </p:txBody>
      </p:sp>
      <p:sp>
        <p:nvSpPr>
          <p:cNvPr id="2129" name="Google Shape;2129;p20"/>
          <p:cNvSpPr txBox="1"/>
          <p:nvPr/>
        </p:nvSpPr>
        <p:spPr>
          <a:xfrm>
            <a:off x="9418550" y="4710106"/>
            <a:ext cx="561150" cy="18476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chemeClr val="dk2"/>
              </a:buClr>
              <a:buSzPts val="1200"/>
              <a:buFont typeface="Calibri"/>
              <a:buNone/>
            </a:pPr>
            <a:r>
              <a:rPr lang="en-US" sz="1200" b="1" i="0" u="none" strike="noStrike" cap="none">
                <a:solidFill>
                  <a:schemeClr val="dk2"/>
                </a:solidFill>
                <a:latin typeface="Calibri"/>
                <a:ea typeface="Calibri"/>
                <a:cs typeface="Calibri"/>
                <a:sym typeface="Calibri"/>
              </a:rPr>
              <a:t>Entrance</a:t>
            </a:r>
            <a:endParaRPr sz="1200" b="1" i="0" u="none" strike="noStrike" cap="none">
              <a:solidFill>
                <a:schemeClr val="dk2"/>
              </a:solidFill>
              <a:latin typeface="Calibri"/>
              <a:ea typeface="Calibri"/>
              <a:cs typeface="Calibri"/>
              <a:sym typeface="Calibri"/>
            </a:endParaRPr>
          </a:p>
        </p:txBody>
      </p:sp>
      <p:sp>
        <p:nvSpPr>
          <p:cNvPr id="2130" name="Google Shape;2130;p20"/>
          <p:cNvSpPr txBox="1"/>
          <p:nvPr/>
        </p:nvSpPr>
        <p:spPr>
          <a:xfrm>
            <a:off x="10254849" y="4193945"/>
            <a:ext cx="643096" cy="18476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chemeClr val="dk2"/>
              </a:buClr>
              <a:buSzPts val="1200"/>
              <a:buFont typeface="Calibri"/>
              <a:buNone/>
            </a:pPr>
            <a:r>
              <a:rPr lang="en-US" sz="1200" b="1" i="0" u="none" strike="noStrike" cap="none">
                <a:solidFill>
                  <a:schemeClr val="dk2"/>
                </a:solidFill>
                <a:latin typeface="Calibri"/>
                <a:ea typeface="Calibri"/>
                <a:cs typeface="Calibri"/>
                <a:sym typeface="Calibri"/>
              </a:rPr>
              <a:t>Reception</a:t>
            </a:r>
            <a:endParaRPr sz="1200" b="1" i="0" u="none" strike="noStrike" cap="none">
              <a:solidFill>
                <a:schemeClr val="dk2"/>
              </a:solidFill>
              <a:latin typeface="Calibri"/>
              <a:ea typeface="Calibri"/>
              <a:cs typeface="Calibri"/>
              <a:sym typeface="Calibri"/>
            </a:endParaRPr>
          </a:p>
        </p:txBody>
      </p:sp>
      <p:sp>
        <p:nvSpPr>
          <p:cNvPr id="2131" name="Google Shape;2131;p20"/>
          <p:cNvSpPr txBox="1"/>
          <p:nvPr/>
        </p:nvSpPr>
        <p:spPr>
          <a:xfrm>
            <a:off x="9460155" y="2931922"/>
            <a:ext cx="816149" cy="18476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chemeClr val="dk2"/>
              </a:buClr>
              <a:buSzPts val="1200"/>
              <a:buFont typeface="Calibri"/>
              <a:buNone/>
            </a:pPr>
            <a:r>
              <a:rPr lang="en-US" sz="1200" b="0" i="0" u="none" strike="noStrike" cap="none">
                <a:solidFill>
                  <a:schemeClr val="dk2"/>
                </a:solidFill>
                <a:latin typeface="Calibri"/>
                <a:ea typeface="Calibri"/>
                <a:cs typeface="Calibri"/>
                <a:sym typeface="Calibri"/>
              </a:rPr>
              <a:t>Admin Office</a:t>
            </a:r>
            <a:endParaRPr sz="1200" b="0" i="0" u="none" strike="noStrike" cap="none">
              <a:solidFill>
                <a:schemeClr val="dk2"/>
              </a:solidFill>
              <a:latin typeface="Calibri"/>
              <a:ea typeface="Calibri"/>
              <a:cs typeface="Calibri"/>
              <a:sym typeface="Calibri"/>
            </a:endParaRPr>
          </a:p>
        </p:txBody>
      </p:sp>
      <p:sp>
        <p:nvSpPr>
          <p:cNvPr id="2132" name="Google Shape;2132;p20"/>
          <p:cNvSpPr txBox="1"/>
          <p:nvPr/>
        </p:nvSpPr>
        <p:spPr>
          <a:xfrm>
            <a:off x="8663283" y="2497909"/>
            <a:ext cx="889697" cy="18476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chemeClr val="dk2"/>
              </a:buClr>
              <a:buSzPts val="1200"/>
              <a:buFont typeface="Calibri"/>
              <a:buNone/>
            </a:pPr>
            <a:r>
              <a:rPr lang="en-US" sz="1200" b="0" i="0" u="none" strike="noStrike" cap="none">
                <a:solidFill>
                  <a:schemeClr val="dk2"/>
                </a:solidFill>
                <a:latin typeface="Calibri"/>
                <a:ea typeface="Calibri"/>
                <a:cs typeface="Calibri"/>
                <a:sym typeface="Calibri"/>
              </a:rPr>
              <a:t>Finance Office</a:t>
            </a:r>
            <a:endParaRPr sz="1200" b="0" i="0" u="none" strike="noStrike" cap="none">
              <a:solidFill>
                <a:schemeClr val="dk2"/>
              </a:solidFill>
              <a:latin typeface="Calibri"/>
              <a:ea typeface="Calibri"/>
              <a:cs typeface="Calibri"/>
              <a:sym typeface="Calibri"/>
            </a:endParaRPr>
          </a:p>
        </p:txBody>
      </p:sp>
      <p:sp>
        <p:nvSpPr>
          <p:cNvPr id="2133" name="Google Shape;2133;p20"/>
          <p:cNvSpPr txBox="1"/>
          <p:nvPr/>
        </p:nvSpPr>
        <p:spPr>
          <a:xfrm>
            <a:off x="7461351" y="4377657"/>
            <a:ext cx="527303" cy="18476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chemeClr val="dk2"/>
              </a:buClr>
              <a:buSzPts val="1200"/>
              <a:buFont typeface="Calibri"/>
              <a:buNone/>
            </a:pPr>
            <a:r>
              <a:rPr lang="en-US" sz="1200" b="1" i="0" u="none" strike="noStrike" cap="none">
                <a:solidFill>
                  <a:schemeClr val="dk2"/>
                </a:solidFill>
                <a:latin typeface="Calibri"/>
                <a:ea typeface="Calibri"/>
                <a:cs typeface="Calibri"/>
                <a:sym typeface="Calibri"/>
              </a:rPr>
              <a:t>Canteen</a:t>
            </a:r>
            <a:endParaRPr sz="1200" b="1" i="0" u="none" strike="noStrike" cap="none">
              <a:solidFill>
                <a:schemeClr val="dk2"/>
              </a:solidFill>
              <a:latin typeface="Calibri"/>
              <a:ea typeface="Calibri"/>
              <a:cs typeface="Calibri"/>
              <a:sym typeface="Calibri"/>
            </a:endParaRPr>
          </a:p>
        </p:txBody>
      </p:sp>
      <p:sp>
        <p:nvSpPr>
          <p:cNvPr id="2134" name="Google Shape;2134;p20"/>
          <p:cNvSpPr txBox="1"/>
          <p:nvPr/>
        </p:nvSpPr>
        <p:spPr>
          <a:xfrm>
            <a:off x="5639077" y="4285326"/>
            <a:ext cx="467753" cy="18476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chemeClr val="dk2"/>
              </a:buClr>
              <a:buSzPts val="1200"/>
              <a:buFont typeface="Calibri"/>
              <a:buNone/>
            </a:pPr>
            <a:r>
              <a:rPr lang="en-US" sz="1200" b="0" i="0" u="none" strike="noStrike" cap="none">
                <a:solidFill>
                  <a:schemeClr val="dk2"/>
                </a:solidFill>
                <a:latin typeface="Calibri"/>
                <a:ea typeface="Calibri"/>
                <a:cs typeface="Calibri"/>
                <a:sym typeface="Calibri"/>
              </a:rPr>
              <a:t>Kitchen</a:t>
            </a:r>
            <a:endParaRPr sz="1200" b="0" i="0" u="none" strike="noStrike" cap="none">
              <a:solidFill>
                <a:schemeClr val="dk2"/>
              </a:solidFill>
              <a:latin typeface="Calibri"/>
              <a:ea typeface="Calibri"/>
              <a:cs typeface="Calibri"/>
              <a:sym typeface="Calibri"/>
            </a:endParaRPr>
          </a:p>
        </p:txBody>
      </p:sp>
      <p:sp>
        <p:nvSpPr>
          <p:cNvPr id="2135" name="Google Shape;2135;p20"/>
          <p:cNvSpPr txBox="1"/>
          <p:nvPr/>
        </p:nvSpPr>
        <p:spPr>
          <a:xfrm>
            <a:off x="5132796" y="3981054"/>
            <a:ext cx="461645" cy="18476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chemeClr val="dk2"/>
              </a:buClr>
              <a:buSzPts val="1200"/>
              <a:buFont typeface="Calibri"/>
              <a:buNone/>
            </a:pPr>
            <a:r>
              <a:rPr lang="en-US" sz="1200" b="0" i="0" u="none" strike="noStrike" cap="none">
                <a:solidFill>
                  <a:schemeClr val="dk2"/>
                </a:solidFill>
                <a:latin typeface="Calibri"/>
                <a:ea typeface="Calibri"/>
                <a:cs typeface="Calibri"/>
                <a:sym typeface="Calibri"/>
              </a:rPr>
              <a:t>Parking</a:t>
            </a:r>
            <a:endParaRPr sz="1200" b="0" i="0" u="none" strike="noStrike" cap="none">
              <a:solidFill>
                <a:schemeClr val="dk2"/>
              </a:solidFill>
              <a:latin typeface="Calibri"/>
              <a:ea typeface="Calibri"/>
              <a:cs typeface="Calibri"/>
              <a:sym typeface="Calibri"/>
            </a:endParaRPr>
          </a:p>
        </p:txBody>
      </p:sp>
      <p:grpSp>
        <p:nvGrpSpPr>
          <p:cNvPr id="2136" name="Google Shape;2136;p20"/>
          <p:cNvGrpSpPr/>
          <p:nvPr/>
        </p:nvGrpSpPr>
        <p:grpSpPr>
          <a:xfrm>
            <a:off x="10688715" y="135255"/>
            <a:ext cx="1334482" cy="468742"/>
            <a:chOff x="10688715" y="135255"/>
            <a:chExt cx="1334482" cy="468742"/>
          </a:xfrm>
        </p:grpSpPr>
        <p:grpSp>
          <p:nvGrpSpPr>
            <p:cNvPr id="2137" name="Google Shape;2137;p20"/>
            <p:cNvGrpSpPr/>
            <p:nvPr/>
          </p:nvGrpSpPr>
          <p:grpSpPr>
            <a:xfrm>
              <a:off x="10688715" y="135255"/>
              <a:ext cx="1334482" cy="468742"/>
              <a:chOff x="10688715" y="135255"/>
              <a:chExt cx="1334482" cy="468742"/>
            </a:xfrm>
          </p:grpSpPr>
          <p:sp>
            <p:nvSpPr>
              <p:cNvPr id="2138" name="Google Shape;2138;p20"/>
              <p:cNvSpPr txBox="1"/>
              <p:nvPr/>
            </p:nvSpPr>
            <p:spPr>
              <a:xfrm>
                <a:off x="10688715" y="230150"/>
                <a:ext cx="821549" cy="1384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Graphic design</a:t>
                </a:r>
                <a:endParaRPr sz="1400" b="0" i="0" u="none" strike="noStrike" cap="none">
                  <a:solidFill>
                    <a:srgbClr val="000000"/>
                  </a:solidFill>
                  <a:latin typeface="Arial"/>
                  <a:ea typeface="Arial"/>
                  <a:cs typeface="Arial"/>
                  <a:sym typeface="Arial"/>
                </a:endParaRPr>
              </a:p>
            </p:txBody>
          </p:sp>
          <p:sp>
            <p:nvSpPr>
              <p:cNvPr id="2139" name="Google Shape;2139;p20"/>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pic>
          <p:nvPicPr>
            <p:cNvPr id="2140" name="Google Shape;2140;p20"/>
            <p:cNvPicPr preferRelativeResize="0"/>
            <p:nvPr/>
          </p:nvPicPr>
          <p:blipFill rotWithShape="1">
            <a:blip r:embed="rId5">
              <a:alphaModFix/>
            </a:blip>
            <a:srcRect/>
            <a:stretch/>
          </p:blipFill>
          <p:spPr>
            <a:xfrm>
              <a:off x="11648065" y="227889"/>
              <a:ext cx="281520" cy="281520"/>
            </a:xfrm>
            <a:prstGeom prst="rect">
              <a:avLst/>
            </a:prstGeom>
            <a:noFill/>
            <a:ln>
              <a:noFill/>
            </a:ln>
          </p:spPr>
        </p:pic>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2144"/>
        <p:cNvGrpSpPr/>
        <p:nvPr/>
      </p:nvGrpSpPr>
      <p:grpSpPr>
        <a:xfrm>
          <a:off x="0" y="0"/>
          <a:ext cx="0" cy="0"/>
          <a:chOff x="0" y="0"/>
          <a:chExt cx="0" cy="0"/>
        </a:xfrm>
      </p:grpSpPr>
      <p:pic>
        <p:nvPicPr>
          <p:cNvPr id="2145" name="Google Shape;2145;p21"/>
          <p:cNvPicPr preferRelativeResize="0"/>
          <p:nvPr/>
        </p:nvPicPr>
        <p:blipFill rotWithShape="1">
          <a:blip r:embed="rId3">
            <a:alphaModFix/>
          </a:blip>
          <a:srcRect/>
          <a:stretch/>
        </p:blipFill>
        <p:spPr>
          <a:xfrm>
            <a:off x="550862" y="3835769"/>
            <a:ext cx="3598956" cy="2684462"/>
          </a:xfrm>
          <a:prstGeom prst="rect">
            <a:avLst/>
          </a:prstGeom>
          <a:noFill/>
          <a:ln w="9525" cap="flat" cmpd="sng">
            <a:solidFill>
              <a:srgbClr val="D8D8D8"/>
            </a:solidFill>
            <a:prstDash val="solid"/>
            <a:round/>
            <a:headEnd type="none" w="sm" len="sm"/>
            <a:tailEnd type="none" w="sm" len="sm"/>
          </a:ln>
          <a:effectLst>
            <a:outerShdw blurRad="127000" dist="63500" dir="2700000" algn="tl" rotWithShape="0">
              <a:srgbClr val="000000">
                <a:alpha val="7843"/>
              </a:srgbClr>
            </a:outerShdw>
          </a:effectLst>
        </p:spPr>
      </p:pic>
      <p:pic>
        <p:nvPicPr>
          <p:cNvPr id="2146" name="Google Shape;2146;p21"/>
          <p:cNvPicPr preferRelativeResize="0"/>
          <p:nvPr/>
        </p:nvPicPr>
        <p:blipFill rotWithShape="1">
          <a:blip r:embed="rId4">
            <a:alphaModFix/>
          </a:blip>
          <a:srcRect/>
          <a:stretch/>
        </p:blipFill>
        <p:spPr>
          <a:xfrm>
            <a:off x="3616571" y="1857375"/>
            <a:ext cx="3569566" cy="2662719"/>
          </a:xfrm>
          <a:prstGeom prst="rect">
            <a:avLst/>
          </a:prstGeom>
          <a:noFill/>
          <a:ln w="9525" cap="flat" cmpd="sng">
            <a:solidFill>
              <a:srgbClr val="D8D8D8"/>
            </a:solidFill>
            <a:prstDash val="solid"/>
            <a:round/>
            <a:headEnd type="none" w="sm" len="sm"/>
            <a:tailEnd type="none" w="sm" len="sm"/>
          </a:ln>
          <a:effectLst>
            <a:outerShdw blurRad="127000" dist="63500" dir="2700000" algn="tl" rotWithShape="0">
              <a:srgbClr val="000000">
                <a:alpha val="7843"/>
              </a:srgbClr>
            </a:outerShdw>
          </a:effectLst>
        </p:spPr>
      </p:pic>
      <p:pic>
        <p:nvPicPr>
          <p:cNvPr id="2147" name="Google Shape;2147;p21"/>
          <p:cNvPicPr preferRelativeResize="0"/>
          <p:nvPr/>
        </p:nvPicPr>
        <p:blipFill rotWithShape="1">
          <a:blip r:embed="rId5">
            <a:alphaModFix/>
          </a:blip>
          <a:srcRect/>
          <a:stretch/>
        </p:blipFill>
        <p:spPr>
          <a:xfrm>
            <a:off x="7359329" y="1857374"/>
            <a:ext cx="4475599" cy="4780575"/>
          </a:xfrm>
          <a:prstGeom prst="rect">
            <a:avLst/>
          </a:prstGeom>
          <a:noFill/>
          <a:ln w="9525" cap="flat" cmpd="sng">
            <a:solidFill>
              <a:srgbClr val="D8D8D8"/>
            </a:solidFill>
            <a:prstDash val="solid"/>
            <a:round/>
            <a:headEnd type="none" w="sm" len="sm"/>
            <a:tailEnd type="none" w="sm" len="sm"/>
          </a:ln>
          <a:effectLst>
            <a:outerShdw blurRad="127000" dist="63500" dir="2700000" algn="tl" rotWithShape="0">
              <a:srgbClr val="000000">
                <a:alpha val="7843"/>
              </a:srgbClr>
            </a:outerShdw>
          </a:effectLst>
        </p:spPr>
      </p:pic>
      <p:sp>
        <p:nvSpPr>
          <p:cNvPr id="2148" name="Google Shape;2148;p21"/>
          <p:cNvSpPr txBox="1">
            <a:spLocks noGrp="1"/>
          </p:cNvSpPr>
          <p:nvPr>
            <p:ph type="title"/>
          </p:nvPr>
        </p:nvSpPr>
        <p:spPr>
          <a:xfrm>
            <a:off x="539400" y="562841"/>
            <a:ext cx="3077171" cy="886397"/>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Our work - Image Editing</a:t>
            </a:r>
            <a:endParaRPr/>
          </a:p>
        </p:txBody>
      </p:sp>
      <p:sp>
        <p:nvSpPr>
          <p:cNvPr id="2149" name="Google Shape;2149;p21"/>
          <p:cNvSpPr/>
          <p:nvPr/>
        </p:nvSpPr>
        <p:spPr>
          <a:xfrm>
            <a:off x="7359328" y="4029975"/>
            <a:ext cx="4475599" cy="787078"/>
          </a:xfrm>
          <a:prstGeom prst="rect">
            <a:avLst/>
          </a:prstGeom>
          <a:noFill/>
          <a:ln w="76200"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50" name="Google Shape;2150;p21"/>
          <p:cNvSpPr txBox="1"/>
          <p:nvPr/>
        </p:nvSpPr>
        <p:spPr>
          <a:xfrm>
            <a:off x="550862" y="1857375"/>
            <a:ext cx="2388281" cy="172354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1" i="0" u="none" strike="noStrike" cap="none">
                <a:solidFill>
                  <a:schemeClr val="dk1"/>
                </a:solidFill>
                <a:latin typeface="Calibri"/>
                <a:ea typeface="Calibri"/>
                <a:cs typeface="Calibri"/>
                <a:sym typeface="Calibri"/>
              </a:rPr>
              <a:t>Project background:</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600"/>
              <a:buFont typeface="Arial"/>
              <a:buNone/>
            </a:pPr>
            <a:r>
              <a:rPr lang="en-US" sz="1600" b="0" i="0" u="none" strike="noStrike" cap="none">
                <a:solidFill>
                  <a:schemeClr val="dk1"/>
                </a:solidFill>
                <a:latin typeface="Calibri"/>
                <a:ea typeface="Calibri"/>
                <a:cs typeface="Calibri"/>
                <a:sym typeface="Calibri"/>
              </a:rPr>
              <a:t>Client had requested us to help them envision the new rack that they wanted to try for their supermarket which will enable then to organize more items on the rack</a:t>
            </a:r>
            <a:endParaRPr sz="1400" b="0" i="0" u="none" strike="noStrike" cap="none">
              <a:solidFill>
                <a:srgbClr val="000000"/>
              </a:solidFill>
              <a:latin typeface="Arial"/>
              <a:ea typeface="Arial"/>
              <a:cs typeface="Arial"/>
              <a:sym typeface="Arial"/>
            </a:endParaRPr>
          </a:p>
        </p:txBody>
      </p:sp>
      <p:grpSp>
        <p:nvGrpSpPr>
          <p:cNvPr id="2151" name="Google Shape;2151;p21"/>
          <p:cNvGrpSpPr/>
          <p:nvPr/>
        </p:nvGrpSpPr>
        <p:grpSpPr>
          <a:xfrm>
            <a:off x="10688715" y="135255"/>
            <a:ext cx="1334482" cy="468742"/>
            <a:chOff x="10688715" y="135255"/>
            <a:chExt cx="1334482" cy="468742"/>
          </a:xfrm>
        </p:grpSpPr>
        <p:grpSp>
          <p:nvGrpSpPr>
            <p:cNvPr id="2152" name="Google Shape;2152;p21"/>
            <p:cNvGrpSpPr/>
            <p:nvPr/>
          </p:nvGrpSpPr>
          <p:grpSpPr>
            <a:xfrm>
              <a:off x="10688715" y="135255"/>
              <a:ext cx="1334482" cy="468742"/>
              <a:chOff x="10688715" y="135255"/>
              <a:chExt cx="1334482" cy="468742"/>
            </a:xfrm>
          </p:grpSpPr>
          <p:sp>
            <p:nvSpPr>
              <p:cNvPr id="2153" name="Google Shape;2153;p21"/>
              <p:cNvSpPr txBox="1"/>
              <p:nvPr/>
            </p:nvSpPr>
            <p:spPr>
              <a:xfrm>
                <a:off x="10688715" y="230150"/>
                <a:ext cx="821549" cy="1384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Graphic design</a:t>
                </a:r>
                <a:endParaRPr sz="1400" b="0" i="0" u="none" strike="noStrike" cap="none">
                  <a:solidFill>
                    <a:srgbClr val="000000"/>
                  </a:solidFill>
                  <a:latin typeface="Arial"/>
                  <a:ea typeface="Arial"/>
                  <a:cs typeface="Arial"/>
                  <a:sym typeface="Arial"/>
                </a:endParaRPr>
              </a:p>
            </p:txBody>
          </p:sp>
          <p:sp>
            <p:nvSpPr>
              <p:cNvPr id="2154" name="Google Shape;2154;p21"/>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pic>
          <p:nvPicPr>
            <p:cNvPr id="2155" name="Google Shape;2155;p21"/>
            <p:cNvPicPr preferRelativeResize="0"/>
            <p:nvPr/>
          </p:nvPicPr>
          <p:blipFill rotWithShape="1">
            <a:blip r:embed="rId6">
              <a:alphaModFix/>
            </a:blip>
            <a:srcRect/>
            <a:stretch/>
          </p:blipFill>
          <p:spPr>
            <a:xfrm>
              <a:off x="11648065" y="227889"/>
              <a:ext cx="281520" cy="281520"/>
            </a:xfrm>
            <a:prstGeom prst="rect">
              <a:avLst/>
            </a:prstGeom>
            <a:noFill/>
            <a:ln>
              <a:noFill/>
            </a:ln>
          </p:spPr>
        </p:pic>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160"/>
        <p:cNvGrpSpPr/>
        <p:nvPr/>
      </p:nvGrpSpPr>
      <p:grpSpPr>
        <a:xfrm>
          <a:off x="0" y="0"/>
          <a:ext cx="0" cy="0"/>
          <a:chOff x="0" y="0"/>
          <a:chExt cx="0" cy="0"/>
        </a:xfrm>
      </p:grpSpPr>
      <p:sp>
        <p:nvSpPr>
          <p:cNvPr id="2161" name="Google Shape;2161;p22">
            <a:hlinkClick r:id="rId3" action="ppaction://hlinksldjump"/>
          </p:cNvPr>
          <p:cNvSpPr/>
          <p:nvPr/>
        </p:nvSpPr>
        <p:spPr>
          <a:xfrm>
            <a:off x="2209800" y="2081213"/>
            <a:ext cx="1001486" cy="422501"/>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000000"/>
              </a:buClr>
              <a:buSzPts val="1200"/>
              <a:buFont typeface="Arial"/>
              <a:buNone/>
            </a:pPr>
            <a:endParaRPr sz="1200" b="0" i="0" u="none" strike="noStrike" cap="none">
              <a:solidFill>
                <a:schemeClr val="lt1"/>
              </a:solidFill>
              <a:latin typeface="Trebuchet MS"/>
              <a:ea typeface="Trebuchet MS"/>
              <a:cs typeface="Trebuchet MS"/>
              <a:sym typeface="Trebuchet MS"/>
            </a:endParaRPr>
          </a:p>
        </p:txBody>
      </p:sp>
      <p:sp>
        <p:nvSpPr>
          <p:cNvPr id="2162" name="Google Shape;2162;p22">
            <a:hlinkClick r:id="rId3" action="ppaction://hlinksldjump"/>
          </p:cNvPr>
          <p:cNvSpPr/>
          <p:nvPr/>
        </p:nvSpPr>
        <p:spPr>
          <a:xfrm>
            <a:off x="2464778" y="5688276"/>
            <a:ext cx="1001486" cy="422501"/>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000000"/>
              </a:buClr>
              <a:buSzPts val="1200"/>
              <a:buFont typeface="Arial"/>
              <a:buNone/>
            </a:pPr>
            <a:endParaRPr sz="1200" b="0" i="0" u="none" strike="noStrike" cap="none">
              <a:solidFill>
                <a:schemeClr val="lt1"/>
              </a:solidFill>
              <a:latin typeface="Trebuchet MS"/>
              <a:ea typeface="Trebuchet MS"/>
              <a:cs typeface="Trebuchet MS"/>
              <a:sym typeface="Trebuchet MS"/>
            </a:endParaRPr>
          </a:p>
        </p:txBody>
      </p:sp>
      <p:sp>
        <p:nvSpPr>
          <p:cNvPr id="2163" name="Google Shape;2163;p22"/>
          <p:cNvSpPr/>
          <p:nvPr/>
        </p:nvSpPr>
        <p:spPr>
          <a:xfrm>
            <a:off x="9853388" y="4600350"/>
            <a:ext cx="636812" cy="422501"/>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000000"/>
              </a:buClr>
              <a:buSzPts val="1200"/>
              <a:buFont typeface="Arial"/>
              <a:buNone/>
            </a:pPr>
            <a:endParaRPr sz="1200" b="0" i="0" u="none" strike="noStrike" cap="none">
              <a:solidFill>
                <a:schemeClr val="lt1"/>
              </a:solidFill>
              <a:latin typeface="Trebuchet MS"/>
              <a:ea typeface="Trebuchet MS"/>
              <a:cs typeface="Trebuchet MS"/>
              <a:sym typeface="Trebuchet MS"/>
            </a:endParaRPr>
          </a:p>
        </p:txBody>
      </p:sp>
      <p:sp>
        <p:nvSpPr>
          <p:cNvPr id="2164" name="Google Shape;2164;p22"/>
          <p:cNvSpPr txBox="1">
            <a:spLocks noGrp="1"/>
          </p:cNvSpPr>
          <p:nvPr>
            <p:ph type="title"/>
          </p:nvPr>
        </p:nvSpPr>
        <p:spPr>
          <a:xfrm>
            <a:off x="539400" y="562841"/>
            <a:ext cx="3077171" cy="886397"/>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Our work - User journey maps</a:t>
            </a:r>
            <a:endParaRPr/>
          </a:p>
        </p:txBody>
      </p:sp>
      <p:pic>
        <p:nvPicPr>
          <p:cNvPr id="2165" name="Google Shape;2165;p22"/>
          <p:cNvPicPr preferRelativeResize="0"/>
          <p:nvPr/>
        </p:nvPicPr>
        <p:blipFill rotWithShape="1">
          <a:blip r:embed="rId4">
            <a:alphaModFix/>
          </a:blip>
          <a:srcRect/>
          <a:stretch/>
        </p:blipFill>
        <p:spPr>
          <a:xfrm>
            <a:off x="539400" y="1838676"/>
            <a:ext cx="3960000" cy="2227501"/>
          </a:xfrm>
          <a:prstGeom prst="rect">
            <a:avLst/>
          </a:prstGeom>
          <a:noFill/>
          <a:ln w="9525" cap="flat" cmpd="sng">
            <a:solidFill>
              <a:srgbClr val="D8D8D8"/>
            </a:solidFill>
            <a:prstDash val="solid"/>
            <a:round/>
            <a:headEnd type="none" w="sm" len="sm"/>
            <a:tailEnd type="none" w="sm" len="sm"/>
          </a:ln>
          <a:effectLst>
            <a:outerShdw blurRad="127000" dist="63500" dir="2700000" algn="tl" rotWithShape="0">
              <a:srgbClr val="000000">
                <a:alpha val="7843"/>
              </a:srgbClr>
            </a:outerShdw>
          </a:effectLst>
        </p:spPr>
      </p:pic>
      <p:pic>
        <p:nvPicPr>
          <p:cNvPr id="2166" name="Google Shape;2166;p22"/>
          <p:cNvPicPr preferRelativeResize="0"/>
          <p:nvPr/>
        </p:nvPicPr>
        <p:blipFill rotWithShape="1">
          <a:blip r:embed="rId5">
            <a:alphaModFix/>
          </a:blip>
          <a:srcRect/>
          <a:stretch/>
        </p:blipFill>
        <p:spPr>
          <a:xfrm>
            <a:off x="2077985" y="4066177"/>
            <a:ext cx="3960000" cy="2160000"/>
          </a:xfrm>
          <a:prstGeom prst="rect">
            <a:avLst/>
          </a:prstGeom>
          <a:noFill/>
          <a:ln w="9525" cap="flat" cmpd="sng">
            <a:solidFill>
              <a:srgbClr val="D8D8D8"/>
            </a:solidFill>
            <a:prstDash val="solid"/>
            <a:round/>
            <a:headEnd type="none" w="sm" len="sm"/>
            <a:tailEnd type="none" w="sm" len="sm"/>
          </a:ln>
          <a:effectLst>
            <a:outerShdw blurRad="127000" dist="63500" dir="2700000" algn="tl" rotWithShape="0">
              <a:srgbClr val="000000">
                <a:alpha val="7843"/>
              </a:srgbClr>
            </a:outerShdw>
          </a:effectLst>
        </p:spPr>
      </p:pic>
      <p:pic>
        <p:nvPicPr>
          <p:cNvPr id="2167" name="Google Shape;2167;p22" descr="A screenshot of a cell phone&#10;&#10;Description automatically generated"/>
          <p:cNvPicPr preferRelativeResize="0"/>
          <p:nvPr/>
        </p:nvPicPr>
        <p:blipFill rotWithShape="1">
          <a:blip r:embed="rId6">
            <a:alphaModFix/>
          </a:blip>
          <a:srcRect/>
          <a:stretch/>
        </p:blipFill>
        <p:spPr>
          <a:xfrm>
            <a:off x="4881686" y="293475"/>
            <a:ext cx="3960000" cy="2088704"/>
          </a:xfrm>
          <a:prstGeom prst="rect">
            <a:avLst/>
          </a:prstGeom>
          <a:noFill/>
          <a:ln w="9525" cap="flat" cmpd="sng">
            <a:solidFill>
              <a:srgbClr val="D8D8D8"/>
            </a:solidFill>
            <a:prstDash val="solid"/>
            <a:round/>
            <a:headEnd type="none" w="sm" len="sm"/>
            <a:tailEnd type="none" w="sm" len="sm"/>
          </a:ln>
          <a:effectLst>
            <a:outerShdw blurRad="127000" dist="63500" dir="2700000" algn="tl" rotWithShape="0">
              <a:srgbClr val="000000">
                <a:alpha val="7843"/>
              </a:srgbClr>
            </a:outerShdw>
          </a:effectLst>
        </p:spPr>
      </p:pic>
      <p:pic>
        <p:nvPicPr>
          <p:cNvPr id="2168" name="Google Shape;2168;p22" descr="A screenshot of a cell phone&#10;&#10;Description automatically generated"/>
          <p:cNvPicPr preferRelativeResize="0"/>
          <p:nvPr/>
        </p:nvPicPr>
        <p:blipFill rotWithShape="1">
          <a:blip r:embed="rId7">
            <a:alphaModFix/>
          </a:blip>
          <a:srcRect/>
          <a:stretch/>
        </p:blipFill>
        <p:spPr>
          <a:xfrm>
            <a:off x="6530200" y="2382179"/>
            <a:ext cx="3960000" cy="2116948"/>
          </a:xfrm>
          <a:prstGeom prst="rect">
            <a:avLst/>
          </a:prstGeom>
          <a:noFill/>
          <a:ln w="9525" cap="flat" cmpd="sng">
            <a:solidFill>
              <a:srgbClr val="D8D8D8"/>
            </a:solidFill>
            <a:prstDash val="solid"/>
            <a:round/>
            <a:headEnd type="none" w="sm" len="sm"/>
            <a:tailEnd type="none" w="sm" len="sm"/>
          </a:ln>
          <a:effectLst>
            <a:outerShdw blurRad="127000" dist="63500" dir="2700000" algn="tl" rotWithShape="0">
              <a:srgbClr val="000000">
                <a:alpha val="7843"/>
              </a:srgbClr>
            </a:outerShdw>
          </a:effectLst>
        </p:spPr>
      </p:pic>
      <p:pic>
        <p:nvPicPr>
          <p:cNvPr id="2169" name="Google Shape;2169;p22" descr="A screenshot of a cell phone&#10;&#10;Description automatically generated"/>
          <p:cNvPicPr preferRelativeResize="0"/>
          <p:nvPr/>
        </p:nvPicPr>
        <p:blipFill rotWithShape="1">
          <a:blip r:embed="rId8">
            <a:alphaModFix/>
          </a:blip>
          <a:srcRect/>
          <a:stretch/>
        </p:blipFill>
        <p:spPr>
          <a:xfrm>
            <a:off x="7873388" y="4499127"/>
            <a:ext cx="3960000" cy="2116948"/>
          </a:xfrm>
          <a:prstGeom prst="rect">
            <a:avLst/>
          </a:prstGeom>
          <a:noFill/>
          <a:ln w="9525" cap="flat" cmpd="sng">
            <a:solidFill>
              <a:srgbClr val="D8D8D8"/>
            </a:solidFill>
            <a:prstDash val="solid"/>
            <a:round/>
            <a:headEnd type="none" w="sm" len="sm"/>
            <a:tailEnd type="none" w="sm" len="sm"/>
          </a:ln>
          <a:effectLst>
            <a:outerShdw blurRad="127000" dist="63500" dir="2700000" algn="tl" rotWithShape="0">
              <a:srgbClr val="000000">
                <a:alpha val="7843"/>
              </a:srgbClr>
            </a:outerShdw>
          </a:effectLst>
        </p:spPr>
      </p:pic>
      <p:grpSp>
        <p:nvGrpSpPr>
          <p:cNvPr id="2170" name="Google Shape;2170;p22"/>
          <p:cNvGrpSpPr/>
          <p:nvPr/>
        </p:nvGrpSpPr>
        <p:grpSpPr>
          <a:xfrm>
            <a:off x="10688715" y="135255"/>
            <a:ext cx="1334482" cy="468742"/>
            <a:chOff x="10688715" y="135255"/>
            <a:chExt cx="1334482" cy="468742"/>
          </a:xfrm>
        </p:grpSpPr>
        <p:grpSp>
          <p:nvGrpSpPr>
            <p:cNvPr id="2171" name="Google Shape;2171;p22"/>
            <p:cNvGrpSpPr/>
            <p:nvPr/>
          </p:nvGrpSpPr>
          <p:grpSpPr>
            <a:xfrm>
              <a:off x="10688715" y="135255"/>
              <a:ext cx="1334482" cy="468742"/>
              <a:chOff x="10688715" y="135255"/>
              <a:chExt cx="1334482" cy="468742"/>
            </a:xfrm>
          </p:grpSpPr>
          <p:sp>
            <p:nvSpPr>
              <p:cNvPr id="2172" name="Google Shape;2172;p22"/>
              <p:cNvSpPr txBox="1"/>
              <p:nvPr/>
            </p:nvSpPr>
            <p:spPr>
              <a:xfrm>
                <a:off x="10688715" y="230150"/>
                <a:ext cx="821549" cy="1384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Graphic design</a:t>
                </a:r>
                <a:endParaRPr sz="1400" b="0" i="0" u="none" strike="noStrike" cap="none">
                  <a:solidFill>
                    <a:srgbClr val="000000"/>
                  </a:solidFill>
                  <a:latin typeface="Arial"/>
                  <a:ea typeface="Arial"/>
                  <a:cs typeface="Arial"/>
                  <a:sym typeface="Arial"/>
                </a:endParaRPr>
              </a:p>
            </p:txBody>
          </p:sp>
          <p:sp>
            <p:nvSpPr>
              <p:cNvPr id="2173" name="Google Shape;2173;p22"/>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pic>
          <p:nvPicPr>
            <p:cNvPr id="2174" name="Google Shape;2174;p22"/>
            <p:cNvPicPr preferRelativeResize="0"/>
            <p:nvPr/>
          </p:nvPicPr>
          <p:blipFill rotWithShape="1">
            <a:blip r:embed="rId9">
              <a:alphaModFix/>
            </a:blip>
            <a:srcRect/>
            <a:stretch/>
          </p:blipFill>
          <p:spPr>
            <a:xfrm>
              <a:off x="11648065" y="227889"/>
              <a:ext cx="281520" cy="281520"/>
            </a:xfrm>
            <a:prstGeom prst="rect">
              <a:avLst/>
            </a:prstGeom>
            <a:noFill/>
            <a:ln>
              <a:noFill/>
            </a:ln>
          </p:spPr>
        </p:pic>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178"/>
        <p:cNvGrpSpPr/>
        <p:nvPr/>
      </p:nvGrpSpPr>
      <p:grpSpPr>
        <a:xfrm>
          <a:off x="0" y="0"/>
          <a:ext cx="0" cy="0"/>
          <a:chOff x="0" y="0"/>
          <a:chExt cx="0" cy="0"/>
        </a:xfrm>
      </p:grpSpPr>
      <p:sp>
        <p:nvSpPr>
          <p:cNvPr id="2179" name="Google Shape;2179;p23"/>
          <p:cNvSpPr txBox="1">
            <a:spLocks noGrp="1"/>
          </p:cNvSpPr>
          <p:nvPr>
            <p:ph type="title"/>
          </p:nvPr>
        </p:nvSpPr>
        <p:spPr>
          <a:xfrm>
            <a:off x="539401" y="562841"/>
            <a:ext cx="3423000"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Our work - Concept Illustrations</a:t>
            </a:r>
            <a:endParaRPr/>
          </a:p>
        </p:txBody>
      </p:sp>
      <p:pic>
        <p:nvPicPr>
          <p:cNvPr id="2180" name="Google Shape;2180;p23"/>
          <p:cNvPicPr preferRelativeResize="0"/>
          <p:nvPr/>
        </p:nvPicPr>
        <p:blipFill rotWithShape="1">
          <a:blip r:embed="rId3">
            <a:alphaModFix/>
          </a:blip>
          <a:srcRect/>
          <a:stretch/>
        </p:blipFill>
        <p:spPr>
          <a:xfrm>
            <a:off x="435428" y="1672778"/>
            <a:ext cx="11573977" cy="5109021"/>
          </a:xfrm>
          <a:prstGeom prst="rect">
            <a:avLst/>
          </a:prstGeom>
          <a:noFill/>
          <a:ln>
            <a:noFill/>
          </a:ln>
        </p:spPr>
      </p:pic>
      <p:grpSp>
        <p:nvGrpSpPr>
          <p:cNvPr id="2181" name="Google Shape;2181;p23"/>
          <p:cNvGrpSpPr/>
          <p:nvPr/>
        </p:nvGrpSpPr>
        <p:grpSpPr>
          <a:xfrm>
            <a:off x="10688715" y="135255"/>
            <a:ext cx="1334482" cy="468742"/>
            <a:chOff x="10688715" y="135255"/>
            <a:chExt cx="1334482" cy="468742"/>
          </a:xfrm>
        </p:grpSpPr>
        <p:grpSp>
          <p:nvGrpSpPr>
            <p:cNvPr id="2182" name="Google Shape;2182;p23"/>
            <p:cNvGrpSpPr/>
            <p:nvPr/>
          </p:nvGrpSpPr>
          <p:grpSpPr>
            <a:xfrm>
              <a:off x="10688715" y="135255"/>
              <a:ext cx="1334482" cy="468742"/>
              <a:chOff x="10688715" y="135255"/>
              <a:chExt cx="1334482" cy="468742"/>
            </a:xfrm>
          </p:grpSpPr>
          <p:sp>
            <p:nvSpPr>
              <p:cNvPr id="2183" name="Google Shape;2183;p23"/>
              <p:cNvSpPr txBox="1"/>
              <p:nvPr/>
            </p:nvSpPr>
            <p:spPr>
              <a:xfrm>
                <a:off x="10688715" y="230150"/>
                <a:ext cx="821549" cy="1384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Graphic design</a:t>
                </a:r>
                <a:endParaRPr sz="1400" b="0" i="0" u="none" strike="noStrike" cap="none">
                  <a:solidFill>
                    <a:srgbClr val="000000"/>
                  </a:solidFill>
                  <a:latin typeface="Arial"/>
                  <a:ea typeface="Arial"/>
                  <a:cs typeface="Arial"/>
                  <a:sym typeface="Arial"/>
                </a:endParaRPr>
              </a:p>
            </p:txBody>
          </p:sp>
          <p:sp>
            <p:nvSpPr>
              <p:cNvPr id="2184" name="Google Shape;2184;p23"/>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pic>
          <p:nvPicPr>
            <p:cNvPr id="2185" name="Google Shape;2185;p23"/>
            <p:cNvPicPr preferRelativeResize="0"/>
            <p:nvPr/>
          </p:nvPicPr>
          <p:blipFill rotWithShape="1">
            <a:blip r:embed="rId4">
              <a:alphaModFix/>
            </a:blip>
            <a:srcRect/>
            <a:stretch/>
          </p:blipFill>
          <p:spPr>
            <a:xfrm>
              <a:off x="11648065" y="227889"/>
              <a:ext cx="281520" cy="281520"/>
            </a:xfrm>
            <a:prstGeom prst="rect">
              <a:avLst/>
            </a:prstGeom>
            <a:noFill/>
            <a:ln>
              <a:noFill/>
            </a:ln>
          </p:spPr>
        </p:pic>
      </p:gr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2189"/>
        <p:cNvGrpSpPr/>
        <p:nvPr/>
      </p:nvGrpSpPr>
      <p:grpSpPr>
        <a:xfrm>
          <a:off x="0" y="0"/>
          <a:ext cx="0" cy="0"/>
          <a:chOff x="0" y="0"/>
          <a:chExt cx="0" cy="0"/>
        </a:xfrm>
      </p:grpSpPr>
      <p:pic>
        <p:nvPicPr>
          <p:cNvPr id="2190" name="Google Shape;2190;p24"/>
          <p:cNvPicPr preferRelativeResize="0"/>
          <p:nvPr/>
        </p:nvPicPr>
        <p:blipFill rotWithShape="1">
          <a:blip r:embed="rId3">
            <a:alphaModFix/>
          </a:blip>
          <a:srcRect/>
          <a:stretch/>
        </p:blipFill>
        <p:spPr>
          <a:xfrm>
            <a:off x="1527000" y="1573303"/>
            <a:ext cx="9138000" cy="5043819"/>
          </a:xfrm>
          <a:prstGeom prst="rect">
            <a:avLst/>
          </a:prstGeom>
          <a:noFill/>
          <a:ln w="9525" cap="flat" cmpd="sng">
            <a:solidFill>
              <a:srgbClr val="D8D8D8"/>
            </a:solidFill>
            <a:prstDash val="solid"/>
            <a:round/>
            <a:headEnd type="none" w="sm" len="sm"/>
            <a:tailEnd type="none" w="sm" len="sm"/>
          </a:ln>
          <a:effectLst>
            <a:outerShdw blurRad="127000" dist="63500" dir="2700000" algn="tl" rotWithShape="0">
              <a:srgbClr val="000000">
                <a:alpha val="7843"/>
              </a:srgbClr>
            </a:outerShdw>
          </a:effectLst>
        </p:spPr>
      </p:pic>
      <p:sp>
        <p:nvSpPr>
          <p:cNvPr id="2191" name="Google Shape;2191;p24"/>
          <p:cNvSpPr txBox="1">
            <a:spLocks noGrp="1"/>
          </p:cNvSpPr>
          <p:nvPr>
            <p:ph type="title"/>
          </p:nvPr>
        </p:nvSpPr>
        <p:spPr>
          <a:xfrm>
            <a:off x="539400" y="562841"/>
            <a:ext cx="3447063"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Our work - Concept Illustrations</a:t>
            </a:r>
            <a:endParaRPr/>
          </a:p>
        </p:txBody>
      </p:sp>
      <p:grpSp>
        <p:nvGrpSpPr>
          <p:cNvPr id="2192" name="Google Shape;2192;p24"/>
          <p:cNvGrpSpPr/>
          <p:nvPr/>
        </p:nvGrpSpPr>
        <p:grpSpPr>
          <a:xfrm>
            <a:off x="10688715" y="135255"/>
            <a:ext cx="1334482" cy="468742"/>
            <a:chOff x="10688715" y="135255"/>
            <a:chExt cx="1334482" cy="468742"/>
          </a:xfrm>
        </p:grpSpPr>
        <p:grpSp>
          <p:nvGrpSpPr>
            <p:cNvPr id="2193" name="Google Shape;2193;p24"/>
            <p:cNvGrpSpPr/>
            <p:nvPr/>
          </p:nvGrpSpPr>
          <p:grpSpPr>
            <a:xfrm>
              <a:off x="10688715" y="135255"/>
              <a:ext cx="1334482" cy="468742"/>
              <a:chOff x="10688715" y="135255"/>
              <a:chExt cx="1334482" cy="468742"/>
            </a:xfrm>
          </p:grpSpPr>
          <p:sp>
            <p:nvSpPr>
              <p:cNvPr id="2194" name="Google Shape;2194;p24"/>
              <p:cNvSpPr txBox="1"/>
              <p:nvPr/>
            </p:nvSpPr>
            <p:spPr>
              <a:xfrm>
                <a:off x="10688715" y="230150"/>
                <a:ext cx="821549" cy="1384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Graphic design</a:t>
                </a:r>
                <a:endParaRPr sz="1400" b="0" i="0" u="none" strike="noStrike" cap="none">
                  <a:solidFill>
                    <a:srgbClr val="000000"/>
                  </a:solidFill>
                  <a:latin typeface="Arial"/>
                  <a:ea typeface="Arial"/>
                  <a:cs typeface="Arial"/>
                  <a:sym typeface="Arial"/>
                </a:endParaRPr>
              </a:p>
            </p:txBody>
          </p:sp>
          <p:sp>
            <p:nvSpPr>
              <p:cNvPr id="2195" name="Google Shape;2195;p24"/>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pic>
          <p:nvPicPr>
            <p:cNvPr id="2196" name="Google Shape;2196;p24"/>
            <p:cNvPicPr preferRelativeResize="0"/>
            <p:nvPr/>
          </p:nvPicPr>
          <p:blipFill rotWithShape="1">
            <a:blip r:embed="rId4">
              <a:alphaModFix/>
            </a:blip>
            <a:srcRect/>
            <a:stretch/>
          </p:blipFill>
          <p:spPr>
            <a:xfrm>
              <a:off x="11648065" y="227889"/>
              <a:ext cx="281520" cy="281520"/>
            </a:xfrm>
            <a:prstGeom prst="rect">
              <a:avLst/>
            </a:prstGeom>
            <a:noFill/>
            <a:ln>
              <a:noFill/>
            </a:ln>
          </p:spPr>
        </p:pic>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200"/>
        <p:cNvGrpSpPr/>
        <p:nvPr/>
      </p:nvGrpSpPr>
      <p:grpSpPr>
        <a:xfrm>
          <a:off x="0" y="0"/>
          <a:ext cx="0" cy="0"/>
          <a:chOff x="0" y="0"/>
          <a:chExt cx="0" cy="0"/>
        </a:xfrm>
      </p:grpSpPr>
      <p:pic>
        <p:nvPicPr>
          <p:cNvPr id="2201" name="Google Shape;2201;p25"/>
          <p:cNvPicPr preferRelativeResize="0"/>
          <p:nvPr/>
        </p:nvPicPr>
        <p:blipFill rotWithShape="1">
          <a:blip r:embed="rId3">
            <a:alphaModFix/>
          </a:blip>
          <a:srcRect/>
          <a:stretch/>
        </p:blipFill>
        <p:spPr>
          <a:xfrm>
            <a:off x="1" y="0"/>
            <a:ext cx="3449255" cy="6858000"/>
          </a:xfrm>
          <a:prstGeom prst="rect">
            <a:avLst/>
          </a:prstGeom>
          <a:noFill/>
          <a:ln>
            <a:noFill/>
          </a:ln>
        </p:spPr>
      </p:pic>
      <p:sp>
        <p:nvSpPr>
          <p:cNvPr id="2202" name="Google Shape;2202;p25"/>
          <p:cNvSpPr/>
          <p:nvPr/>
        </p:nvSpPr>
        <p:spPr>
          <a:xfrm>
            <a:off x="0" y="-1"/>
            <a:ext cx="3460830" cy="6857999"/>
          </a:xfrm>
          <a:prstGeom prst="rect">
            <a:avLst/>
          </a:prstGeom>
          <a:gradFill>
            <a:gsLst>
              <a:gs pos="0">
                <a:srgbClr val="062379"/>
              </a:gs>
              <a:gs pos="55000">
                <a:srgbClr val="0F47F2">
                  <a:alpha val="67843"/>
                </a:srgbClr>
              </a:gs>
              <a:gs pos="76000">
                <a:srgbClr val="0F47F2">
                  <a:alpha val="6784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cxnSp>
        <p:nvCxnSpPr>
          <p:cNvPr id="2203" name="Google Shape;2203;p25"/>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2204" name="Google Shape;2204;p25"/>
          <p:cNvSpPr txBox="1">
            <a:spLocks noGrp="1"/>
          </p:cNvSpPr>
          <p:nvPr>
            <p:ph type="title"/>
          </p:nvPr>
        </p:nvSpPr>
        <p:spPr>
          <a:xfrm>
            <a:off x="550863" y="560588"/>
            <a:ext cx="2730817" cy="886397"/>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lt1"/>
              </a:buClr>
              <a:buSzPts val="3200"/>
              <a:buFont typeface="Franklin Gothic"/>
              <a:buNone/>
            </a:pPr>
            <a:r>
              <a:rPr lang="en-US" sz="3200">
                <a:solidFill>
                  <a:schemeClr val="lt1"/>
                </a:solidFill>
              </a:rPr>
              <a:t>Why work</a:t>
            </a:r>
            <a:br>
              <a:rPr lang="en-US" sz="3200">
                <a:solidFill>
                  <a:schemeClr val="lt1"/>
                </a:solidFill>
              </a:rPr>
            </a:br>
            <a:r>
              <a:rPr lang="en-US" sz="3200">
                <a:solidFill>
                  <a:schemeClr val="lt1"/>
                </a:solidFill>
              </a:rPr>
              <a:t>with us</a:t>
            </a:r>
            <a:endParaRPr/>
          </a:p>
        </p:txBody>
      </p:sp>
      <p:grpSp>
        <p:nvGrpSpPr>
          <p:cNvPr id="2205" name="Google Shape;2205;p25"/>
          <p:cNvGrpSpPr/>
          <p:nvPr/>
        </p:nvGrpSpPr>
        <p:grpSpPr>
          <a:xfrm>
            <a:off x="3945835" y="941453"/>
            <a:ext cx="7695303" cy="1637884"/>
            <a:chOff x="3945835" y="941453"/>
            <a:chExt cx="7695303" cy="1637884"/>
          </a:xfrm>
        </p:grpSpPr>
        <p:sp>
          <p:nvSpPr>
            <p:cNvPr id="2206" name="Google Shape;2206;p25"/>
            <p:cNvSpPr/>
            <p:nvPr/>
          </p:nvSpPr>
          <p:spPr>
            <a:xfrm>
              <a:off x="6991109" y="941453"/>
              <a:ext cx="4650029" cy="1637884"/>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Our team comes from the best global consultancies</a:t>
              </a:r>
              <a:br>
                <a:rPr lang="en-US" sz="1400" b="0" i="0" u="none" strike="noStrike" cap="none">
                  <a:solidFill>
                    <a:schemeClr val="dk1"/>
                  </a:solidFill>
                  <a:latin typeface="Calibri"/>
                  <a:ea typeface="Calibri"/>
                  <a:cs typeface="Calibri"/>
                  <a:sym typeface="Calibri"/>
                </a:rPr>
              </a:br>
              <a:r>
                <a:rPr lang="en-US" sz="1400" b="0" i="0" u="none" strike="noStrike" cap="none">
                  <a:solidFill>
                    <a:schemeClr val="dk1"/>
                  </a:solidFill>
                  <a:latin typeface="Calibri"/>
                  <a:ea typeface="Calibri"/>
                  <a:cs typeface="Calibri"/>
                  <a:sym typeface="Calibri"/>
                </a:rPr>
                <a:t>and work according to their standards</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8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The team considers design as a problem solving</a:t>
              </a:r>
              <a:br>
                <a:rPr lang="en-US" sz="1400" b="0" i="0" u="none" strike="noStrike" cap="none">
                  <a:solidFill>
                    <a:schemeClr val="dk1"/>
                  </a:solidFill>
                  <a:latin typeface="Calibri"/>
                  <a:ea typeface="Calibri"/>
                  <a:cs typeface="Calibri"/>
                  <a:sym typeface="Calibri"/>
                </a:rPr>
              </a:br>
              <a:r>
                <a:rPr lang="en-US" sz="1400" b="0" i="0" u="none" strike="noStrike" cap="none">
                  <a:solidFill>
                    <a:schemeClr val="dk1"/>
                  </a:solidFill>
                  <a:latin typeface="Calibri"/>
                  <a:ea typeface="Calibri"/>
                  <a:cs typeface="Calibri"/>
                  <a:sym typeface="Calibri"/>
                </a:rPr>
                <a:t>challenge – Figuring out the client needs and</a:t>
              </a:r>
              <a:br>
                <a:rPr lang="en-US" sz="1400" b="0" i="0" u="none" strike="noStrike" cap="none">
                  <a:solidFill>
                    <a:schemeClr val="dk1"/>
                  </a:solidFill>
                  <a:latin typeface="Calibri"/>
                  <a:ea typeface="Calibri"/>
                  <a:cs typeface="Calibri"/>
                  <a:sym typeface="Calibri"/>
                </a:rPr>
              </a:br>
              <a:r>
                <a:rPr lang="en-US" sz="1400" b="0" i="0" u="none" strike="noStrike" cap="none">
                  <a:solidFill>
                    <a:schemeClr val="dk1"/>
                  </a:solidFill>
                  <a:latin typeface="Calibri"/>
                  <a:ea typeface="Calibri"/>
                  <a:cs typeface="Calibri"/>
                  <a:sym typeface="Calibri"/>
                </a:rPr>
                <a:t>delivering on them</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8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Optimum confidentiality and integrity</a:t>
              </a:r>
              <a:br>
                <a:rPr lang="en-US" sz="1400" b="0" i="0" u="none" strike="noStrike" cap="none">
                  <a:solidFill>
                    <a:schemeClr val="dk1"/>
                  </a:solidFill>
                  <a:latin typeface="Calibri"/>
                  <a:ea typeface="Calibri"/>
                  <a:cs typeface="Calibri"/>
                  <a:sym typeface="Calibri"/>
                </a:rPr>
              </a:br>
              <a:r>
                <a:rPr lang="en-US" sz="1400" b="0" i="0" u="none" strike="noStrike" cap="none">
                  <a:solidFill>
                    <a:schemeClr val="dk1"/>
                  </a:solidFill>
                  <a:latin typeface="Calibri"/>
                  <a:ea typeface="Calibri"/>
                  <a:cs typeface="Calibri"/>
                  <a:sym typeface="Calibri"/>
                </a:rPr>
                <a:t>- ISO certified</a:t>
              </a:r>
              <a:endParaRPr sz="1400" b="0" i="0" u="none" strike="noStrike" cap="none">
                <a:solidFill>
                  <a:srgbClr val="000000"/>
                </a:solidFill>
                <a:latin typeface="Arial"/>
                <a:ea typeface="Arial"/>
                <a:cs typeface="Arial"/>
                <a:sym typeface="Arial"/>
              </a:endParaRPr>
            </a:p>
          </p:txBody>
        </p:sp>
        <p:sp>
          <p:nvSpPr>
            <p:cNvPr id="2207" name="Google Shape;2207;p25"/>
            <p:cNvSpPr/>
            <p:nvPr/>
          </p:nvSpPr>
          <p:spPr>
            <a:xfrm>
              <a:off x="5015880" y="1538796"/>
              <a:ext cx="1776363" cy="443198"/>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rgbClr val="000000"/>
                </a:buClr>
                <a:buSzPts val="1600"/>
                <a:buFont typeface="Arial"/>
                <a:buNone/>
              </a:pPr>
              <a:r>
                <a:rPr lang="en-US" sz="1600" b="0" i="0" u="none" strike="noStrike" cap="none">
                  <a:solidFill>
                    <a:schemeClr val="accent1"/>
                  </a:solidFill>
                  <a:latin typeface="Franklin Gothic"/>
                  <a:ea typeface="Franklin Gothic"/>
                  <a:cs typeface="Franklin Gothic"/>
                  <a:sym typeface="Franklin Gothic"/>
                </a:rPr>
                <a:t>World class Graphic design capabilities</a:t>
              </a:r>
              <a:endParaRPr sz="1400" b="0" i="0" u="none" strike="noStrike" cap="none">
                <a:solidFill>
                  <a:srgbClr val="000000"/>
                </a:solidFill>
                <a:latin typeface="Arial"/>
                <a:ea typeface="Arial"/>
                <a:cs typeface="Arial"/>
                <a:sym typeface="Arial"/>
              </a:endParaRPr>
            </a:p>
          </p:txBody>
        </p:sp>
        <p:sp>
          <p:nvSpPr>
            <p:cNvPr id="2208" name="Google Shape;2208;p25"/>
            <p:cNvSpPr/>
            <p:nvPr/>
          </p:nvSpPr>
          <p:spPr>
            <a:xfrm>
              <a:off x="3945835" y="1297617"/>
              <a:ext cx="925556" cy="925556"/>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209" name="Google Shape;2209;p25"/>
            <p:cNvPicPr preferRelativeResize="0"/>
            <p:nvPr/>
          </p:nvPicPr>
          <p:blipFill rotWithShape="1">
            <a:blip r:embed="rId4">
              <a:alphaModFix/>
            </a:blip>
            <a:srcRect/>
            <a:stretch/>
          </p:blipFill>
          <p:spPr>
            <a:xfrm>
              <a:off x="4144306" y="1494516"/>
              <a:ext cx="531758" cy="531758"/>
            </a:xfrm>
            <a:prstGeom prst="rect">
              <a:avLst/>
            </a:prstGeom>
            <a:noFill/>
            <a:ln>
              <a:noFill/>
            </a:ln>
          </p:spPr>
        </p:pic>
      </p:grpSp>
      <p:grpSp>
        <p:nvGrpSpPr>
          <p:cNvPr id="2210" name="Google Shape;2210;p25"/>
          <p:cNvGrpSpPr/>
          <p:nvPr/>
        </p:nvGrpSpPr>
        <p:grpSpPr>
          <a:xfrm>
            <a:off x="3945835" y="2751559"/>
            <a:ext cx="7646624" cy="1077048"/>
            <a:chOff x="3945835" y="2751559"/>
            <a:chExt cx="7646624" cy="1077048"/>
          </a:xfrm>
        </p:grpSpPr>
        <p:sp>
          <p:nvSpPr>
            <p:cNvPr id="2211" name="Google Shape;2211;p25"/>
            <p:cNvSpPr/>
            <p:nvPr/>
          </p:nvSpPr>
          <p:spPr>
            <a:xfrm>
              <a:off x="6979209" y="2751559"/>
              <a:ext cx="4613250" cy="1023870"/>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We can take care of work from basic slide production, up to creative design </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8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Full range of tools (ppt, pdf, video, image treatment etc)</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8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Full compliance with confidentiality and ethics best practices</a:t>
              </a:r>
              <a:endParaRPr sz="1400" b="0" i="0" u="none" strike="noStrike" cap="none">
                <a:solidFill>
                  <a:srgbClr val="000000"/>
                </a:solidFill>
                <a:latin typeface="Arial"/>
                <a:ea typeface="Arial"/>
                <a:cs typeface="Arial"/>
                <a:sym typeface="Arial"/>
              </a:endParaRPr>
            </a:p>
          </p:txBody>
        </p:sp>
        <p:sp>
          <p:nvSpPr>
            <p:cNvPr id="2212" name="Google Shape;2212;p25"/>
            <p:cNvSpPr/>
            <p:nvPr/>
          </p:nvSpPr>
          <p:spPr>
            <a:xfrm>
              <a:off x="5013665" y="3248874"/>
              <a:ext cx="1779405" cy="233910"/>
            </a:xfrm>
            <a:prstGeom prst="rect">
              <a:avLst/>
            </a:prstGeom>
            <a:noFill/>
            <a:ln>
              <a:noFill/>
            </a:ln>
          </p:spPr>
          <p:txBody>
            <a:bodyPr spcFirstLastPara="1" wrap="square" lIns="0" tIns="0" rIns="0" bIns="0" anchor="ctr" anchorCtr="0">
              <a:spAutoFit/>
            </a:bodyPr>
            <a:lstStyle/>
            <a:p>
              <a:pPr marL="0" marR="0" lvl="0" indent="0" algn="l" rtl="0">
                <a:lnSpc>
                  <a:spcPct val="95000"/>
                </a:lnSpc>
                <a:spcBef>
                  <a:spcPts val="0"/>
                </a:spcBef>
                <a:spcAft>
                  <a:spcPts val="0"/>
                </a:spcAft>
                <a:buClr>
                  <a:srgbClr val="000000"/>
                </a:buClr>
                <a:buSzPts val="1600"/>
                <a:buFont typeface="Arial"/>
                <a:buNone/>
              </a:pPr>
              <a:r>
                <a:rPr lang="en-US" sz="1600" b="0" i="0" u="none" strike="noStrike" cap="none">
                  <a:solidFill>
                    <a:schemeClr val="accent1"/>
                  </a:solidFill>
                  <a:latin typeface="Franklin Gothic"/>
                  <a:ea typeface="Franklin Gothic"/>
                  <a:cs typeface="Franklin Gothic"/>
                  <a:sym typeface="Franklin Gothic"/>
                </a:rPr>
                <a:t>Adaptability</a:t>
              </a:r>
              <a:endParaRPr sz="1400" b="0" i="0" u="none" strike="noStrike" cap="none">
                <a:solidFill>
                  <a:srgbClr val="000000"/>
                </a:solidFill>
                <a:latin typeface="Arial"/>
                <a:ea typeface="Arial"/>
                <a:cs typeface="Arial"/>
                <a:sym typeface="Arial"/>
              </a:endParaRPr>
            </a:p>
          </p:txBody>
        </p:sp>
        <p:sp>
          <p:nvSpPr>
            <p:cNvPr id="2213" name="Google Shape;2213;p25"/>
            <p:cNvSpPr/>
            <p:nvPr/>
          </p:nvSpPr>
          <p:spPr>
            <a:xfrm>
              <a:off x="3945835" y="2903051"/>
              <a:ext cx="925556" cy="925556"/>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95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214" name="Google Shape;2214;p25"/>
            <p:cNvPicPr preferRelativeResize="0"/>
            <p:nvPr/>
          </p:nvPicPr>
          <p:blipFill rotWithShape="1">
            <a:blip r:embed="rId5">
              <a:alphaModFix/>
            </a:blip>
            <a:srcRect/>
            <a:stretch/>
          </p:blipFill>
          <p:spPr>
            <a:xfrm>
              <a:off x="4144618" y="3105755"/>
              <a:ext cx="520148" cy="520148"/>
            </a:xfrm>
            <a:prstGeom prst="rect">
              <a:avLst/>
            </a:prstGeom>
            <a:noFill/>
            <a:ln>
              <a:noFill/>
            </a:ln>
          </p:spPr>
        </p:pic>
      </p:grpSp>
      <p:grpSp>
        <p:nvGrpSpPr>
          <p:cNvPr id="2215" name="Google Shape;2215;p25"/>
          <p:cNvGrpSpPr/>
          <p:nvPr/>
        </p:nvGrpSpPr>
        <p:grpSpPr>
          <a:xfrm>
            <a:off x="3945835" y="4152323"/>
            <a:ext cx="7695300" cy="925556"/>
            <a:chOff x="3945835" y="4036050"/>
            <a:chExt cx="7695300" cy="925556"/>
          </a:xfrm>
        </p:grpSpPr>
        <p:sp>
          <p:nvSpPr>
            <p:cNvPr id="2216" name="Google Shape;2216;p25"/>
            <p:cNvSpPr/>
            <p:nvPr/>
          </p:nvSpPr>
          <p:spPr>
            <a:xfrm>
              <a:off x="6991106" y="4038189"/>
              <a:ext cx="4650029" cy="921278"/>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Leverage our scale, experience and expertise at your service – among the largest business services team in EMEA and thee Americas with 200 permanent staff</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8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Different engagement models balancing price and flexibility</a:t>
              </a:r>
              <a:endParaRPr sz="1400" b="0" i="0" u="none" strike="noStrike" cap="none">
                <a:solidFill>
                  <a:srgbClr val="000000"/>
                </a:solidFill>
                <a:latin typeface="Arial"/>
                <a:ea typeface="Arial"/>
                <a:cs typeface="Arial"/>
                <a:sym typeface="Arial"/>
              </a:endParaRPr>
            </a:p>
          </p:txBody>
        </p:sp>
        <p:sp>
          <p:nvSpPr>
            <p:cNvPr id="2217" name="Google Shape;2217;p25"/>
            <p:cNvSpPr/>
            <p:nvPr/>
          </p:nvSpPr>
          <p:spPr>
            <a:xfrm>
              <a:off x="5013665" y="4264918"/>
              <a:ext cx="1779405" cy="467820"/>
            </a:xfrm>
            <a:prstGeom prst="rect">
              <a:avLst/>
            </a:prstGeom>
            <a:noFill/>
            <a:ln>
              <a:noFill/>
            </a:ln>
          </p:spPr>
          <p:txBody>
            <a:bodyPr spcFirstLastPara="1" wrap="square" lIns="0" tIns="0" rIns="0" bIns="0" anchor="ctr" anchorCtr="0">
              <a:spAutoFit/>
            </a:bodyPr>
            <a:lstStyle/>
            <a:p>
              <a:pPr marL="0" marR="0" lvl="0" indent="0" algn="l" rtl="0">
                <a:lnSpc>
                  <a:spcPct val="95000"/>
                </a:lnSpc>
                <a:spcBef>
                  <a:spcPts val="0"/>
                </a:spcBef>
                <a:spcAft>
                  <a:spcPts val="0"/>
                </a:spcAft>
                <a:buClr>
                  <a:srgbClr val="000000"/>
                </a:buClr>
                <a:buSzPts val="1600"/>
                <a:buFont typeface="Arial"/>
                <a:buNone/>
              </a:pPr>
              <a:r>
                <a:rPr lang="en-US" sz="1600" b="0" i="0" u="none" strike="noStrike" cap="none">
                  <a:solidFill>
                    <a:schemeClr val="accent1"/>
                  </a:solidFill>
                  <a:latin typeface="Franklin Gothic"/>
                  <a:ea typeface="Franklin Gothic"/>
                  <a:cs typeface="Franklin Gothic"/>
                  <a:sym typeface="Franklin Gothic"/>
                </a:rPr>
                <a:t>Offering flexibility and scalability</a:t>
              </a:r>
              <a:endParaRPr sz="1400" b="0" i="0" u="none" strike="noStrike" cap="none">
                <a:solidFill>
                  <a:srgbClr val="000000"/>
                </a:solidFill>
                <a:latin typeface="Arial"/>
                <a:ea typeface="Arial"/>
                <a:cs typeface="Arial"/>
                <a:sym typeface="Arial"/>
              </a:endParaRPr>
            </a:p>
          </p:txBody>
        </p:sp>
        <p:sp>
          <p:nvSpPr>
            <p:cNvPr id="2218" name="Google Shape;2218;p25"/>
            <p:cNvSpPr/>
            <p:nvPr/>
          </p:nvSpPr>
          <p:spPr>
            <a:xfrm>
              <a:off x="3945835" y="4036050"/>
              <a:ext cx="925556" cy="925556"/>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95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219" name="Google Shape;2219;p25"/>
            <p:cNvPicPr preferRelativeResize="0"/>
            <p:nvPr/>
          </p:nvPicPr>
          <p:blipFill rotWithShape="1">
            <a:blip r:embed="rId6">
              <a:alphaModFix/>
            </a:blip>
            <a:srcRect/>
            <a:stretch/>
          </p:blipFill>
          <p:spPr>
            <a:xfrm>
              <a:off x="4163484" y="4252650"/>
              <a:ext cx="492356" cy="492356"/>
            </a:xfrm>
            <a:prstGeom prst="rect">
              <a:avLst/>
            </a:prstGeom>
            <a:noFill/>
            <a:ln>
              <a:noFill/>
            </a:ln>
          </p:spPr>
        </p:pic>
      </p:grpSp>
      <p:grpSp>
        <p:nvGrpSpPr>
          <p:cNvPr id="2220" name="Google Shape;2220;p25"/>
          <p:cNvGrpSpPr/>
          <p:nvPr/>
        </p:nvGrpSpPr>
        <p:grpSpPr>
          <a:xfrm>
            <a:off x="3945835" y="5197864"/>
            <a:ext cx="7695300" cy="1330621"/>
            <a:chOff x="3945835" y="5197864"/>
            <a:chExt cx="7695300" cy="1330621"/>
          </a:xfrm>
        </p:grpSpPr>
        <p:sp>
          <p:nvSpPr>
            <p:cNvPr id="2221" name="Google Shape;2221;p25"/>
            <p:cNvSpPr/>
            <p:nvPr/>
          </p:nvSpPr>
          <p:spPr>
            <a:xfrm>
              <a:off x="6991106" y="5197864"/>
              <a:ext cx="4650029" cy="1330621"/>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Multiple advantages of our nearshore locations (Casablanca, Cairo and mexico): Reasonable cost base, although offering high quality of service (staff with critical sense, same time zone etc.)</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8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Benefits of pooling resources between several clients: synergies, cost syndication...</a:t>
              </a:r>
              <a:endParaRPr sz="1400" b="0" i="0" u="none" strike="noStrike" cap="none">
                <a:solidFill>
                  <a:srgbClr val="000000"/>
                </a:solidFill>
                <a:latin typeface="Arial"/>
                <a:ea typeface="Arial"/>
                <a:cs typeface="Arial"/>
                <a:sym typeface="Arial"/>
              </a:endParaRPr>
            </a:p>
          </p:txBody>
        </p:sp>
        <p:sp>
          <p:nvSpPr>
            <p:cNvPr id="2222" name="Google Shape;2222;p25"/>
            <p:cNvSpPr/>
            <p:nvPr/>
          </p:nvSpPr>
          <p:spPr>
            <a:xfrm>
              <a:off x="5013665" y="5409973"/>
              <a:ext cx="1779405" cy="701731"/>
            </a:xfrm>
            <a:prstGeom prst="rect">
              <a:avLst/>
            </a:prstGeom>
            <a:noFill/>
            <a:ln>
              <a:noFill/>
            </a:ln>
          </p:spPr>
          <p:txBody>
            <a:bodyPr spcFirstLastPara="1" wrap="square" lIns="0" tIns="0" rIns="0" bIns="0" anchor="ctr" anchorCtr="0">
              <a:spAutoFit/>
            </a:bodyPr>
            <a:lstStyle/>
            <a:p>
              <a:pPr marL="0" marR="0" lvl="0" indent="0" algn="l" rtl="0">
                <a:lnSpc>
                  <a:spcPct val="95000"/>
                </a:lnSpc>
                <a:spcBef>
                  <a:spcPts val="0"/>
                </a:spcBef>
                <a:spcAft>
                  <a:spcPts val="0"/>
                </a:spcAft>
                <a:buClr>
                  <a:srgbClr val="000000"/>
                </a:buClr>
                <a:buSzPts val="1600"/>
                <a:buFont typeface="Arial"/>
                <a:buNone/>
              </a:pPr>
              <a:r>
                <a:rPr lang="en-US" sz="1600" b="0" i="0" u="none" strike="noStrike" cap="none">
                  <a:solidFill>
                    <a:schemeClr val="accent1"/>
                  </a:solidFill>
                  <a:latin typeface="Franklin Gothic"/>
                  <a:ea typeface="Franklin Gothic"/>
                  <a:cs typeface="Franklin Gothic"/>
                  <a:sym typeface="Franklin Gothic"/>
                </a:rPr>
                <a:t>Providing value added services at a competitive price</a:t>
              </a:r>
              <a:endParaRPr sz="1400" b="0" i="0" u="none" strike="noStrike" cap="none">
                <a:solidFill>
                  <a:srgbClr val="000000"/>
                </a:solidFill>
                <a:latin typeface="Arial"/>
                <a:ea typeface="Arial"/>
                <a:cs typeface="Arial"/>
                <a:sym typeface="Arial"/>
              </a:endParaRPr>
            </a:p>
          </p:txBody>
        </p:sp>
        <p:sp>
          <p:nvSpPr>
            <p:cNvPr id="2223" name="Google Shape;2223;p25"/>
            <p:cNvSpPr/>
            <p:nvPr/>
          </p:nvSpPr>
          <p:spPr>
            <a:xfrm>
              <a:off x="3945835" y="5298060"/>
              <a:ext cx="925556" cy="925556"/>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95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224" name="Google Shape;2224;p25"/>
            <p:cNvPicPr preferRelativeResize="0"/>
            <p:nvPr/>
          </p:nvPicPr>
          <p:blipFill rotWithShape="1">
            <a:blip r:embed="rId7">
              <a:alphaModFix/>
            </a:blip>
            <a:srcRect/>
            <a:stretch/>
          </p:blipFill>
          <p:spPr>
            <a:xfrm>
              <a:off x="4165600" y="5527158"/>
              <a:ext cx="467360" cy="467360"/>
            </a:xfrm>
            <a:prstGeom prst="rect">
              <a:avLst/>
            </a:prstGeom>
            <a:noFill/>
            <a:ln>
              <a:noFill/>
            </a:ln>
          </p:spPr>
        </p:pic>
      </p:grpSp>
      <p:cxnSp>
        <p:nvCxnSpPr>
          <p:cNvPr id="2225" name="Google Shape;2225;p25"/>
          <p:cNvCxnSpPr/>
          <p:nvPr/>
        </p:nvCxnSpPr>
        <p:spPr>
          <a:xfrm>
            <a:off x="5029200" y="2639329"/>
            <a:ext cx="6611938" cy="0"/>
          </a:xfrm>
          <a:prstGeom prst="straightConnector1">
            <a:avLst/>
          </a:prstGeom>
          <a:noFill/>
          <a:ln w="9525" cap="flat" cmpd="sng">
            <a:solidFill>
              <a:srgbClr val="7F7F7F"/>
            </a:solidFill>
            <a:prstDash val="solid"/>
            <a:miter lim="800000"/>
            <a:headEnd type="none" w="sm" len="sm"/>
            <a:tailEnd type="none" w="sm" len="sm"/>
          </a:ln>
        </p:spPr>
      </p:cxnSp>
      <p:cxnSp>
        <p:nvCxnSpPr>
          <p:cNvPr id="2226" name="Google Shape;2226;p25"/>
          <p:cNvCxnSpPr/>
          <p:nvPr/>
        </p:nvCxnSpPr>
        <p:spPr>
          <a:xfrm>
            <a:off x="5029200" y="4092330"/>
            <a:ext cx="6611938" cy="0"/>
          </a:xfrm>
          <a:prstGeom prst="straightConnector1">
            <a:avLst/>
          </a:prstGeom>
          <a:noFill/>
          <a:ln w="9525" cap="flat" cmpd="sng">
            <a:solidFill>
              <a:srgbClr val="7F7F7F"/>
            </a:solidFill>
            <a:prstDash val="solid"/>
            <a:miter lim="800000"/>
            <a:headEnd type="none" w="sm" len="sm"/>
            <a:tailEnd type="none" w="sm" len="sm"/>
          </a:ln>
        </p:spPr>
      </p:cxnSp>
      <p:cxnSp>
        <p:nvCxnSpPr>
          <p:cNvPr id="2227" name="Google Shape;2227;p25"/>
          <p:cNvCxnSpPr/>
          <p:nvPr/>
        </p:nvCxnSpPr>
        <p:spPr>
          <a:xfrm>
            <a:off x="5029200" y="5137872"/>
            <a:ext cx="6611938" cy="0"/>
          </a:xfrm>
          <a:prstGeom prst="straightConnector1">
            <a:avLst/>
          </a:prstGeom>
          <a:noFill/>
          <a:ln w="9525" cap="flat" cmpd="sng">
            <a:solidFill>
              <a:srgbClr val="7F7F7F"/>
            </a:solidFill>
            <a:prstDash val="solid"/>
            <a:miter lim="800000"/>
            <a:headEnd type="none" w="sm" len="sm"/>
            <a:tailEnd type="none" w="sm" len="sm"/>
          </a:ln>
        </p:spPr>
      </p:cxnSp>
      <p:grpSp>
        <p:nvGrpSpPr>
          <p:cNvPr id="2228" name="Google Shape;2228;p25"/>
          <p:cNvGrpSpPr/>
          <p:nvPr/>
        </p:nvGrpSpPr>
        <p:grpSpPr>
          <a:xfrm>
            <a:off x="10864645" y="1794612"/>
            <a:ext cx="776493" cy="768996"/>
            <a:chOff x="373784" y="6837540"/>
            <a:chExt cx="578798" cy="581782"/>
          </a:xfrm>
        </p:grpSpPr>
        <p:sp>
          <p:nvSpPr>
            <p:cNvPr id="2229" name="Google Shape;2229;p25"/>
            <p:cNvSpPr/>
            <p:nvPr/>
          </p:nvSpPr>
          <p:spPr>
            <a:xfrm>
              <a:off x="378969" y="6843587"/>
              <a:ext cx="571141" cy="572050"/>
            </a:xfrm>
            <a:custGeom>
              <a:avLst/>
              <a:gdLst/>
              <a:ahLst/>
              <a:cxnLst/>
              <a:rect l="l" t="t" r="r" b="b"/>
              <a:pathLst>
                <a:path w="571141" h="572050" extrusionOk="0">
                  <a:moveTo>
                    <a:pt x="946" y="262566"/>
                  </a:moveTo>
                  <a:lnTo>
                    <a:pt x="3737" y="239629"/>
                  </a:lnTo>
                  <a:lnTo>
                    <a:pt x="8299" y="217289"/>
                  </a:lnTo>
                  <a:lnTo>
                    <a:pt x="14558" y="195618"/>
                  </a:lnTo>
                  <a:lnTo>
                    <a:pt x="22441" y="174690"/>
                  </a:lnTo>
                  <a:lnTo>
                    <a:pt x="31874" y="154579"/>
                  </a:lnTo>
                  <a:lnTo>
                    <a:pt x="42785" y="135359"/>
                  </a:lnTo>
                  <a:lnTo>
                    <a:pt x="55098" y="117102"/>
                  </a:lnTo>
                  <a:lnTo>
                    <a:pt x="68742" y="99882"/>
                  </a:lnTo>
                  <a:lnTo>
                    <a:pt x="83641" y="83774"/>
                  </a:lnTo>
                  <a:lnTo>
                    <a:pt x="99724" y="68851"/>
                  </a:lnTo>
                  <a:lnTo>
                    <a:pt x="116916" y="55186"/>
                  </a:lnTo>
                  <a:lnTo>
                    <a:pt x="135144" y="42852"/>
                  </a:lnTo>
                  <a:lnTo>
                    <a:pt x="154334" y="31925"/>
                  </a:lnTo>
                  <a:lnTo>
                    <a:pt x="174413" y="22477"/>
                  </a:lnTo>
                  <a:lnTo>
                    <a:pt x="195308" y="14581"/>
                  </a:lnTo>
                  <a:lnTo>
                    <a:pt x="216945" y="8312"/>
                  </a:lnTo>
                  <a:lnTo>
                    <a:pt x="239249" y="3743"/>
                  </a:lnTo>
                  <a:lnTo>
                    <a:pt x="262149" y="948"/>
                  </a:lnTo>
                  <a:lnTo>
                    <a:pt x="285570" y="0"/>
                  </a:lnTo>
                  <a:lnTo>
                    <a:pt x="308992" y="948"/>
                  </a:lnTo>
                  <a:lnTo>
                    <a:pt x="331892" y="3743"/>
                  </a:lnTo>
                  <a:lnTo>
                    <a:pt x="354197" y="8312"/>
                  </a:lnTo>
                  <a:lnTo>
                    <a:pt x="375833" y="14581"/>
                  </a:lnTo>
                  <a:lnTo>
                    <a:pt x="396728" y="22477"/>
                  </a:lnTo>
                  <a:lnTo>
                    <a:pt x="416807" y="31925"/>
                  </a:lnTo>
                  <a:lnTo>
                    <a:pt x="435997" y="42853"/>
                  </a:lnTo>
                  <a:lnTo>
                    <a:pt x="454225" y="55186"/>
                  </a:lnTo>
                  <a:lnTo>
                    <a:pt x="471417" y="68851"/>
                  </a:lnTo>
                  <a:lnTo>
                    <a:pt x="487500" y="83774"/>
                  </a:lnTo>
                  <a:lnTo>
                    <a:pt x="502400" y="99882"/>
                  </a:lnTo>
                  <a:lnTo>
                    <a:pt x="516043" y="117102"/>
                  </a:lnTo>
                  <a:lnTo>
                    <a:pt x="528356" y="135359"/>
                  </a:lnTo>
                  <a:lnTo>
                    <a:pt x="539267" y="154579"/>
                  </a:lnTo>
                  <a:lnTo>
                    <a:pt x="548700" y="174691"/>
                  </a:lnTo>
                  <a:lnTo>
                    <a:pt x="556583" y="195618"/>
                  </a:lnTo>
                  <a:lnTo>
                    <a:pt x="562842" y="217289"/>
                  </a:lnTo>
                  <a:lnTo>
                    <a:pt x="567404" y="239630"/>
                  </a:lnTo>
                  <a:lnTo>
                    <a:pt x="570195" y="262566"/>
                  </a:lnTo>
                  <a:lnTo>
                    <a:pt x="571141" y="286024"/>
                  </a:lnTo>
                  <a:lnTo>
                    <a:pt x="570195" y="309483"/>
                  </a:lnTo>
                  <a:lnTo>
                    <a:pt x="567404" y="332420"/>
                  </a:lnTo>
                  <a:lnTo>
                    <a:pt x="562842" y="354760"/>
                  </a:lnTo>
                  <a:lnTo>
                    <a:pt x="556583" y="376431"/>
                  </a:lnTo>
                  <a:lnTo>
                    <a:pt x="548700" y="397359"/>
                  </a:lnTo>
                  <a:lnTo>
                    <a:pt x="539267" y="417470"/>
                  </a:lnTo>
                  <a:lnTo>
                    <a:pt x="528356" y="436690"/>
                  </a:lnTo>
                  <a:lnTo>
                    <a:pt x="516043" y="454947"/>
                  </a:lnTo>
                  <a:lnTo>
                    <a:pt x="502399" y="472167"/>
                  </a:lnTo>
                  <a:lnTo>
                    <a:pt x="487500" y="488275"/>
                  </a:lnTo>
                  <a:lnTo>
                    <a:pt x="471417" y="503198"/>
                  </a:lnTo>
                  <a:lnTo>
                    <a:pt x="454225" y="516863"/>
                  </a:lnTo>
                  <a:lnTo>
                    <a:pt x="435997" y="529197"/>
                  </a:lnTo>
                  <a:lnTo>
                    <a:pt x="416807" y="540124"/>
                  </a:lnTo>
                  <a:lnTo>
                    <a:pt x="396728" y="549572"/>
                  </a:lnTo>
                  <a:lnTo>
                    <a:pt x="375833" y="557468"/>
                  </a:lnTo>
                  <a:lnTo>
                    <a:pt x="354197" y="563737"/>
                  </a:lnTo>
                  <a:lnTo>
                    <a:pt x="331892" y="568306"/>
                  </a:lnTo>
                  <a:lnTo>
                    <a:pt x="308992" y="571101"/>
                  </a:lnTo>
                  <a:lnTo>
                    <a:pt x="285571" y="572050"/>
                  </a:lnTo>
                  <a:lnTo>
                    <a:pt x="262149" y="571101"/>
                  </a:lnTo>
                  <a:lnTo>
                    <a:pt x="239249" y="568306"/>
                  </a:lnTo>
                  <a:lnTo>
                    <a:pt x="216945" y="563737"/>
                  </a:lnTo>
                  <a:lnTo>
                    <a:pt x="195308" y="557468"/>
                  </a:lnTo>
                  <a:lnTo>
                    <a:pt x="174413" y="549572"/>
                  </a:lnTo>
                  <a:lnTo>
                    <a:pt x="154334" y="540124"/>
                  </a:lnTo>
                  <a:lnTo>
                    <a:pt x="135144" y="529197"/>
                  </a:lnTo>
                  <a:lnTo>
                    <a:pt x="116916" y="516863"/>
                  </a:lnTo>
                  <a:lnTo>
                    <a:pt x="99724" y="503198"/>
                  </a:lnTo>
                  <a:lnTo>
                    <a:pt x="83641" y="488275"/>
                  </a:lnTo>
                  <a:lnTo>
                    <a:pt x="68742" y="472167"/>
                  </a:lnTo>
                  <a:lnTo>
                    <a:pt x="55098" y="454947"/>
                  </a:lnTo>
                  <a:lnTo>
                    <a:pt x="42785" y="436690"/>
                  </a:lnTo>
                  <a:lnTo>
                    <a:pt x="31875" y="417470"/>
                  </a:lnTo>
                  <a:lnTo>
                    <a:pt x="22441" y="397359"/>
                  </a:lnTo>
                  <a:lnTo>
                    <a:pt x="14558" y="376431"/>
                  </a:lnTo>
                  <a:lnTo>
                    <a:pt x="8299" y="354760"/>
                  </a:lnTo>
                  <a:lnTo>
                    <a:pt x="3737" y="332420"/>
                  </a:lnTo>
                  <a:lnTo>
                    <a:pt x="946" y="309483"/>
                  </a:lnTo>
                  <a:lnTo>
                    <a:pt x="0" y="286025"/>
                  </a:lnTo>
                  <a:lnTo>
                    <a:pt x="946" y="262566"/>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30" name="Google Shape;2230;p25"/>
            <p:cNvSpPr/>
            <p:nvPr/>
          </p:nvSpPr>
          <p:spPr>
            <a:xfrm>
              <a:off x="458665" y="6923414"/>
              <a:ext cx="409337" cy="409995"/>
            </a:xfrm>
            <a:custGeom>
              <a:avLst/>
              <a:gdLst/>
              <a:ahLst/>
              <a:cxnLst/>
              <a:rect l="l" t="t" r="r" b="b"/>
              <a:pathLst>
                <a:path w="409337" h="409995" extrusionOk="0">
                  <a:moveTo>
                    <a:pt x="5955" y="155688"/>
                  </a:moveTo>
                  <a:lnTo>
                    <a:pt x="10445" y="140178"/>
                  </a:lnTo>
                  <a:lnTo>
                    <a:pt x="16099" y="125197"/>
                  </a:lnTo>
                  <a:lnTo>
                    <a:pt x="14958" y="204853"/>
                  </a:lnTo>
                  <a:lnTo>
                    <a:pt x="15588" y="220429"/>
                  </a:lnTo>
                  <a:lnTo>
                    <a:pt x="17446" y="235662"/>
                  </a:lnTo>
                  <a:lnTo>
                    <a:pt x="20483" y="250503"/>
                  </a:lnTo>
                  <a:lnTo>
                    <a:pt x="24648" y="264902"/>
                  </a:lnTo>
                  <a:lnTo>
                    <a:pt x="29893" y="278810"/>
                  </a:lnTo>
                  <a:lnTo>
                    <a:pt x="36169" y="292178"/>
                  </a:lnTo>
                  <a:lnTo>
                    <a:pt x="43425" y="304956"/>
                  </a:lnTo>
                  <a:lnTo>
                    <a:pt x="51612" y="317096"/>
                  </a:lnTo>
                  <a:lnTo>
                    <a:pt x="60682" y="328547"/>
                  </a:lnTo>
                  <a:lnTo>
                    <a:pt x="70584" y="339261"/>
                  </a:lnTo>
                  <a:lnTo>
                    <a:pt x="81269" y="349189"/>
                  </a:lnTo>
                  <a:lnTo>
                    <a:pt x="92688" y="358281"/>
                  </a:lnTo>
                  <a:lnTo>
                    <a:pt x="104791" y="366487"/>
                  </a:lnTo>
                  <a:lnTo>
                    <a:pt x="117529" y="373760"/>
                  </a:lnTo>
                  <a:lnTo>
                    <a:pt x="130852" y="380048"/>
                  </a:lnTo>
                  <a:lnTo>
                    <a:pt x="144712" y="385304"/>
                  </a:lnTo>
                  <a:lnTo>
                    <a:pt x="159059" y="389478"/>
                  </a:lnTo>
                  <a:lnTo>
                    <a:pt x="173842" y="392520"/>
                  </a:lnTo>
                  <a:lnTo>
                    <a:pt x="189014" y="394381"/>
                  </a:lnTo>
                  <a:lnTo>
                    <a:pt x="204524" y="395013"/>
                  </a:lnTo>
                  <a:lnTo>
                    <a:pt x="220076" y="394381"/>
                  </a:lnTo>
                  <a:lnTo>
                    <a:pt x="235284" y="392520"/>
                  </a:lnTo>
                  <a:lnTo>
                    <a:pt x="250101" y="389478"/>
                  </a:lnTo>
                  <a:lnTo>
                    <a:pt x="264477" y="385304"/>
                  </a:lnTo>
                  <a:lnTo>
                    <a:pt x="278363" y="380048"/>
                  </a:lnTo>
                  <a:lnTo>
                    <a:pt x="291709" y="373760"/>
                  </a:lnTo>
                  <a:lnTo>
                    <a:pt x="304467" y="366487"/>
                  </a:lnTo>
                  <a:lnTo>
                    <a:pt x="316587" y="358281"/>
                  </a:lnTo>
                  <a:lnTo>
                    <a:pt x="328020" y="349189"/>
                  </a:lnTo>
                  <a:lnTo>
                    <a:pt x="338717" y="339261"/>
                  </a:lnTo>
                  <a:lnTo>
                    <a:pt x="348628" y="328547"/>
                  </a:lnTo>
                  <a:lnTo>
                    <a:pt x="357706" y="317096"/>
                  </a:lnTo>
                  <a:lnTo>
                    <a:pt x="365899" y="304956"/>
                  </a:lnTo>
                  <a:lnTo>
                    <a:pt x="373160" y="292178"/>
                  </a:lnTo>
                  <a:lnTo>
                    <a:pt x="379438" y="278810"/>
                  </a:lnTo>
                  <a:lnTo>
                    <a:pt x="384686" y="264902"/>
                  </a:lnTo>
                  <a:lnTo>
                    <a:pt x="388853" y="250503"/>
                  </a:lnTo>
                  <a:lnTo>
                    <a:pt x="391890" y="235662"/>
                  </a:lnTo>
                  <a:lnTo>
                    <a:pt x="393748" y="220429"/>
                  </a:lnTo>
                  <a:lnTo>
                    <a:pt x="394379" y="204853"/>
                  </a:lnTo>
                  <a:lnTo>
                    <a:pt x="393748" y="189318"/>
                  </a:lnTo>
                  <a:lnTo>
                    <a:pt x="391890" y="174122"/>
                  </a:lnTo>
                  <a:lnTo>
                    <a:pt x="388853" y="159314"/>
                  </a:lnTo>
                  <a:lnTo>
                    <a:pt x="384686" y="144945"/>
                  </a:lnTo>
                  <a:lnTo>
                    <a:pt x="379438" y="131063"/>
                  </a:lnTo>
                  <a:lnTo>
                    <a:pt x="373160" y="117718"/>
                  </a:lnTo>
                  <a:lnTo>
                    <a:pt x="365899" y="104959"/>
                  </a:lnTo>
                  <a:lnTo>
                    <a:pt x="357706" y="92837"/>
                  </a:lnTo>
                  <a:lnTo>
                    <a:pt x="348628" y="81399"/>
                  </a:lnTo>
                  <a:lnTo>
                    <a:pt x="338717" y="70697"/>
                  </a:lnTo>
                  <a:lnTo>
                    <a:pt x="328020" y="60779"/>
                  </a:lnTo>
                  <a:lnTo>
                    <a:pt x="316587" y="51695"/>
                  </a:lnTo>
                  <a:lnTo>
                    <a:pt x="304467" y="43495"/>
                  </a:lnTo>
                  <a:lnTo>
                    <a:pt x="291709" y="36227"/>
                  </a:lnTo>
                  <a:lnTo>
                    <a:pt x="278363" y="29942"/>
                  </a:lnTo>
                  <a:lnTo>
                    <a:pt x="264477" y="24688"/>
                  </a:lnTo>
                  <a:lnTo>
                    <a:pt x="250101" y="20516"/>
                  </a:lnTo>
                  <a:lnTo>
                    <a:pt x="235284" y="17474"/>
                  </a:lnTo>
                  <a:lnTo>
                    <a:pt x="220076" y="15613"/>
                  </a:lnTo>
                  <a:lnTo>
                    <a:pt x="204524" y="14982"/>
                  </a:lnTo>
                  <a:lnTo>
                    <a:pt x="189014" y="15613"/>
                  </a:lnTo>
                  <a:lnTo>
                    <a:pt x="173842" y="17474"/>
                  </a:lnTo>
                  <a:lnTo>
                    <a:pt x="159059" y="20516"/>
                  </a:lnTo>
                  <a:lnTo>
                    <a:pt x="144712" y="24688"/>
                  </a:lnTo>
                  <a:lnTo>
                    <a:pt x="130852" y="29942"/>
                  </a:lnTo>
                  <a:lnTo>
                    <a:pt x="117529" y="36227"/>
                  </a:lnTo>
                  <a:lnTo>
                    <a:pt x="104791" y="43495"/>
                  </a:lnTo>
                  <a:lnTo>
                    <a:pt x="92688" y="51695"/>
                  </a:lnTo>
                  <a:lnTo>
                    <a:pt x="81269" y="60779"/>
                  </a:lnTo>
                  <a:lnTo>
                    <a:pt x="70584" y="70697"/>
                  </a:lnTo>
                  <a:lnTo>
                    <a:pt x="60682" y="81399"/>
                  </a:lnTo>
                  <a:lnTo>
                    <a:pt x="51612" y="92837"/>
                  </a:lnTo>
                  <a:lnTo>
                    <a:pt x="43425" y="104959"/>
                  </a:lnTo>
                  <a:lnTo>
                    <a:pt x="36169" y="117718"/>
                  </a:lnTo>
                  <a:lnTo>
                    <a:pt x="29893" y="131063"/>
                  </a:lnTo>
                  <a:lnTo>
                    <a:pt x="24648" y="144945"/>
                  </a:lnTo>
                  <a:lnTo>
                    <a:pt x="30688" y="97031"/>
                  </a:lnTo>
                  <a:lnTo>
                    <a:pt x="39517" y="83953"/>
                  </a:lnTo>
                  <a:lnTo>
                    <a:pt x="49297" y="71616"/>
                  </a:lnTo>
                  <a:lnTo>
                    <a:pt x="59976" y="60073"/>
                  </a:lnTo>
                  <a:lnTo>
                    <a:pt x="71501" y="49376"/>
                  </a:lnTo>
                  <a:lnTo>
                    <a:pt x="83818" y="39580"/>
                  </a:lnTo>
                  <a:lnTo>
                    <a:pt x="96875" y="30738"/>
                  </a:lnTo>
                  <a:lnTo>
                    <a:pt x="110619" y="22902"/>
                  </a:lnTo>
                  <a:lnTo>
                    <a:pt x="124996" y="16125"/>
                  </a:lnTo>
                  <a:lnTo>
                    <a:pt x="139953" y="10462"/>
                  </a:lnTo>
                  <a:lnTo>
                    <a:pt x="155438" y="5964"/>
                  </a:lnTo>
                  <a:lnTo>
                    <a:pt x="171396" y="2686"/>
                  </a:lnTo>
                  <a:lnTo>
                    <a:pt x="187776" y="680"/>
                  </a:lnTo>
                  <a:lnTo>
                    <a:pt x="204524" y="0"/>
                  </a:lnTo>
                  <a:lnTo>
                    <a:pt x="221313" y="680"/>
                  </a:lnTo>
                  <a:lnTo>
                    <a:pt x="237730" y="2686"/>
                  </a:lnTo>
                  <a:lnTo>
                    <a:pt x="253722" y="5964"/>
                  </a:lnTo>
                  <a:lnTo>
                    <a:pt x="269236" y="10462"/>
                  </a:lnTo>
                  <a:lnTo>
                    <a:pt x="284219" y="16125"/>
                  </a:lnTo>
                  <a:lnTo>
                    <a:pt x="298619" y="22902"/>
                  </a:lnTo>
                  <a:lnTo>
                    <a:pt x="312382" y="30738"/>
                  </a:lnTo>
                  <a:lnTo>
                    <a:pt x="325456" y="39580"/>
                  </a:lnTo>
                  <a:lnTo>
                    <a:pt x="337787" y="49376"/>
                  </a:lnTo>
                  <a:lnTo>
                    <a:pt x="349324" y="60073"/>
                  </a:lnTo>
                  <a:lnTo>
                    <a:pt x="360013" y="71616"/>
                  </a:lnTo>
                  <a:lnTo>
                    <a:pt x="369801" y="83953"/>
                  </a:lnTo>
                  <a:lnTo>
                    <a:pt x="378636" y="97031"/>
                  </a:lnTo>
                  <a:lnTo>
                    <a:pt x="386464" y="110797"/>
                  </a:lnTo>
                  <a:lnTo>
                    <a:pt x="393232" y="125197"/>
                  </a:lnTo>
                  <a:lnTo>
                    <a:pt x="398889" y="140178"/>
                  </a:lnTo>
                  <a:lnTo>
                    <a:pt x="403381" y="155688"/>
                  </a:lnTo>
                  <a:lnTo>
                    <a:pt x="406654" y="171672"/>
                  </a:lnTo>
                  <a:lnTo>
                    <a:pt x="408657" y="188078"/>
                  </a:lnTo>
                  <a:lnTo>
                    <a:pt x="409337" y="204853"/>
                  </a:lnTo>
                  <a:lnTo>
                    <a:pt x="408657" y="221669"/>
                  </a:lnTo>
                  <a:lnTo>
                    <a:pt x="406654" y="238112"/>
                  </a:lnTo>
                  <a:lnTo>
                    <a:pt x="403381" y="254130"/>
                  </a:lnTo>
                  <a:lnTo>
                    <a:pt x="398889" y="269669"/>
                  </a:lnTo>
                  <a:lnTo>
                    <a:pt x="393232" y="284676"/>
                  </a:lnTo>
                  <a:lnTo>
                    <a:pt x="386464" y="299099"/>
                  </a:lnTo>
                  <a:lnTo>
                    <a:pt x="378636" y="312884"/>
                  </a:lnTo>
                  <a:lnTo>
                    <a:pt x="369801" y="325979"/>
                  </a:lnTo>
                  <a:lnTo>
                    <a:pt x="360013" y="338331"/>
                  </a:lnTo>
                  <a:lnTo>
                    <a:pt x="349324" y="349886"/>
                  </a:lnTo>
                  <a:lnTo>
                    <a:pt x="337787" y="360592"/>
                  </a:lnTo>
                  <a:lnTo>
                    <a:pt x="325456" y="370396"/>
                  </a:lnTo>
                  <a:lnTo>
                    <a:pt x="312382" y="379244"/>
                  </a:lnTo>
                  <a:lnTo>
                    <a:pt x="298619" y="387085"/>
                  </a:lnTo>
                  <a:lnTo>
                    <a:pt x="284219" y="393865"/>
                  </a:lnTo>
                  <a:lnTo>
                    <a:pt x="269236" y="399530"/>
                  </a:lnTo>
                  <a:lnTo>
                    <a:pt x="253722" y="404029"/>
                  </a:lnTo>
                  <a:lnTo>
                    <a:pt x="237730" y="407308"/>
                  </a:lnTo>
                  <a:lnTo>
                    <a:pt x="221313" y="409314"/>
                  </a:lnTo>
                  <a:lnTo>
                    <a:pt x="204524" y="409995"/>
                  </a:lnTo>
                  <a:lnTo>
                    <a:pt x="187776" y="409314"/>
                  </a:lnTo>
                  <a:lnTo>
                    <a:pt x="171396" y="407308"/>
                  </a:lnTo>
                  <a:lnTo>
                    <a:pt x="155438" y="404029"/>
                  </a:lnTo>
                  <a:lnTo>
                    <a:pt x="139953" y="399530"/>
                  </a:lnTo>
                  <a:lnTo>
                    <a:pt x="124996" y="393865"/>
                  </a:lnTo>
                  <a:lnTo>
                    <a:pt x="110619" y="387085"/>
                  </a:lnTo>
                  <a:lnTo>
                    <a:pt x="96875" y="379244"/>
                  </a:lnTo>
                  <a:lnTo>
                    <a:pt x="83818" y="370396"/>
                  </a:lnTo>
                  <a:lnTo>
                    <a:pt x="71501" y="360592"/>
                  </a:lnTo>
                  <a:lnTo>
                    <a:pt x="59976" y="349886"/>
                  </a:lnTo>
                  <a:lnTo>
                    <a:pt x="49297" y="338331"/>
                  </a:lnTo>
                  <a:lnTo>
                    <a:pt x="39517" y="325979"/>
                  </a:lnTo>
                  <a:lnTo>
                    <a:pt x="30688" y="312884"/>
                  </a:lnTo>
                  <a:lnTo>
                    <a:pt x="22865" y="299099"/>
                  </a:lnTo>
                  <a:lnTo>
                    <a:pt x="16099" y="284676"/>
                  </a:lnTo>
                  <a:lnTo>
                    <a:pt x="10445" y="269669"/>
                  </a:lnTo>
                  <a:lnTo>
                    <a:pt x="5955" y="254130"/>
                  </a:lnTo>
                  <a:lnTo>
                    <a:pt x="2682" y="238112"/>
                  </a:lnTo>
                  <a:lnTo>
                    <a:pt x="679" y="221669"/>
                  </a:lnTo>
                  <a:lnTo>
                    <a:pt x="0" y="204853"/>
                  </a:lnTo>
                  <a:lnTo>
                    <a:pt x="679" y="188078"/>
                  </a:lnTo>
                  <a:lnTo>
                    <a:pt x="2682" y="171672"/>
                  </a:lnTo>
                  <a:lnTo>
                    <a:pt x="5955" y="155688"/>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31" name="Google Shape;2231;p25"/>
            <p:cNvSpPr/>
            <p:nvPr/>
          </p:nvSpPr>
          <p:spPr>
            <a:xfrm>
              <a:off x="473623" y="7020446"/>
              <a:ext cx="15730" cy="107822"/>
            </a:xfrm>
            <a:custGeom>
              <a:avLst/>
              <a:gdLst/>
              <a:ahLst/>
              <a:cxnLst/>
              <a:rect l="l" t="t" r="r" b="b"/>
              <a:pathLst>
                <a:path w="15730" h="107822" extrusionOk="0">
                  <a:moveTo>
                    <a:pt x="7907" y="13765"/>
                  </a:moveTo>
                  <a:lnTo>
                    <a:pt x="15730" y="0"/>
                  </a:lnTo>
                  <a:lnTo>
                    <a:pt x="9690" y="47913"/>
                  </a:lnTo>
                  <a:lnTo>
                    <a:pt x="5525" y="62283"/>
                  </a:lnTo>
                  <a:lnTo>
                    <a:pt x="2488" y="77090"/>
                  </a:lnTo>
                  <a:lnTo>
                    <a:pt x="630" y="92286"/>
                  </a:lnTo>
                  <a:lnTo>
                    <a:pt x="0" y="107822"/>
                  </a:lnTo>
                  <a:lnTo>
                    <a:pt x="1141" y="28165"/>
                  </a:lnTo>
                  <a:lnTo>
                    <a:pt x="7907" y="1376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32" name="Google Shape;2232;p25"/>
            <p:cNvSpPr/>
            <p:nvPr/>
          </p:nvSpPr>
          <p:spPr>
            <a:xfrm>
              <a:off x="465894" y="6930670"/>
              <a:ext cx="394858" cy="394272"/>
            </a:xfrm>
            <a:custGeom>
              <a:avLst/>
              <a:gdLst/>
              <a:ahLst/>
              <a:cxnLst/>
              <a:rect l="l" t="t" r="r" b="b"/>
              <a:pathLst>
                <a:path w="394858" h="394272" extrusionOk="0">
                  <a:moveTo>
                    <a:pt x="654" y="180967"/>
                  </a:moveTo>
                  <a:lnTo>
                    <a:pt x="2584" y="165159"/>
                  </a:lnTo>
                  <a:lnTo>
                    <a:pt x="5737" y="149761"/>
                  </a:lnTo>
                  <a:lnTo>
                    <a:pt x="10065" y="134825"/>
                  </a:lnTo>
                  <a:lnTo>
                    <a:pt x="15514" y="120401"/>
                  </a:lnTo>
                  <a:lnTo>
                    <a:pt x="22036" y="106540"/>
                  </a:lnTo>
                  <a:lnTo>
                    <a:pt x="29579" y="93293"/>
                  </a:lnTo>
                  <a:lnTo>
                    <a:pt x="38092" y="80709"/>
                  </a:lnTo>
                  <a:lnTo>
                    <a:pt x="47524" y="68841"/>
                  </a:lnTo>
                  <a:lnTo>
                    <a:pt x="57825" y="57739"/>
                  </a:lnTo>
                  <a:lnTo>
                    <a:pt x="68944" y="47454"/>
                  </a:lnTo>
                  <a:lnTo>
                    <a:pt x="80830" y="38035"/>
                  </a:lnTo>
                  <a:lnTo>
                    <a:pt x="93431" y="29535"/>
                  </a:lnTo>
                  <a:lnTo>
                    <a:pt x="106699" y="22003"/>
                  </a:lnTo>
                  <a:lnTo>
                    <a:pt x="120580" y="15491"/>
                  </a:lnTo>
                  <a:lnTo>
                    <a:pt x="135026" y="10050"/>
                  </a:lnTo>
                  <a:lnTo>
                    <a:pt x="149984" y="5729"/>
                  </a:lnTo>
                  <a:lnTo>
                    <a:pt x="165405" y="2580"/>
                  </a:lnTo>
                  <a:lnTo>
                    <a:pt x="181236" y="653"/>
                  </a:lnTo>
                  <a:lnTo>
                    <a:pt x="197429" y="0"/>
                  </a:lnTo>
                  <a:lnTo>
                    <a:pt x="213621" y="653"/>
                  </a:lnTo>
                  <a:lnTo>
                    <a:pt x="229453" y="2580"/>
                  </a:lnTo>
                  <a:lnTo>
                    <a:pt x="244873" y="5729"/>
                  </a:lnTo>
                  <a:lnTo>
                    <a:pt x="259832" y="10050"/>
                  </a:lnTo>
                  <a:lnTo>
                    <a:pt x="274277" y="15491"/>
                  </a:lnTo>
                  <a:lnTo>
                    <a:pt x="288159" y="22003"/>
                  </a:lnTo>
                  <a:lnTo>
                    <a:pt x="301426" y="29535"/>
                  </a:lnTo>
                  <a:lnTo>
                    <a:pt x="314028" y="38035"/>
                  </a:lnTo>
                  <a:lnTo>
                    <a:pt x="325913" y="47454"/>
                  </a:lnTo>
                  <a:lnTo>
                    <a:pt x="337032" y="57739"/>
                  </a:lnTo>
                  <a:lnTo>
                    <a:pt x="347333" y="68842"/>
                  </a:lnTo>
                  <a:lnTo>
                    <a:pt x="356765" y="80710"/>
                  </a:lnTo>
                  <a:lnTo>
                    <a:pt x="365278" y="93293"/>
                  </a:lnTo>
                  <a:lnTo>
                    <a:pt x="372821" y="106540"/>
                  </a:lnTo>
                  <a:lnTo>
                    <a:pt x="379343" y="120401"/>
                  </a:lnTo>
                  <a:lnTo>
                    <a:pt x="384793" y="134825"/>
                  </a:lnTo>
                  <a:lnTo>
                    <a:pt x="389120" y="149761"/>
                  </a:lnTo>
                  <a:lnTo>
                    <a:pt x="392274" y="165159"/>
                  </a:lnTo>
                  <a:lnTo>
                    <a:pt x="394203" y="180967"/>
                  </a:lnTo>
                  <a:lnTo>
                    <a:pt x="394858" y="197136"/>
                  </a:lnTo>
                  <a:lnTo>
                    <a:pt x="394203" y="213304"/>
                  </a:lnTo>
                  <a:lnTo>
                    <a:pt x="392274" y="229112"/>
                  </a:lnTo>
                  <a:lnTo>
                    <a:pt x="389120" y="244510"/>
                  </a:lnTo>
                  <a:lnTo>
                    <a:pt x="384793" y="259446"/>
                  </a:lnTo>
                  <a:lnTo>
                    <a:pt x="379343" y="273870"/>
                  </a:lnTo>
                  <a:lnTo>
                    <a:pt x="372821" y="287731"/>
                  </a:lnTo>
                  <a:lnTo>
                    <a:pt x="365278" y="300979"/>
                  </a:lnTo>
                  <a:lnTo>
                    <a:pt x="356765" y="313562"/>
                  </a:lnTo>
                  <a:lnTo>
                    <a:pt x="347333" y="325430"/>
                  </a:lnTo>
                  <a:lnTo>
                    <a:pt x="337032" y="336532"/>
                  </a:lnTo>
                  <a:lnTo>
                    <a:pt x="325913" y="346818"/>
                  </a:lnTo>
                  <a:lnTo>
                    <a:pt x="314028" y="356236"/>
                  </a:lnTo>
                  <a:lnTo>
                    <a:pt x="301426" y="364737"/>
                  </a:lnTo>
                  <a:lnTo>
                    <a:pt x="288159" y="372268"/>
                  </a:lnTo>
                  <a:lnTo>
                    <a:pt x="274277" y="378780"/>
                  </a:lnTo>
                  <a:lnTo>
                    <a:pt x="259832" y="384222"/>
                  </a:lnTo>
                  <a:lnTo>
                    <a:pt x="244873" y="388543"/>
                  </a:lnTo>
                  <a:lnTo>
                    <a:pt x="229453" y="391692"/>
                  </a:lnTo>
                  <a:lnTo>
                    <a:pt x="213621" y="393619"/>
                  </a:lnTo>
                  <a:lnTo>
                    <a:pt x="197429" y="394272"/>
                  </a:lnTo>
                  <a:lnTo>
                    <a:pt x="181236" y="393619"/>
                  </a:lnTo>
                  <a:lnTo>
                    <a:pt x="165405" y="391692"/>
                  </a:lnTo>
                  <a:lnTo>
                    <a:pt x="149984" y="388543"/>
                  </a:lnTo>
                  <a:lnTo>
                    <a:pt x="135026" y="384222"/>
                  </a:lnTo>
                  <a:lnTo>
                    <a:pt x="120580" y="378780"/>
                  </a:lnTo>
                  <a:lnTo>
                    <a:pt x="106699" y="372268"/>
                  </a:lnTo>
                  <a:lnTo>
                    <a:pt x="93431" y="364737"/>
                  </a:lnTo>
                  <a:lnTo>
                    <a:pt x="80830" y="356236"/>
                  </a:lnTo>
                  <a:lnTo>
                    <a:pt x="68944" y="346818"/>
                  </a:lnTo>
                  <a:lnTo>
                    <a:pt x="57825" y="336532"/>
                  </a:lnTo>
                  <a:lnTo>
                    <a:pt x="47524" y="325430"/>
                  </a:lnTo>
                  <a:lnTo>
                    <a:pt x="38092" y="313562"/>
                  </a:lnTo>
                  <a:lnTo>
                    <a:pt x="29579" y="300979"/>
                  </a:lnTo>
                  <a:lnTo>
                    <a:pt x="22036" y="287731"/>
                  </a:lnTo>
                  <a:lnTo>
                    <a:pt x="15515" y="273870"/>
                  </a:lnTo>
                  <a:lnTo>
                    <a:pt x="10065" y="259446"/>
                  </a:lnTo>
                  <a:lnTo>
                    <a:pt x="5737" y="244510"/>
                  </a:lnTo>
                  <a:lnTo>
                    <a:pt x="2584" y="229113"/>
                  </a:lnTo>
                  <a:lnTo>
                    <a:pt x="654" y="213304"/>
                  </a:lnTo>
                  <a:lnTo>
                    <a:pt x="0" y="197136"/>
                  </a:lnTo>
                  <a:lnTo>
                    <a:pt x="654" y="180967"/>
                  </a:lnTo>
                  <a:close/>
                </a:path>
              </a:pathLst>
            </a:custGeom>
            <a:solidFill>
              <a:srgbClr val="CECFC8"/>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33" name="Google Shape;2233;p25"/>
            <p:cNvSpPr/>
            <p:nvPr/>
          </p:nvSpPr>
          <p:spPr>
            <a:xfrm>
              <a:off x="373784" y="6837540"/>
              <a:ext cx="578798" cy="581782"/>
            </a:xfrm>
            <a:custGeom>
              <a:avLst/>
              <a:gdLst/>
              <a:ahLst/>
              <a:cxnLst/>
              <a:rect l="l" t="t" r="r" b="b"/>
              <a:pathLst>
                <a:path w="578798" h="581782" extrusionOk="0">
                  <a:moveTo>
                    <a:pt x="312805" y="580950"/>
                  </a:moveTo>
                  <a:lnTo>
                    <a:pt x="335838" y="578244"/>
                  </a:lnTo>
                  <a:lnTo>
                    <a:pt x="358281" y="573741"/>
                  </a:lnTo>
                  <a:lnTo>
                    <a:pt x="380061" y="567517"/>
                  </a:lnTo>
                  <a:lnTo>
                    <a:pt x="401106" y="559648"/>
                  </a:lnTo>
                  <a:lnTo>
                    <a:pt x="421341" y="550210"/>
                  </a:lnTo>
                  <a:lnTo>
                    <a:pt x="440694" y="539279"/>
                  </a:lnTo>
                  <a:lnTo>
                    <a:pt x="459093" y="526931"/>
                  </a:lnTo>
                  <a:lnTo>
                    <a:pt x="476463" y="513243"/>
                  </a:lnTo>
                  <a:lnTo>
                    <a:pt x="492732" y="498289"/>
                  </a:lnTo>
                  <a:lnTo>
                    <a:pt x="507827" y="482148"/>
                  </a:lnTo>
                  <a:lnTo>
                    <a:pt x="521675" y="464893"/>
                  </a:lnTo>
                  <a:lnTo>
                    <a:pt x="534203" y="446602"/>
                  </a:lnTo>
                  <a:lnTo>
                    <a:pt x="545338" y="427351"/>
                  </a:lnTo>
                  <a:lnTo>
                    <a:pt x="555006" y="407215"/>
                  </a:lnTo>
                  <a:lnTo>
                    <a:pt x="563135" y="386271"/>
                  </a:lnTo>
                  <a:lnTo>
                    <a:pt x="569652" y="364595"/>
                  </a:lnTo>
                  <a:lnTo>
                    <a:pt x="574483" y="342262"/>
                  </a:lnTo>
                  <a:lnTo>
                    <a:pt x="577557" y="319350"/>
                  </a:lnTo>
                  <a:lnTo>
                    <a:pt x="578727" y="297270"/>
                  </a:lnTo>
                  <a:lnTo>
                    <a:pt x="578727" y="283601"/>
                  </a:lnTo>
                  <a:lnTo>
                    <a:pt x="577155" y="258101"/>
                  </a:lnTo>
                  <a:lnTo>
                    <a:pt x="573349" y="232358"/>
                  </a:lnTo>
                  <a:lnTo>
                    <a:pt x="567353" y="207471"/>
                  </a:lnTo>
                  <a:lnTo>
                    <a:pt x="559165" y="183453"/>
                  </a:lnTo>
                  <a:lnTo>
                    <a:pt x="548787" y="160315"/>
                  </a:lnTo>
                  <a:lnTo>
                    <a:pt x="536217" y="138070"/>
                  </a:lnTo>
                  <a:lnTo>
                    <a:pt x="521458" y="116731"/>
                  </a:lnTo>
                  <a:lnTo>
                    <a:pt x="504507" y="96309"/>
                  </a:lnTo>
                  <a:lnTo>
                    <a:pt x="489695" y="80985"/>
                  </a:lnTo>
                  <a:lnTo>
                    <a:pt x="469619" y="63122"/>
                  </a:lnTo>
                  <a:lnTo>
                    <a:pt x="448594" y="47465"/>
                  </a:lnTo>
                  <a:lnTo>
                    <a:pt x="426633" y="34023"/>
                  </a:lnTo>
                  <a:lnTo>
                    <a:pt x="403744" y="22801"/>
                  </a:lnTo>
                  <a:lnTo>
                    <a:pt x="379938" y="13809"/>
                  </a:lnTo>
                  <a:lnTo>
                    <a:pt x="355225" y="7053"/>
                  </a:lnTo>
                  <a:lnTo>
                    <a:pt x="329616" y="2542"/>
                  </a:lnTo>
                  <a:lnTo>
                    <a:pt x="303120" y="282"/>
                  </a:lnTo>
                  <a:lnTo>
                    <a:pt x="289542" y="0"/>
                  </a:lnTo>
                  <a:lnTo>
                    <a:pt x="288387" y="2"/>
                  </a:lnTo>
                  <a:lnTo>
                    <a:pt x="261590" y="1221"/>
                  </a:lnTo>
                  <a:lnTo>
                    <a:pt x="235619" y="4686"/>
                  </a:lnTo>
                  <a:lnTo>
                    <a:pt x="210496" y="10391"/>
                  </a:lnTo>
                  <a:lnTo>
                    <a:pt x="186244" y="18329"/>
                  </a:lnTo>
                  <a:lnTo>
                    <a:pt x="162884" y="28496"/>
                  </a:lnTo>
                  <a:lnTo>
                    <a:pt x="140438" y="40885"/>
                  </a:lnTo>
                  <a:lnTo>
                    <a:pt x="118930" y="55492"/>
                  </a:lnTo>
                  <a:lnTo>
                    <a:pt x="98380" y="72310"/>
                  </a:lnTo>
                  <a:lnTo>
                    <a:pt x="79986" y="90113"/>
                  </a:lnTo>
                  <a:lnTo>
                    <a:pt x="62381" y="110184"/>
                  </a:lnTo>
                  <a:lnTo>
                    <a:pt x="46955" y="131228"/>
                  </a:lnTo>
                  <a:lnTo>
                    <a:pt x="33712" y="153232"/>
                  </a:lnTo>
                  <a:lnTo>
                    <a:pt x="22655" y="176180"/>
                  </a:lnTo>
                  <a:lnTo>
                    <a:pt x="29523" y="180559"/>
                  </a:lnTo>
                  <a:lnTo>
                    <a:pt x="38901" y="160578"/>
                  </a:lnTo>
                  <a:lnTo>
                    <a:pt x="49740" y="141488"/>
                  </a:lnTo>
                  <a:lnTo>
                    <a:pt x="61964" y="123364"/>
                  </a:lnTo>
                  <a:lnTo>
                    <a:pt x="75498" y="106277"/>
                  </a:lnTo>
                  <a:lnTo>
                    <a:pt x="90266" y="90300"/>
                  </a:lnTo>
                  <a:lnTo>
                    <a:pt x="106194" y="75505"/>
                  </a:lnTo>
                  <a:lnTo>
                    <a:pt x="123205" y="61964"/>
                  </a:lnTo>
                  <a:lnTo>
                    <a:pt x="141224" y="49751"/>
                  </a:lnTo>
                  <a:lnTo>
                    <a:pt x="160176" y="38936"/>
                  </a:lnTo>
                  <a:lnTo>
                    <a:pt x="179985" y="29594"/>
                  </a:lnTo>
                  <a:lnTo>
                    <a:pt x="200577" y="21795"/>
                  </a:lnTo>
                  <a:lnTo>
                    <a:pt x="221875" y="15614"/>
                  </a:lnTo>
                  <a:lnTo>
                    <a:pt x="243804" y="11121"/>
                  </a:lnTo>
                  <a:lnTo>
                    <a:pt x="266290" y="8389"/>
                  </a:lnTo>
                  <a:lnTo>
                    <a:pt x="289255" y="7492"/>
                  </a:lnTo>
                  <a:lnTo>
                    <a:pt x="312254" y="8383"/>
                  </a:lnTo>
                  <a:lnTo>
                    <a:pt x="334753" y="11095"/>
                  </a:lnTo>
                  <a:lnTo>
                    <a:pt x="356680" y="15555"/>
                  </a:lnTo>
                  <a:lnTo>
                    <a:pt x="377963" y="21692"/>
                  </a:lnTo>
                  <a:lnTo>
                    <a:pt x="398529" y="29432"/>
                  </a:lnTo>
                  <a:lnTo>
                    <a:pt x="418306" y="38703"/>
                  </a:lnTo>
                  <a:lnTo>
                    <a:pt x="437220" y="49433"/>
                  </a:lnTo>
                  <a:lnTo>
                    <a:pt x="455200" y="61549"/>
                  </a:lnTo>
                  <a:lnTo>
                    <a:pt x="472172" y="74979"/>
                  </a:lnTo>
                  <a:lnTo>
                    <a:pt x="488065" y="89651"/>
                  </a:lnTo>
                  <a:lnTo>
                    <a:pt x="502804" y="105492"/>
                  </a:lnTo>
                  <a:lnTo>
                    <a:pt x="516319" y="122430"/>
                  </a:lnTo>
                  <a:lnTo>
                    <a:pt x="528536" y="140393"/>
                  </a:lnTo>
                  <a:lnTo>
                    <a:pt x="539382" y="159307"/>
                  </a:lnTo>
                  <a:lnTo>
                    <a:pt x="548786" y="179101"/>
                  </a:lnTo>
                  <a:lnTo>
                    <a:pt x="556673" y="199702"/>
                  </a:lnTo>
                  <a:lnTo>
                    <a:pt x="562973" y="221037"/>
                  </a:lnTo>
                  <a:lnTo>
                    <a:pt x="567612" y="243036"/>
                  </a:lnTo>
                  <a:lnTo>
                    <a:pt x="570518" y="265624"/>
                  </a:lnTo>
                  <a:lnTo>
                    <a:pt x="571617" y="288730"/>
                  </a:lnTo>
                  <a:lnTo>
                    <a:pt x="570838" y="312392"/>
                  </a:lnTo>
                  <a:lnTo>
                    <a:pt x="568207" y="335447"/>
                  </a:lnTo>
                  <a:lnTo>
                    <a:pt x="563806" y="357832"/>
                  </a:lnTo>
                  <a:lnTo>
                    <a:pt x="557714" y="379482"/>
                  </a:lnTo>
                  <a:lnTo>
                    <a:pt x="550011" y="400335"/>
                  </a:lnTo>
                  <a:lnTo>
                    <a:pt x="540776" y="420328"/>
                  </a:lnTo>
                  <a:lnTo>
                    <a:pt x="530088" y="439398"/>
                  </a:lnTo>
                  <a:lnTo>
                    <a:pt x="518029" y="457482"/>
                  </a:lnTo>
                  <a:lnTo>
                    <a:pt x="504676" y="474516"/>
                  </a:lnTo>
                  <a:lnTo>
                    <a:pt x="490111" y="490437"/>
                  </a:lnTo>
                  <a:lnTo>
                    <a:pt x="474413" y="505183"/>
                  </a:lnTo>
                  <a:lnTo>
                    <a:pt x="457661" y="518690"/>
                  </a:lnTo>
                  <a:lnTo>
                    <a:pt x="439936" y="530895"/>
                  </a:lnTo>
                  <a:lnTo>
                    <a:pt x="421316" y="541736"/>
                  </a:lnTo>
                  <a:lnTo>
                    <a:pt x="401882" y="551148"/>
                  </a:lnTo>
                  <a:lnTo>
                    <a:pt x="381714" y="559069"/>
                  </a:lnTo>
                  <a:lnTo>
                    <a:pt x="360890" y="565435"/>
                  </a:lnTo>
                  <a:lnTo>
                    <a:pt x="339491" y="570184"/>
                  </a:lnTo>
                  <a:lnTo>
                    <a:pt x="317597" y="573253"/>
                  </a:lnTo>
                  <a:lnTo>
                    <a:pt x="295287" y="574578"/>
                  </a:lnTo>
                  <a:lnTo>
                    <a:pt x="271578" y="574071"/>
                  </a:lnTo>
                  <a:lnTo>
                    <a:pt x="248411" y="571650"/>
                  </a:lnTo>
                  <a:lnTo>
                    <a:pt x="225860" y="567395"/>
                  </a:lnTo>
                  <a:lnTo>
                    <a:pt x="203996" y="561385"/>
                  </a:lnTo>
                  <a:lnTo>
                    <a:pt x="182894" y="553701"/>
                  </a:lnTo>
                  <a:lnTo>
                    <a:pt x="162625" y="544420"/>
                  </a:lnTo>
                  <a:lnTo>
                    <a:pt x="143263" y="533622"/>
                  </a:lnTo>
                  <a:lnTo>
                    <a:pt x="124880" y="521387"/>
                  </a:lnTo>
                  <a:lnTo>
                    <a:pt x="107549" y="507794"/>
                  </a:lnTo>
                  <a:lnTo>
                    <a:pt x="91343" y="492923"/>
                  </a:lnTo>
                  <a:lnTo>
                    <a:pt x="76336" y="476851"/>
                  </a:lnTo>
                  <a:lnTo>
                    <a:pt x="62598" y="459660"/>
                  </a:lnTo>
                  <a:lnTo>
                    <a:pt x="50204" y="441428"/>
                  </a:lnTo>
                  <a:lnTo>
                    <a:pt x="39227" y="422234"/>
                  </a:lnTo>
                  <a:lnTo>
                    <a:pt x="29738" y="402159"/>
                  </a:lnTo>
                  <a:lnTo>
                    <a:pt x="21812" y="381280"/>
                  </a:lnTo>
                  <a:lnTo>
                    <a:pt x="15520" y="359678"/>
                  </a:lnTo>
                  <a:lnTo>
                    <a:pt x="10936" y="337431"/>
                  </a:lnTo>
                  <a:lnTo>
                    <a:pt x="8132" y="314620"/>
                  </a:lnTo>
                  <a:lnTo>
                    <a:pt x="7181" y="291323"/>
                  </a:lnTo>
                  <a:lnTo>
                    <a:pt x="8125" y="267964"/>
                  </a:lnTo>
                  <a:lnTo>
                    <a:pt x="10170" y="212341"/>
                  </a:lnTo>
                  <a:lnTo>
                    <a:pt x="7104" y="224852"/>
                  </a:lnTo>
                  <a:lnTo>
                    <a:pt x="4586" y="237587"/>
                  </a:lnTo>
                  <a:lnTo>
                    <a:pt x="2616" y="250547"/>
                  </a:lnTo>
                  <a:lnTo>
                    <a:pt x="1195" y="263727"/>
                  </a:lnTo>
                  <a:lnTo>
                    <a:pt x="322" y="277128"/>
                  </a:lnTo>
                  <a:lnTo>
                    <a:pt x="0" y="290747"/>
                  </a:lnTo>
                  <a:lnTo>
                    <a:pt x="852" y="314710"/>
                  </a:lnTo>
                  <a:lnTo>
                    <a:pt x="3616" y="338139"/>
                  </a:lnTo>
                  <a:lnTo>
                    <a:pt x="8211" y="360957"/>
                  </a:lnTo>
                  <a:lnTo>
                    <a:pt x="14557" y="383090"/>
                  </a:lnTo>
                  <a:lnTo>
                    <a:pt x="22575" y="404459"/>
                  </a:lnTo>
                  <a:lnTo>
                    <a:pt x="32185" y="424991"/>
                  </a:lnTo>
                  <a:lnTo>
                    <a:pt x="43308" y="444607"/>
                  </a:lnTo>
                  <a:lnTo>
                    <a:pt x="55863" y="463233"/>
                  </a:lnTo>
                  <a:lnTo>
                    <a:pt x="69771" y="480793"/>
                  </a:lnTo>
                  <a:lnTo>
                    <a:pt x="84952" y="497209"/>
                  </a:lnTo>
                  <a:lnTo>
                    <a:pt x="101327" y="512406"/>
                  </a:lnTo>
                  <a:lnTo>
                    <a:pt x="118816" y="526309"/>
                  </a:lnTo>
                  <a:lnTo>
                    <a:pt x="137338" y="538841"/>
                  </a:lnTo>
                  <a:lnTo>
                    <a:pt x="156815" y="549925"/>
                  </a:lnTo>
                  <a:lnTo>
                    <a:pt x="177167" y="559486"/>
                  </a:lnTo>
                  <a:lnTo>
                    <a:pt x="198313" y="567448"/>
                  </a:lnTo>
                  <a:lnTo>
                    <a:pt x="220175" y="573735"/>
                  </a:lnTo>
                  <a:lnTo>
                    <a:pt x="242673" y="578270"/>
                  </a:lnTo>
                  <a:lnTo>
                    <a:pt x="265726" y="580978"/>
                  </a:lnTo>
                  <a:lnTo>
                    <a:pt x="287513" y="581723"/>
                  </a:lnTo>
                  <a:lnTo>
                    <a:pt x="290940" y="581723"/>
                  </a:lnTo>
                  <a:lnTo>
                    <a:pt x="312805" y="580950"/>
                  </a:lnTo>
                  <a:close/>
                </a:path>
                <a:path w="578798" h="581782" extrusionOk="0">
                  <a:moveTo>
                    <a:pt x="10906" y="245136"/>
                  </a:moveTo>
                  <a:lnTo>
                    <a:pt x="15450" y="222911"/>
                  </a:lnTo>
                  <a:lnTo>
                    <a:pt x="21681" y="201361"/>
                  </a:lnTo>
                  <a:lnTo>
                    <a:pt x="29523" y="180559"/>
                  </a:lnTo>
                  <a:lnTo>
                    <a:pt x="22655" y="176180"/>
                  </a:lnTo>
                  <a:lnTo>
                    <a:pt x="17946" y="188003"/>
                  </a:lnTo>
                  <a:lnTo>
                    <a:pt x="13784" y="200058"/>
                  </a:lnTo>
                  <a:lnTo>
                    <a:pt x="10170" y="212341"/>
                  </a:lnTo>
                  <a:lnTo>
                    <a:pt x="8125" y="267964"/>
                  </a:lnTo>
                  <a:lnTo>
                    <a:pt x="10906" y="24513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34" name="Google Shape;2234;p25"/>
            <p:cNvSpPr/>
            <p:nvPr/>
          </p:nvSpPr>
          <p:spPr>
            <a:xfrm>
              <a:off x="584244" y="6885923"/>
              <a:ext cx="13282" cy="27816"/>
            </a:xfrm>
            <a:custGeom>
              <a:avLst/>
              <a:gdLst/>
              <a:ahLst/>
              <a:cxnLst/>
              <a:rect l="l" t="t" r="r" b="b"/>
              <a:pathLst>
                <a:path w="13282" h="27816" extrusionOk="0">
                  <a:moveTo>
                    <a:pt x="7379" y="2367"/>
                  </a:moveTo>
                  <a:lnTo>
                    <a:pt x="8559" y="1479"/>
                  </a:lnTo>
                  <a:lnTo>
                    <a:pt x="11216" y="0"/>
                  </a:lnTo>
                  <a:lnTo>
                    <a:pt x="12101" y="295"/>
                  </a:lnTo>
                  <a:lnTo>
                    <a:pt x="12987" y="3255"/>
                  </a:lnTo>
                  <a:lnTo>
                    <a:pt x="13282" y="4734"/>
                  </a:lnTo>
                  <a:lnTo>
                    <a:pt x="12987" y="5622"/>
                  </a:lnTo>
                  <a:lnTo>
                    <a:pt x="11511" y="6214"/>
                  </a:lnTo>
                  <a:lnTo>
                    <a:pt x="8559" y="7398"/>
                  </a:lnTo>
                  <a:lnTo>
                    <a:pt x="7083" y="10061"/>
                  </a:lnTo>
                  <a:lnTo>
                    <a:pt x="7969" y="13612"/>
                  </a:lnTo>
                  <a:lnTo>
                    <a:pt x="8854" y="16867"/>
                  </a:lnTo>
                  <a:lnTo>
                    <a:pt x="10035" y="20418"/>
                  </a:lnTo>
                  <a:lnTo>
                    <a:pt x="11216" y="23969"/>
                  </a:lnTo>
                  <a:lnTo>
                    <a:pt x="11511" y="25449"/>
                  </a:lnTo>
                  <a:lnTo>
                    <a:pt x="11216" y="26337"/>
                  </a:lnTo>
                  <a:lnTo>
                    <a:pt x="9445" y="26633"/>
                  </a:lnTo>
                  <a:lnTo>
                    <a:pt x="7969" y="27225"/>
                  </a:lnTo>
                  <a:lnTo>
                    <a:pt x="6493" y="27816"/>
                  </a:lnTo>
                  <a:lnTo>
                    <a:pt x="5903" y="25449"/>
                  </a:lnTo>
                  <a:lnTo>
                    <a:pt x="4132" y="19235"/>
                  </a:lnTo>
                  <a:lnTo>
                    <a:pt x="2066" y="13020"/>
                  </a:lnTo>
                  <a:lnTo>
                    <a:pt x="295" y="6806"/>
                  </a:lnTo>
                  <a:lnTo>
                    <a:pt x="0" y="6214"/>
                  </a:lnTo>
                  <a:lnTo>
                    <a:pt x="295" y="4734"/>
                  </a:lnTo>
                  <a:lnTo>
                    <a:pt x="885" y="4438"/>
                  </a:lnTo>
                  <a:lnTo>
                    <a:pt x="2361" y="4142"/>
                  </a:lnTo>
                  <a:lnTo>
                    <a:pt x="5608" y="4142"/>
                  </a:lnTo>
                  <a:lnTo>
                    <a:pt x="6493" y="3255"/>
                  </a:lnTo>
                  <a:lnTo>
                    <a:pt x="7379" y="2367"/>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35" name="Google Shape;2235;p25"/>
            <p:cNvSpPr/>
            <p:nvPr/>
          </p:nvSpPr>
          <p:spPr>
            <a:xfrm>
              <a:off x="570946" y="7332195"/>
              <a:ext cx="32603" cy="37491"/>
            </a:xfrm>
            <a:custGeom>
              <a:avLst/>
              <a:gdLst/>
              <a:ahLst/>
              <a:cxnLst/>
              <a:rect l="l" t="t" r="r" b="b"/>
              <a:pathLst>
                <a:path w="32603" h="37491" extrusionOk="0">
                  <a:moveTo>
                    <a:pt x="12647" y="10172"/>
                  </a:moveTo>
                  <a:lnTo>
                    <a:pt x="9275" y="13369"/>
                  </a:lnTo>
                  <a:lnTo>
                    <a:pt x="7588" y="17728"/>
                  </a:lnTo>
                  <a:lnTo>
                    <a:pt x="7869" y="22378"/>
                  </a:lnTo>
                  <a:lnTo>
                    <a:pt x="8150" y="25866"/>
                  </a:lnTo>
                  <a:lnTo>
                    <a:pt x="10118" y="28191"/>
                  </a:lnTo>
                  <a:lnTo>
                    <a:pt x="13490" y="29354"/>
                  </a:lnTo>
                  <a:lnTo>
                    <a:pt x="16301" y="30226"/>
                  </a:lnTo>
                  <a:lnTo>
                    <a:pt x="19112" y="29354"/>
                  </a:lnTo>
                  <a:lnTo>
                    <a:pt x="21079" y="26738"/>
                  </a:lnTo>
                  <a:lnTo>
                    <a:pt x="22484" y="24994"/>
                  </a:lnTo>
                  <a:lnTo>
                    <a:pt x="27825" y="25866"/>
                  </a:lnTo>
                  <a:lnTo>
                    <a:pt x="28387" y="27900"/>
                  </a:lnTo>
                  <a:lnTo>
                    <a:pt x="28668" y="28482"/>
                  </a:lnTo>
                  <a:lnTo>
                    <a:pt x="28387" y="29644"/>
                  </a:lnTo>
                  <a:lnTo>
                    <a:pt x="27825" y="30516"/>
                  </a:lnTo>
                  <a:lnTo>
                    <a:pt x="25014" y="34876"/>
                  </a:lnTo>
                  <a:lnTo>
                    <a:pt x="20798" y="37491"/>
                  </a:lnTo>
                  <a:lnTo>
                    <a:pt x="15458" y="36910"/>
                  </a:lnTo>
                  <a:lnTo>
                    <a:pt x="9275" y="36038"/>
                  </a:lnTo>
                  <a:lnTo>
                    <a:pt x="4215" y="33132"/>
                  </a:lnTo>
                  <a:lnTo>
                    <a:pt x="1405" y="27029"/>
                  </a:lnTo>
                  <a:lnTo>
                    <a:pt x="562" y="24994"/>
                  </a:lnTo>
                  <a:lnTo>
                    <a:pt x="562" y="22669"/>
                  </a:lnTo>
                  <a:lnTo>
                    <a:pt x="0" y="21216"/>
                  </a:lnTo>
                  <a:lnTo>
                    <a:pt x="843" y="13659"/>
                  </a:lnTo>
                  <a:lnTo>
                    <a:pt x="2810" y="7556"/>
                  </a:lnTo>
                  <a:lnTo>
                    <a:pt x="8712" y="3487"/>
                  </a:lnTo>
                  <a:lnTo>
                    <a:pt x="14053" y="0"/>
                  </a:lnTo>
                  <a:lnTo>
                    <a:pt x="19674" y="290"/>
                  </a:lnTo>
                  <a:lnTo>
                    <a:pt x="25014" y="3196"/>
                  </a:lnTo>
                  <a:lnTo>
                    <a:pt x="30073" y="5812"/>
                  </a:lnTo>
                  <a:lnTo>
                    <a:pt x="32603" y="9881"/>
                  </a:lnTo>
                  <a:lnTo>
                    <a:pt x="32603" y="19181"/>
                  </a:lnTo>
                  <a:lnTo>
                    <a:pt x="32041" y="19472"/>
                  </a:lnTo>
                  <a:lnTo>
                    <a:pt x="28949" y="18310"/>
                  </a:lnTo>
                  <a:lnTo>
                    <a:pt x="26419" y="17438"/>
                  </a:lnTo>
                  <a:lnTo>
                    <a:pt x="25295" y="16275"/>
                  </a:lnTo>
                  <a:lnTo>
                    <a:pt x="24733" y="13659"/>
                  </a:lnTo>
                  <a:lnTo>
                    <a:pt x="23890" y="8137"/>
                  </a:lnTo>
                  <a:lnTo>
                    <a:pt x="16582" y="6103"/>
                  </a:lnTo>
                  <a:lnTo>
                    <a:pt x="12647" y="1017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36" name="Google Shape;2236;p25"/>
            <p:cNvSpPr/>
            <p:nvPr/>
          </p:nvSpPr>
          <p:spPr>
            <a:xfrm>
              <a:off x="746202" y="7330972"/>
              <a:ext cx="5515" cy="16751"/>
            </a:xfrm>
            <a:custGeom>
              <a:avLst/>
              <a:gdLst/>
              <a:ahLst/>
              <a:cxnLst/>
              <a:rect l="l" t="t" r="r" b="b"/>
              <a:pathLst>
                <a:path w="5515" h="16751" extrusionOk="0">
                  <a:moveTo>
                    <a:pt x="290" y="1444"/>
                  </a:moveTo>
                  <a:lnTo>
                    <a:pt x="2612" y="866"/>
                  </a:lnTo>
                  <a:lnTo>
                    <a:pt x="3483" y="577"/>
                  </a:lnTo>
                  <a:lnTo>
                    <a:pt x="4354" y="0"/>
                  </a:lnTo>
                  <a:lnTo>
                    <a:pt x="5515" y="16751"/>
                  </a:lnTo>
                  <a:lnTo>
                    <a:pt x="2322" y="16751"/>
                  </a:lnTo>
                  <a:lnTo>
                    <a:pt x="1161" y="12130"/>
                  </a:lnTo>
                  <a:lnTo>
                    <a:pt x="3773" y="11841"/>
                  </a:lnTo>
                  <a:lnTo>
                    <a:pt x="2902" y="9530"/>
                  </a:lnTo>
                  <a:lnTo>
                    <a:pt x="2031" y="6931"/>
                  </a:lnTo>
                  <a:lnTo>
                    <a:pt x="870" y="4620"/>
                  </a:lnTo>
                  <a:lnTo>
                    <a:pt x="0" y="2888"/>
                  </a:lnTo>
                  <a:lnTo>
                    <a:pt x="290" y="144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37" name="Google Shape;2237;p25"/>
            <p:cNvSpPr/>
            <p:nvPr/>
          </p:nvSpPr>
          <p:spPr>
            <a:xfrm>
              <a:off x="735172" y="7330972"/>
              <a:ext cx="30187" cy="38700"/>
            </a:xfrm>
            <a:custGeom>
              <a:avLst/>
              <a:gdLst/>
              <a:ahLst/>
              <a:cxnLst/>
              <a:rect l="l" t="t" r="r" b="b"/>
              <a:pathLst>
                <a:path w="30187" h="38700" extrusionOk="0">
                  <a:moveTo>
                    <a:pt x="15384" y="0"/>
                  </a:moveTo>
                  <a:lnTo>
                    <a:pt x="16835" y="0"/>
                  </a:lnTo>
                  <a:lnTo>
                    <a:pt x="18286" y="577"/>
                  </a:lnTo>
                  <a:lnTo>
                    <a:pt x="18577" y="1155"/>
                  </a:lnTo>
                  <a:lnTo>
                    <a:pt x="23330" y="12872"/>
                  </a:lnTo>
                  <a:lnTo>
                    <a:pt x="27953" y="24719"/>
                  </a:lnTo>
                  <a:lnTo>
                    <a:pt x="29607" y="29169"/>
                  </a:lnTo>
                  <a:lnTo>
                    <a:pt x="30187" y="30614"/>
                  </a:lnTo>
                  <a:lnTo>
                    <a:pt x="29897" y="31480"/>
                  </a:lnTo>
                  <a:lnTo>
                    <a:pt x="28446" y="31769"/>
                  </a:lnTo>
                  <a:lnTo>
                    <a:pt x="26704" y="32058"/>
                  </a:lnTo>
                  <a:lnTo>
                    <a:pt x="24962" y="32346"/>
                  </a:lnTo>
                  <a:lnTo>
                    <a:pt x="23221" y="32635"/>
                  </a:lnTo>
                  <a:lnTo>
                    <a:pt x="22931" y="32924"/>
                  </a:lnTo>
                  <a:lnTo>
                    <a:pt x="22350" y="32924"/>
                  </a:lnTo>
                  <a:lnTo>
                    <a:pt x="22060" y="33213"/>
                  </a:lnTo>
                  <a:lnTo>
                    <a:pt x="18867" y="36967"/>
                  </a:lnTo>
                  <a:lnTo>
                    <a:pt x="15093" y="38700"/>
                  </a:lnTo>
                  <a:lnTo>
                    <a:pt x="10159" y="36967"/>
                  </a:lnTo>
                  <a:lnTo>
                    <a:pt x="4934" y="35235"/>
                  </a:lnTo>
                  <a:lnTo>
                    <a:pt x="2322" y="30902"/>
                  </a:lnTo>
                  <a:lnTo>
                    <a:pt x="1451" y="25704"/>
                  </a:lnTo>
                  <a:lnTo>
                    <a:pt x="0" y="19639"/>
                  </a:lnTo>
                  <a:lnTo>
                    <a:pt x="2612" y="14151"/>
                  </a:lnTo>
                  <a:lnTo>
                    <a:pt x="7546" y="12707"/>
                  </a:lnTo>
                  <a:lnTo>
                    <a:pt x="9869" y="11841"/>
                  </a:lnTo>
                  <a:lnTo>
                    <a:pt x="12191" y="12130"/>
                  </a:lnTo>
                  <a:lnTo>
                    <a:pt x="13352" y="16751"/>
                  </a:lnTo>
                  <a:lnTo>
                    <a:pt x="10449" y="16751"/>
                  </a:lnTo>
                  <a:lnTo>
                    <a:pt x="8417" y="19061"/>
                  </a:lnTo>
                  <a:lnTo>
                    <a:pt x="8417" y="27148"/>
                  </a:lnTo>
                  <a:lnTo>
                    <a:pt x="11900" y="31191"/>
                  </a:lnTo>
                  <a:lnTo>
                    <a:pt x="18286" y="31191"/>
                  </a:lnTo>
                  <a:lnTo>
                    <a:pt x="20028" y="28881"/>
                  </a:lnTo>
                  <a:lnTo>
                    <a:pt x="20028" y="21660"/>
                  </a:lnTo>
                  <a:lnTo>
                    <a:pt x="16545" y="16751"/>
                  </a:lnTo>
                  <a:lnTo>
                    <a:pt x="15384" y="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38" name="Google Shape;2238;p25"/>
            <p:cNvSpPr/>
            <p:nvPr/>
          </p:nvSpPr>
          <p:spPr>
            <a:xfrm>
              <a:off x="711026" y="7349116"/>
              <a:ext cx="26564" cy="27816"/>
            </a:xfrm>
            <a:custGeom>
              <a:avLst/>
              <a:gdLst/>
              <a:ahLst/>
              <a:cxnLst/>
              <a:rect l="l" t="t" r="r" b="b"/>
              <a:pathLst>
                <a:path w="26564" h="27816" extrusionOk="0">
                  <a:moveTo>
                    <a:pt x="8854" y="16919"/>
                  </a:moveTo>
                  <a:lnTo>
                    <a:pt x="11140" y="21794"/>
                  </a:lnTo>
                  <a:lnTo>
                    <a:pt x="15710" y="22367"/>
                  </a:lnTo>
                  <a:lnTo>
                    <a:pt x="18566" y="18353"/>
                  </a:lnTo>
                  <a:lnTo>
                    <a:pt x="19995" y="16632"/>
                  </a:lnTo>
                  <a:lnTo>
                    <a:pt x="21708" y="16058"/>
                  </a:lnTo>
                  <a:lnTo>
                    <a:pt x="23422" y="15485"/>
                  </a:lnTo>
                  <a:lnTo>
                    <a:pt x="25136" y="15198"/>
                  </a:lnTo>
                  <a:lnTo>
                    <a:pt x="25993" y="16058"/>
                  </a:lnTo>
                  <a:lnTo>
                    <a:pt x="25422" y="17492"/>
                  </a:lnTo>
                  <a:lnTo>
                    <a:pt x="24279" y="19500"/>
                  </a:lnTo>
                  <a:lnTo>
                    <a:pt x="23422" y="22080"/>
                  </a:lnTo>
                  <a:lnTo>
                    <a:pt x="21708" y="23514"/>
                  </a:lnTo>
                  <a:lnTo>
                    <a:pt x="17995" y="27242"/>
                  </a:lnTo>
                  <a:lnTo>
                    <a:pt x="11140" y="27816"/>
                  </a:lnTo>
                  <a:lnTo>
                    <a:pt x="7141" y="25522"/>
                  </a:lnTo>
                  <a:lnTo>
                    <a:pt x="2856" y="22941"/>
                  </a:lnTo>
                  <a:lnTo>
                    <a:pt x="0" y="16632"/>
                  </a:lnTo>
                  <a:lnTo>
                    <a:pt x="856" y="11183"/>
                  </a:lnTo>
                  <a:lnTo>
                    <a:pt x="1713" y="6308"/>
                  </a:lnTo>
                  <a:lnTo>
                    <a:pt x="4570" y="2867"/>
                  </a:lnTo>
                  <a:lnTo>
                    <a:pt x="7426" y="9176"/>
                  </a:lnTo>
                  <a:lnTo>
                    <a:pt x="7998" y="12044"/>
                  </a:lnTo>
                  <a:lnTo>
                    <a:pt x="10854" y="11470"/>
                  </a:lnTo>
                  <a:lnTo>
                    <a:pt x="13425" y="10610"/>
                  </a:lnTo>
                  <a:lnTo>
                    <a:pt x="16567" y="9749"/>
                  </a:lnTo>
                  <a:lnTo>
                    <a:pt x="15139" y="6882"/>
                  </a:lnTo>
                  <a:lnTo>
                    <a:pt x="13710" y="6022"/>
                  </a:lnTo>
                  <a:lnTo>
                    <a:pt x="13996" y="0"/>
                  </a:lnTo>
                  <a:lnTo>
                    <a:pt x="18281" y="860"/>
                  </a:lnTo>
                  <a:lnTo>
                    <a:pt x="21708" y="4588"/>
                  </a:lnTo>
                  <a:lnTo>
                    <a:pt x="21994" y="4875"/>
                  </a:lnTo>
                  <a:lnTo>
                    <a:pt x="22280" y="5161"/>
                  </a:lnTo>
                  <a:lnTo>
                    <a:pt x="22565" y="5735"/>
                  </a:lnTo>
                  <a:lnTo>
                    <a:pt x="26564" y="11757"/>
                  </a:lnTo>
                  <a:lnTo>
                    <a:pt x="25993" y="12617"/>
                  </a:lnTo>
                  <a:lnTo>
                    <a:pt x="19423" y="14338"/>
                  </a:lnTo>
                  <a:lnTo>
                    <a:pt x="15996" y="15198"/>
                  </a:lnTo>
                  <a:lnTo>
                    <a:pt x="12568" y="16058"/>
                  </a:lnTo>
                  <a:lnTo>
                    <a:pt x="8854" y="16919"/>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39" name="Google Shape;2239;p25"/>
            <p:cNvSpPr/>
            <p:nvPr/>
          </p:nvSpPr>
          <p:spPr>
            <a:xfrm>
              <a:off x="715597" y="7349116"/>
              <a:ext cx="9426" cy="9176"/>
            </a:xfrm>
            <a:custGeom>
              <a:avLst/>
              <a:gdLst/>
              <a:ahLst/>
              <a:cxnLst/>
              <a:rect l="l" t="t" r="r" b="b"/>
              <a:pathLst>
                <a:path w="9426" h="9176" extrusionOk="0">
                  <a:moveTo>
                    <a:pt x="6855" y="6595"/>
                  </a:moveTo>
                  <a:lnTo>
                    <a:pt x="4284" y="7455"/>
                  </a:lnTo>
                  <a:lnTo>
                    <a:pt x="2856" y="9176"/>
                  </a:lnTo>
                  <a:lnTo>
                    <a:pt x="0" y="2867"/>
                  </a:lnTo>
                  <a:lnTo>
                    <a:pt x="4855" y="1433"/>
                  </a:lnTo>
                  <a:lnTo>
                    <a:pt x="9426" y="0"/>
                  </a:lnTo>
                  <a:lnTo>
                    <a:pt x="9140" y="6022"/>
                  </a:lnTo>
                  <a:lnTo>
                    <a:pt x="6855" y="659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40" name="Google Shape;2240;p25"/>
            <p:cNvSpPr/>
            <p:nvPr/>
          </p:nvSpPr>
          <p:spPr>
            <a:xfrm>
              <a:off x="602348" y="7350335"/>
              <a:ext cx="25357" cy="29026"/>
            </a:xfrm>
            <a:custGeom>
              <a:avLst/>
              <a:gdLst/>
              <a:ahLst/>
              <a:cxnLst/>
              <a:rect l="l" t="t" r="r" b="b"/>
              <a:pathLst>
                <a:path w="25357" h="29026" extrusionOk="0">
                  <a:moveTo>
                    <a:pt x="20229" y="27248"/>
                  </a:moveTo>
                  <a:lnTo>
                    <a:pt x="14245" y="29026"/>
                  </a:lnTo>
                  <a:lnTo>
                    <a:pt x="7692" y="26656"/>
                  </a:lnTo>
                  <a:lnTo>
                    <a:pt x="2849" y="24583"/>
                  </a:lnTo>
                  <a:lnTo>
                    <a:pt x="0" y="20140"/>
                  </a:lnTo>
                  <a:lnTo>
                    <a:pt x="569" y="14216"/>
                  </a:lnTo>
                  <a:lnTo>
                    <a:pt x="854" y="7404"/>
                  </a:lnTo>
                  <a:lnTo>
                    <a:pt x="4273" y="2665"/>
                  </a:lnTo>
                  <a:lnTo>
                    <a:pt x="9972" y="1184"/>
                  </a:lnTo>
                  <a:lnTo>
                    <a:pt x="15100" y="0"/>
                  </a:lnTo>
                  <a:lnTo>
                    <a:pt x="20798" y="2073"/>
                  </a:lnTo>
                  <a:lnTo>
                    <a:pt x="23363" y="6516"/>
                  </a:lnTo>
                  <a:lnTo>
                    <a:pt x="25357" y="9774"/>
                  </a:lnTo>
                  <a:lnTo>
                    <a:pt x="25072" y="13328"/>
                  </a:lnTo>
                  <a:lnTo>
                    <a:pt x="24502" y="16882"/>
                  </a:lnTo>
                  <a:lnTo>
                    <a:pt x="24502" y="18659"/>
                  </a:lnTo>
                  <a:lnTo>
                    <a:pt x="23363" y="18955"/>
                  </a:lnTo>
                  <a:lnTo>
                    <a:pt x="21653" y="18659"/>
                  </a:lnTo>
                  <a:lnTo>
                    <a:pt x="17949" y="17474"/>
                  </a:lnTo>
                  <a:lnTo>
                    <a:pt x="17949" y="10070"/>
                  </a:lnTo>
                  <a:lnTo>
                    <a:pt x="16525" y="8885"/>
                  </a:lnTo>
                  <a:lnTo>
                    <a:pt x="15100" y="7108"/>
                  </a:lnTo>
                  <a:lnTo>
                    <a:pt x="13391" y="6812"/>
                  </a:lnTo>
                  <a:lnTo>
                    <a:pt x="11681" y="6219"/>
                  </a:lnTo>
                  <a:lnTo>
                    <a:pt x="9687" y="7404"/>
                  </a:lnTo>
                  <a:lnTo>
                    <a:pt x="9117" y="10070"/>
                  </a:lnTo>
                  <a:lnTo>
                    <a:pt x="11681" y="10662"/>
                  </a:lnTo>
                  <a:lnTo>
                    <a:pt x="13960" y="16586"/>
                  </a:lnTo>
                  <a:lnTo>
                    <a:pt x="9972" y="15697"/>
                  </a:lnTo>
                  <a:lnTo>
                    <a:pt x="9402" y="15401"/>
                  </a:lnTo>
                  <a:lnTo>
                    <a:pt x="7977" y="15401"/>
                  </a:lnTo>
                  <a:lnTo>
                    <a:pt x="7692" y="15993"/>
                  </a:lnTo>
                  <a:lnTo>
                    <a:pt x="7407" y="16586"/>
                  </a:lnTo>
                  <a:lnTo>
                    <a:pt x="7407" y="17771"/>
                  </a:lnTo>
                  <a:lnTo>
                    <a:pt x="7692" y="18659"/>
                  </a:lnTo>
                  <a:lnTo>
                    <a:pt x="8832" y="21325"/>
                  </a:lnTo>
                  <a:lnTo>
                    <a:pt x="12536" y="22806"/>
                  </a:lnTo>
                  <a:lnTo>
                    <a:pt x="15385" y="21029"/>
                  </a:lnTo>
                  <a:lnTo>
                    <a:pt x="17949" y="19548"/>
                  </a:lnTo>
                  <a:lnTo>
                    <a:pt x="20229" y="20436"/>
                  </a:lnTo>
                  <a:lnTo>
                    <a:pt x="22793" y="21621"/>
                  </a:lnTo>
                  <a:lnTo>
                    <a:pt x="20229" y="27248"/>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41" name="Google Shape;2241;p25"/>
            <p:cNvSpPr/>
            <p:nvPr/>
          </p:nvSpPr>
          <p:spPr>
            <a:xfrm>
              <a:off x="614030" y="7360405"/>
              <a:ext cx="6268" cy="7404"/>
            </a:xfrm>
            <a:custGeom>
              <a:avLst/>
              <a:gdLst/>
              <a:ahLst/>
              <a:cxnLst/>
              <a:rect l="l" t="t" r="r" b="b"/>
              <a:pathLst>
                <a:path w="6268" h="7404" extrusionOk="0">
                  <a:moveTo>
                    <a:pt x="6268" y="7404"/>
                  </a:moveTo>
                  <a:lnTo>
                    <a:pt x="2279" y="6516"/>
                  </a:lnTo>
                  <a:lnTo>
                    <a:pt x="0" y="592"/>
                  </a:lnTo>
                  <a:lnTo>
                    <a:pt x="2279" y="1480"/>
                  </a:lnTo>
                  <a:lnTo>
                    <a:pt x="4843" y="1777"/>
                  </a:lnTo>
                  <a:lnTo>
                    <a:pt x="5128" y="1777"/>
                  </a:lnTo>
                  <a:lnTo>
                    <a:pt x="5698" y="592"/>
                  </a:lnTo>
                  <a:lnTo>
                    <a:pt x="6268" y="0"/>
                  </a:lnTo>
                  <a:lnTo>
                    <a:pt x="6268" y="740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42" name="Google Shape;2242;p25"/>
            <p:cNvSpPr/>
            <p:nvPr/>
          </p:nvSpPr>
          <p:spPr>
            <a:xfrm>
              <a:off x="679636" y="7346700"/>
              <a:ext cx="15697" cy="36282"/>
            </a:xfrm>
            <a:custGeom>
              <a:avLst/>
              <a:gdLst/>
              <a:ahLst/>
              <a:cxnLst/>
              <a:rect l="l" t="t" r="r" b="b"/>
              <a:pathLst>
                <a:path w="15697" h="36282" extrusionOk="0">
                  <a:moveTo>
                    <a:pt x="13984" y="6335"/>
                  </a:moveTo>
                  <a:lnTo>
                    <a:pt x="13414" y="6622"/>
                  </a:lnTo>
                  <a:lnTo>
                    <a:pt x="12843" y="7198"/>
                  </a:lnTo>
                  <a:lnTo>
                    <a:pt x="11986" y="7198"/>
                  </a:lnTo>
                  <a:lnTo>
                    <a:pt x="11416" y="7486"/>
                  </a:lnTo>
                  <a:lnTo>
                    <a:pt x="10845" y="8062"/>
                  </a:lnTo>
                  <a:lnTo>
                    <a:pt x="10559" y="8926"/>
                  </a:lnTo>
                  <a:lnTo>
                    <a:pt x="10845" y="9502"/>
                  </a:lnTo>
                  <a:lnTo>
                    <a:pt x="10845" y="9790"/>
                  </a:lnTo>
                  <a:lnTo>
                    <a:pt x="11701" y="10366"/>
                  </a:lnTo>
                  <a:lnTo>
                    <a:pt x="12272" y="10366"/>
                  </a:lnTo>
                  <a:lnTo>
                    <a:pt x="13699" y="10654"/>
                  </a:lnTo>
                  <a:lnTo>
                    <a:pt x="15126" y="9790"/>
                  </a:lnTo>
                  <a:lnTo>
                    <a:pt x="15411" y="12094"/>
                  </a:lnTo>
                  <a:lnTo>
                    <a:pt x="15697" y="14109"/>
                  </a:lnTo>
                  <a:lnTo>
                    <a:pt x="15126" y="15261"/>
                  </a:lnTo>
                  <a:lnTo>
                    <a:pt x="12843" y="15837"/>
                  </a:lnTo>
                  <a:lnTo>
                    <a:pt x="12272" y="15837"/>
                  </a:lnTo>
                  <a:lnTo>
                    <a:pt x="11416" y="16989"/>
                  </a:lnTo>
                  <a:lnTo>
                    <a:pt x="11416" y="17853"/>
                  </a:lnTo>
                  <a:lnTo>
                    <a:pt x="11701" y="22172"/>
                  </a:lnTo>
                  <a:lnTo>
                    <a:pt x="11986" y="26491"/>
                  </a:lnTo>
                  <a:lnTo>
                    <a:pt x="12557" y="30811"/>
                  </a:lnTo>
                  <a:lnTo>
                    <a:pt x="13128" y="34842"/>
                  </a:lnTo>
                  <a:lnTo>
                    <a:pt x="12843" y="35418"/>
                  </a:lnTo>
                  <a:lnTo>
                    <a:pt x="8562" y="35706"/>
                  </a:lnTo>
                  <a:lnTo>
                    <a:pt x="6278" y="36282"/>
                  </a:lnTo>
                  <a:lnTo>
                    <a:pt x="5422" y="35130"/>
                  </a:lnTo>
                  <a:lnTo>
                    <a:pt x="5422" y="32538"/>
                  </a:lnTo>
                  <a:lnTo>
                    <a:pt x="5137" y="28219"/>
                  </a:lnTo>
                  <a:lnTo>
                    <a:pt x="4851" y="23900"/>
                  </a:lnTo>
                  <a:lnTo>
                    <a:pt x="4281" y="19292"/>
                  </a:lnTo>
                  <a:lnTo>
                    <a:pt x="4281" y="17853"/>
                  </a:lnTo>
                  <a:lnTo>
                    <a:pt x="3995" y="16125"/>
                  </a:lnTo>
                  <a:lnTo>
                    <a:pt x="1427" y="16413"/>
                  </a:lnTo>
                  <a:lnTo>
                    <a:pt x="1141" y="16413"/>
                  </a:lnTo>
                  <a:lnTo>
                    <a:pt x="0" y="14973"/>
                  </a:lnTo>
                  <a:lnTo>
                    <a:pt x="0" y="13533"/>
                  </a:lnTo>
                  <a:lnTo>
                    <a:pt x="570" y="11806"/>
                  </a:lnTo>
                  <a:lnTo>
                    <a:pt x="1141" y="11806"/>
                  </a:lnTo>
                  <a:lnTo>
                    <a:pt x="2854" y="11230"/>
                  </a:lnTo>
                  <a:lnTo>
                    <a:pt x="3139" y="10078"/>
                  </a:lnTo>
                  <a:lnTo>
                    <a:pt x="3424" y="8350"/>
                  </a:lnTo>
                  <a:lnTo>
                    <a:pt x="3995" y="3455"/>
                  </a:lnTo>
                  <a:lnTo>
                    <a:pt x="8847" y="0"/>
                  </a:lnTo>
                  <a:lnTo>
                    <a:pt x="13128" y="1439"/>
                  </a:lnTo>
                  <a:lnTo>
                    <a:pt x="13984" y="1727"/>
                  </a:lnTo>
                  <a:lnTo>
                    <a:pt x="14555" y="3743"/>
                  </a:lnTo>
                  <a:lnTo>
                    <a:pt x="14841" y="4895"/>
                  </a:lnTo>
                  <a:lnTo>
                    <a:pt x="15126" y="5471"/>
                  </a:lnTo>
                  <a:lnTo>
                    <a:pt x="13984" y="633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43" name="Google Shape;2243;p25"/>
            <p:cNvSpPr/>
            <p:nvPr/>
          </p:nvSpPr>
          <p:spPr>
            <a:xfrm>
              <a:off x="649439" y="7350331"/>
              <a:ext cx="16905" cy="32654"/>
            </a:xfrm>
            <a:custGeom>
              <a:avLst/>
              <a:gdLst/>
              <a:ahLst/>
              <a:cxnLst/>
              <a:rect l="l" t="t" r="r" b="b"/>
              <a:pathLst>
                <a:path w="16905" h="32654" extrusionOk="0">
                  <a:moveTo>
                    <a:pt x="14864" y="12536"/>
                  </a:moveTo>
                  <a:lnTo>
                    <a:pt x="14281" y="12536"/>
                  </a:lnTo>
                  <a:lnTo>
                    <a:pt x="11658" y="12245"/>
                  </a:lnTo>
                  <a:lnTo>
                    <a:pt x="11075" y="13702"/>
                  </a:lnTo>
                  <a:lnTo>
                    <a:pt x="11075" y="18367"/>
                  </a:lnTo>
                  <a:lnTo>
                    <a:pt x="10784" y="20991"/>
                  </a:lnTo>
                  <a:lnTo>
                    <a:pt x="10784" y="23324"/>
                  </a:lnTo>
                  <a:lnTo>
                    <a:pt x="10492" y="25656"/>
                  </a:lnTo>
                  <a:lnTo>
                    <a:pt x="11075" y="26822"/>
                  </a:lnTo>
                  <a:lnTo>
                    <a:pt x="13407" y="27114"/>
                  </a:lnTo>
                  <a:lnTo>
                    <a:pt x="14281" y="27406"/>
                  </a:lnTo>
                  <a:lnTo>
                    <a:pt x="15447" y="28572"/>
                  </a:lnTo>
                  <a:lnTo>
                    <a:pt x="15447" y="29446"/>
                  </a:lnTo>
                  <a:lnTo>
                    <a:pt x="15739" y="30904"/>
                  </a:lnTo>
                  <a:lnTo>
                    <a:pt x="15447" y="32362"/>
                  </a:lnTo>
                  <a:lnTo>
                    <a:pt x="13407" y="32654"/>
                  </a:lnTo>
                  <a:lnTo>
                    <a:pt x="4954" y="32654"/>
                  </a:lnTo>
                  <a:lnTo>
                    <a:pt x="3206" y="30613"/>
                  </a:lnTo>
                  <a:lnTo>
                    <a:pt x="3789" y="25365"/>
                  </a:lnTo>
                  <a:lnTo>
                    <a:pt x="3789" y="13411"/>
                  </a:lnTo>
                  <a:lnTo>
                    <a:pt x="3497" y="12245"/>
                  </a:lnTo>
                  <a:lnTo>
                    <a:pt x="1748" y="11953"/>
                  </a:lnTo>
                  <a:lnTo>
                    <a:pt x="874" y="11662"/>
                  </a:lnTo>
                  <a:lnTo>
                    <a:pt x="0" y="10495"/>
                  </a:lnTo>
                  <a:lnTo>
                    <a:pt x="0" y="8746"/>
                  </a:lnTo>
                  <a:lnTo>
                    <a:pt x="874" y="7288"/>
                  </a:lnTo>
                  <a:lnTo>
                    <a:pt x="1457" y="7288"/>
                  </a:lnTo>
                  <a:lnTo>
                    <a:pt x="4371" y="6997"/>
                  </a:lnTo>
                  <a:lnTo>
                    <a:pt x="4371" y="2040"/>
                  </a:lnTo>
                  <a:lnTo>
                    <a:pt x="3789" y="0"/>
                  </a:lnTo>
                  <a:lnTo>
                    <a:pt x="6412" y="0"/>
                  </a:lnTo>
                  <a:lnTo>
                    <a:pt x="11367" y="291"/>
                  </a:lnTo>
                  <a:lnTo>
                    <a:pt x="11658" y="291"/>
                  </a:lnTo>
                  <a:lnTo>
                    <a:pt x="11658" y="7580"/>
                  </a:lnTo>
                  <a:lnTo>
                    <a:pt x="14864" y="7580"/>
                  </a:lnTo>
                  <a:lnTo>
                    <a:pt x="16905" y="7871"/>
                  </a:lnTo>
                  <a:lnTo>
                    <a:pt x="16322" y="9912"/>
                  </a:lnTo>
                  <a:lnTo>
                    <a:pt x="16030" y="11079"/>
                  </a:lnTo>
                  <a:lnTo>
                    <a:pt x="16030" y="11662"/>
                  </a:lnTo>
                  <a:lnTo>
                    <a:pt x="14864" y="1253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44" name="Google Shape;2244;p25"/>
            <p:cNvSpPr/>
            <p:nvPr/>
          </p:nvSpPr>
          <p:spPr>
            <a:xfrm>
              <a:off x="628924" y="7355170"/>
              <a:ext cx="19319" cy="25397"/>
            </a:xfrm>
            <a:custGeom>
              <a:avLst/>
              <a:gdLst/>
              <a:ahLst/>
              <a:cxnLst/>
              <a:rect l="l" t="t" r="r" b="b"/>
              <a:pathLst>
                <a:path w="19319" h="25397" extrusionOk="0">
                  <a:moveTo>
                    <a:pt x="1463" y="15802"/>
                  </a:moveTo>
                  <a:lnTo>
                    <a:pt x="2049" y="9594"/>
                  </a:lnTo>
                  <a:lnTo>
                    <a:pt x="2927" y="3668"/>
                  </a:lnTo>
                  <a:lnTo>
                    <a:pt x="3219" y="2539"/>
                  </a:lnTo>
                  <a:lnTo>
                    <a:pt x="4098" y="846"/>
                  </a:lnTo>
                  <a:lnTo>
                    <a:pt x="6439" y="846"/>
                  </a:lnTo>
                  <a:lnTo>
                    <a:pt x="9074" y="0"/>
                  </a:lnTo>
                  <a:lnTo>
                    <a:pt x="10245" y="2821"/>
                  </a:lnTo>
                  <a:lnTo>
                    <a:pt x="10245" y="3104"/>
                  </a:lnTo>
                  <a:lnTo>
                    <a:pt x="10537" y="3104"/>
                  </a:lnTo>
                  <a:lnTo>
                    <a:pt x="10537" y="3386"/>
                  </a:lnTo>
                  <a:lnTo>
                    <a:pt x="12294" y="2821"/>
                  </a:lnTo>
                  <a:lnTo>
                    <a:pt x="14050" y="1975"/>
                  </a:lnTo>
                  <a:lnTo>
                    <a:pt x="15806" y="1693"/>
                  </a:lnTo>
                  <a:lnTo>
                    <a:pt x="16977" y="1410"/>
                  </a:lnTo>
                  <a:lnTo>
                    <a:pt x="19026" y="1975"/>
                  </a:lnTo>
                  <a:lnTo>
                    <a:pt x="19026" y="2539"/>
                  </a:lnTo>
                  <a:lnTo>
                    <a:pt x="19319" y="3950"/>
                  </a:lnTo>
                  <a:lnTo>
                    <a:pt x="19026" y="5926"/>
                  </a:lnTo>
                  <a:lnTo>
                    <a:pt x="18734" y="7337"/>
                  </a:lnTo>
                  <a:lnTo>
                    <a:pt x="18734" y="7901"/>
                  </a:lnTo>
                  <a:lnTo>
                    <a:pt x="16977" y="8183"/>
                  </a:lnTo>
                  <a:lnTo>
                    <a:pt x="16099" y="8183"/>
                  </a:lnTo>
                  <a:lnTo>
                    <a:pt x="12587" y="7901"/>
                  </a:lnTo>
                  <a:lnTo>
                    <a:pt x="9952" y="9594"/>
                  </a:lnTo>
                  <a:lnTo>
                    <a:pt x="9367" y="13545"/>
                  </a:lnTo>
                  <a:lnTo>
                    <a:pt x="8488" y="16367"/>
                  </a:lnTo>
                  <a:lnTo>
                    <a:pt x="8196" y="19753"/>
                  </a:lnTo>
                  <a:lnTo>
                    <a:pt x="7903" y="22857"/>
                  </a:lnTo>
                  <a:lnTo>
                    <a:pt x="7610" y="25115"/>
                  </a:lnTo>
                  <a:lnTo>
                    <a:pt x="6439" y="25397"/>
                  </a:lnTo>
                  <a:lnTo>
                    <a:pt x="4390" y="25115"/>
                  </a:lnTo>
                  <a:lnTo>
                    <a:pt x="2634" y="24551"/>
                  </a:lnTo>
                  <a:lnTo>
                    <a:pt x="0" y="25115"/>
                  </a:lnTo>
                  <a:lnTo>
                    <a:pt x="585" y="22011"/>
                  </a:lnTo>
                  <a:lnTo>
                    <a:pt x="1463" y="1580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45" name="Google Shape;2245;p25"/>
            <p:cNvSpPr/>
            <p:nvPr/>
          </p:nvSpPr>
          <p:spPr>
            <a:xfrm>
              <a:off x="698945" y="7355165"/>
              <a:ext cx="10867" cy="25397"/>
            </a:xfrm>
            <a:custGeom>
              <a:avLst/>
              <a:gdLst/>
              <a:ahLst/>
              <a:cxnLst/>
              <a:rect l="l" t="t" r="r" b="b"/>
              <a:pathLst>
                <a:path w="10867" h="25397" extrusionOk="0">
                  <a:moveTo>
                    <a:pt x="285" y="1167"/>
                  </a:moveTo>
                  <a:lnTo>
                    <a:pt x="571" y="1167"/>
                  </a:lnTo>
                  <a:lnTo>
                    <a:pt x="2287" y="583"/>
                  </a:lnTo>
                  <a:lnTo>
                    <a:pt x="4003" y="0"/>
                  </a:lnTo>
                  <a:lnTo>
                    <a:pt x="5719" y="0"/>
                  </a:lnTo>
                  <a:lnTo>
                    <a:pt x="6577" y="291"/>
                  </a:lnTo>
                  <a:lnTo>
                    <a:pt x="7149" y="2335"/>
                  </a:lnTo>
                  <a:lnTo>
                    <a:pt x="7435" y="3503"/>
                  </a:lnTo>
                  <a:lnTo>
                    <a:pt x="8293" y="8757"/>
                  </a:lnTo>
                  <a:lnTo>
                    <a:pt x="9151" y="14304"/>
                  </a:lnTo>
                  <a:lnTo>
                    <a:pt x="10009" y="19850"/>
                  </a:lnTo>
                  <a:lnTo>
                    <a:pt x="10867" y="24521"/>
                  </a:lnTo>
                  <a:lnTo>
                    <a:pt x="10295" y="25105"/>
                  </a:lnTo>
                  <a:lnTo>
                    <a:pt x="4861" y="25397"/>
                  </a:lnTo>
                  <a:lnTo>
                    <a:pt x="4575" y="25105"/>
                  </a:lnTo>
                  <a:lnTo>
                    <a:pt x="3717" y="24521"/>
                  </a:lnTo>
                  <a:lnTo>
                    <a:pt x="3431" y="23645"/>
                  </a:lnTo>
                  <a:lnTo>
                    <a:pt x="2287" y="16931"/>
                  </a:lnTo>
                  <a:lnTo>
                    <a:pt x="1143" y="9925"/>
                  </a:lnTo>
                  <a:lnTo>
                    <a:pt x="0" y="2919"/>
                  </a:lnTo>
                  <a:lnTo>
                    <a:pt x="0" y="2335"/>
                  </a:lnTo>
                  <a:lnTo>
                    <a:pt x="285" y="1167"/>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46" name="Google Shape;2246;p25"/>
            <p:cNvSpPr/>
            <p:nvPr/>
          </p:nvSpPr>
          <p:spPr>
            <a:xfrm>
              <a:off x="668766" y="7357586"/>
              <a:ext cx="8452" cy="25397"/>
            </a:xfrm>
            <a:custGeom>
              <a:avLst/>
              <a:gdLst/>
              <a:ahLst/>
              <a:cxnLst/>
              <a:rect l="l" t="t" r="r" b="b"/>
              <a:pathLst>
                <a:path w="8452" h="25397" extrusionOk="0">
                  <a:moveTo>
                    <a:pt x="3924" y="0"/>
                  </a:moveTo>
                  <a:lnTo>
                    <a:pt x="7546" y="0"/>
                  </a:lnTo>
                  <a:lnTo>
                    <a:pt x="7848" y="3543"/>
                  </a:lnTo>
                  <a:lnTo>
                    <a:pt x="7848" y="9745"/>
                  </a:lnTo>
                  <a:lnTo>
                    <a:pt x="8150" y="15651"/>
                  </a:lnTo>
                  <a:lnTo>
                    <a:pt x="8452" y="21853"/>
                  </a:lnTo>
                  <a:lnTo>
                    <a:pt x="8452" y="24216"/>
                  </a:lnTo>
                  <a:lnTo>
                    <a:pt x="8150" y="25397"/>
                  </a:lnTo>
                  <a:lnTo>
                    <a:pt x="905" y="25397"/>
                  </a:lnTo>
                  <a:lnTo>
                    <a:pt x="603" y="22149"/>
                  </a:lnTo>
                  <a:lnTo>
                    <a:pt x="603" y="15947"/>
                  </a:lnTo>
                  <a:lnTo>
                    <a:pt x="301" y="9745"/>
                  </a:lnTo>
                  <a:lnTo>
                    <a:pt x="301" y="3543"/>
                  </a:lnTo>
                  <a:lnTo>
                    <a:pt x="0" y="295"/>
                  </a:lnTo>
                  <a:lnTo>
                    <a:pt x="603" y="0"/>
                  </a:lnTo>
                  <a:lnTo>
                    <a:pt x="3924" y="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47" name="Google Shape;2247;p25"/>
            <p:cNvSpPr/>
            <p:nvPr/>
          </p:nvSpPr>
          <p:spPr>
            <a:xfrm>
              <a:off x="697739" y="7345484"/>
              <a:ext cx="7245" cy="7256"/>
            </a:xfrm>
            <a:custGeom>
              <a:avLst/>
              <a:gdLst/>
              <a:ahLst/>
              <a:cxnLst/>
              <a:rect l="l" t="t" r="r" b="b"/>
              <a:pathLst>
                <a:path w="7245" h="7256" extrusionOk="0">
                  <a:moveTo>
                    <a:pt x="2069" y="6977"/>
                  </a:moveTo>
                  <a:lnTo>
                    <a:pt x="0" y="6977"/>
                  </a:lnTo>
                  <a:lnTo>
                    <a:pt x="517" y="4465"/>
                  </a:lnTo>
                  <a:lnTo>
                    <a:pt x="517" y="0"/>
                  </a:lnTo>
                  <a:lnTo>
                    <a:pt x="3104" y="1116"/>
                  </a:lnTo>
                  <a:lnTo>
                    <a:pt x="4657" y="837"/>
                  </a:lnTo>
                  <a:lnTo>
                    <a:pt x="7245" y="279"/>
                  </a:lnTo>
                  <a:lnTo>
                    <a:pt x="6986" y="2790"/>
                  </a:lnTo>
                  <a:lnTo>
                    <a:pt x="7245" y="4465"/>
                  </a:lnTo>
                  <a:lnTo>
                    <a:pt x="7245" y="6140"/>
                  </a:lnTo>
                  <a:lnTo>
                    <a:pt x="5692" y="7256"/>
                  </a:lnTo>
                  <a:lnTo>
                    <a:pt x="2069" y="6977"/>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48" name="Google Shape;2248;p25"/>
            <p:cNvSpPr/>
            <p:nvPr/>
          </p:nvSpPr>
          <p:spPr>
            <a:xfrm>
              <a:off x="668767" y="7349115"/>
              <a:ext cx="7244" cy="6047"/>
            </a:xfrm>
            <a:custGeom>
              <a:avLst/>
              <a:gdLst/>
              <a:ahLst/>
              <a:cxnLst/>
              <a:rect l="l" t="t" r="r" b="b"/>
              <a:pathLst>
                <a:path w="7244" h="6047" extrusionOk="0">
                  <a:moveTo>
                    <a:pt x="2897" y="5784"/>
                  </a:moveTo>
                  <a:lnTo>
                    <a:pt x="1159" y="6047"/>
                  </a:lnTo>
                  <a:lnTo>
                    <a:pt x="0" y="6047"/>
                  </a:lnTo>
                  <a:lnTo>
                    <a:pt x="0" y="788"/>
                  </a:lnTo>
                  <a:lnTo>
                    <a:pt x="289" y="525"/>
                  </a:lnTo>
                  <a:lnTo>
                    <a:pt x="4636" y="0"/>
                  </a:lnTo>
                  <a:lnTo>
                    <a:pt x="6665" y="0"/>
                  </a:lnTo>
                  <a:lnTo>
                    <a:pt x="7244" y="788"/>
                  </a:lnTo>
                  <a:lnTo>
                    <a:pt x="7244" y="5521"/>
                  </a:lnTo>
                  <a:lnTo>
                    <a:pt x="2897" y="578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49" name="Google Shape;2249;p25"/>
            <p:cNvSpPr/>
            <p:nvPr/>
          </p:nvSpPr>
          <p:spPr>
            <a:xfrm>
              <a:off x="654264" y="6868984"/>
              <a:ext cx="31395" cy="32653"/>
            </a:xfrm>
            <a:custGeom>
              <a:avLst/>
              <a:gdLst/>
              <a:ahLst/>
              <a:cxnLst/>
              <a:rect l="l" t="t" r="r" b="b"/>
              <a:pathLst>
                <a:path w="31395" h="32653" extrusionOk="0">
                  <a:moveTo>
                    <a:pt x="8064" y="844"/>
                  </a:moveTo>
                  <a:lnTo>
                    <a:pt x="8352" y="844"/>
                  </a:lnTo>
                  <a:lnTo>
                    <a:pt x="9793" y="5630"/>
                  </a:lnTo>
                  <a:lnTo>
                    <a:pt x="11521" y="11541"/>
                  </a:lnTo>
                  <a:lnTo>
                    <a:pt x="13537" y="17171"/>
                  </a:lnTo>
                  <a:lnTo>
                    <a:pt x="15265" y="23082"/>
                  </a:lnTo>
                  <a:lnTo>
                    <a:pt x="16129" y="23082"/>
                  </a:lnTo>
                  <a:lnTo>
                    <a:pt x="16993" y="20831"/>
                  </a:lnTo>
                  <a:lnTo>
                    <a:pt x="17569" y="18860"/>
                  </a:lnTo>
                  <a:lnTo>
                    <a:pt x="18434" y="16608"/>
                  </a:lnTo>
                  <a:lnTo>
                    <a:pt x="19874" y="12667"/>
                  </a:lnTo>
                  <a:lnTo>
                    <a:pt x="21026" y="8445"/>
                  </a:lnTo>
                  <a:lnTo>
                    <a:pt x="22466" y="4504"/>
                  </a:lnTo>
                  <a:lnTo>
                    <a:pt x="23618" y="1407"/>
                  </a:lnTo>
                  <a:lnTo>
                    <a:pt x="27363" y="0"/>
                  </a:lnTo>
                  <a:lnTo>
                    <a:pt x="30243" y="1970"/>
                  </a:lnTo>
                  <a:lnTo>
                    <a:pt x="31107" y="2252"/>
                  </a:lnTo>
                  <a:lnTo>
                    <a:pt x="31395" y="3659"/>
                  </a:lnTo>
                  <a:lnTo>
                    <a:pt x="31395" y="12949"/>
                  </a:lnTo>
                  <a:lnTo>
                    <a:pt x="31107" y="21112"/>
                  </a:lnTo>
                  <a:lnTo>
                    <a:pt x="31107" y="29557"/>
                  </a:lnTo>
                  <a:lnTo>
                    <a:pt x="30819" y="31246"/>
                  </a:lnTo>
                  <a:lnTo>
                    <a:pt x="30819" y="32653"/>
                  </a:lnTo>
                  <a:lnTo>
                    <a:pt x="25923" y="32653"/>
                  </a:lnTo>
                  <a:lnTo>
                    <a:pt x="25346" y="31528"/>
                  </a:lnTo>
                  <a:lnTo>
                    <a:pt x="25346" y="11541"/>
                  </a:lnTo>
                  <a:lnTo>
                    <a:pt x="23330" y="17452"/>
                  </a:lnTo>
                  <a:lnTo>
                    <a:pt x="21026" y="23364"/>
                  </a:lnTo>
                  <a:lnTo>
                    <a:pt x="19010" y="29275"/>
                  </a:lnTo>
                  <a:lnTo>
                    <a:pt x="18434" y="30964"/>
                  </a:lnTo>
                  <a:lnTo>
                    <a:pt x="17858" y="32653"/>
                  </a:lnTo>
                  <a:lnTo>
                    <a:pt x="12961" y="32653"/>
                  </a:lnTo>
                  <a:lnTo>
                    <a:pt x="12673" y="30964"/>
                  </a:lnTo>
                  <a:lnTo>
                    <a:pt x="12097" y="29275"/>
                  </a:lnTo>
                  <a:lnTo>
                    <a:pt x="10081" y="23646"/>
                  </a:lnTo>
                  <a:lnTo>
                    <a:pt x="8352" y="18015"/>
                  </a:lnTo>
                  <a:lnTo>
                    <a:pt x="5760" y="12386"/>
                  </a:lnTo>
                  <a:lnTo>
                    <a:pt x="5760" y="13230"/>
                  </a:lnTo>
                  <a:lnTo>
                    <a:pt x="5472" y="14074"/>
                  </a:lnTo>
                  <a:lnTo>
                    <a:pt x="5472" y="31246"/>
                  </a:lnTo>
                  <a:lnTo>
                    <a:pt x="4608" y="32090"/>
                  </a:lnTo>
                  <a:lnTo>
                    <a:pt x="576" y="32090"/>
                  </a:lnTo>
                  <a:lnTo>
                    <a:pt x="0" y="30964"/>
                  </a:lnTo>
                  <a:lnTo>
                    <a:pt x="0" y="29275"/>
                  </a:lnTo>
                  <a:lnTo>
                    <a:pt x="286" y="16473"/>
                  </a:lnTo>
                  <a:lnTo>
                    <a:pt x="568" y="3879"/>
                  </a:lnTo>
                  <a:lnTo>
                    <a:pt x="576" y="3659"/>
                  </a:lnTo>
                  <a:lnTo>
                    <a:pt x="576" y="1970"/>
                  </a:lnTo>
                  <a:lnTo>
                    <a:pt x="1152" y="1126"/>
                  </a:lnTo>
                  <a:lnTo>
                    <a:pt x="2880" y="1126"/>
                  </a:lnTo>
                  <a:lnTo>
                    <a:pt x="8064" y="84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50" name="Google Shape;2250;p25"/>
            <p:cNvSpPr/>
            <p:nvPr/>
          </p:nvSpPr>
          <p:spPr>
            <a:xfrm>
              <a:off x="795543" y="6924609"/>
              <a:ext cx="37433" cy="37490"/>
            </a:xfrm>
            <a:custGeom>
              <a:avLst/>
              <a:gdLst/>
              <a:ahLst/>
              <a:cxnLst/>
              <a:rect l="l" t="t" r="r" b="b"/>
              <a:pathLst>
                <a:path w="37433" h="37490" extrusionOk="0">
                  <a:moveTo>
                    <a:pt x="580" y="16856"/>
                  </a:moveTo>
                  <a:lnTo>
                    <a:pt x="2031" y="15403"/>
                  </a:lnTo>
                  <a:lnTo>
                    <a:pt x="5513" y="11043"/>
                  </a:lnTo>
                  <a:lnTo>
                    <a:pt x="8705" y="6393"/>
                  </a:lnTo>
                  <a:lnTo>
                    <a:pt x="12187" y="2325"/>
                  </a:lnTo>
                  <a:lnTo>
                    <a:pt x="13058" y="1453"/>
                  </a:lnTo>
                  <a:lnTo>
                    <a:pt x="14509" y="0"/>
                  </a:lnTo>
                  <a:lnTo>
                    <a:pt x="15089" y="290"/>
                  </a:lnTo>
                  <a:lnTo>
                    <a:pt x="16540" y="871"/>
                  </a:lnTo>
                  <a:lnTo>
                    <a:pt x="17410" y="2325"/>
                  </a:lnTo>
                  <a:lnTo>
                    <a:pt x="18571" y="3487"/>
                  </a:lnTo>
                  <a:lnTo>
                    <a:pt x="18281" y="3778"/>
                  </a:lnTo>
                  <a:lnTo>
                    <a:pt x="18281" y="4068"/>
                  </a:lnTo>
                  <a:lnTo>
                    <a:pt x="17991" y="4359"/>
                  </a:lnTo>
                  <a:lnTo>
                    <a:pt x="22634" y="4359"/>
                  </a:lnTo>
                  <a:lnTo>
                    <a:pt x="25535" y="6103"/>
                  </a:lnTo>
                  <a:lnTo>
                    <a:pt x="26696" y="10753"/>
                  </a:lnTo>
                  <a:lnTo>
                    <a:pt x="26986" y="11334"/>
                  </a:lnTo>
                  <a:lnTo>
                    <a:pt x="28437" y="12206"/>
                  </a:lnTo>
                  <a:lnTo>
                    <a:pt x="32500" y="12206"/>
                  </a:lnTo>
                  <a:lnTo>
                    <a:pt x="34821" y="13950"/>
                  </a:lnTo>
                  <a:lnTo>
                    <a:pt x="35982" y="16565"/>
                  </a:lnTo>
                  <a:lnTo>
                    <a:pt x="37433" y="19472"/>
                  </a:lnTo>
                  <a:lnTo>
                    <a:pt x="36562" y="22087"/>
                  </a:lnTo>
                  <a:lnTo>
                    <a:pt x="34821" y="24703"/>
                  </a:lnTo>
                  <a:lnTo>
                    <a:pt x="31919" y="28190"/>
                  </a:lnTo>
                  <a:lnTo>
                    <a:pt x="29018" y="31678"/>
                  </a:lnTo>
                  <a:lnTo>
                    <a:pt x="26406" y="35456"/>
                  </a:lnTo>
                  <a:lnTo>
                    <a:pt x="24955" y="37490"/>
                  </a:lnTo>
                  <a:lnTo>
                    <a:pt x="23794" y="36618"/>
                  </a:lnTo>
                  <a:lnTo>
                    <a:pt x="22343" y="35456"/>
                  </a:lnTo>
                  <a:lnTo>
                    <a:pt x="20602" y="34293"/>
                  </a:lnTo>
                  <a:lnTo>
                    <a:pt x="20893" y="33422"/>
                  </a:lnTo>
                  <a:lnTo>
                    <a:pt x="22053" y="31968"/>
                  </a:lnTo>
                  <a:lnTo>
                    <a:pt x="24665" y="28772"/>
                  </a:lnTo>
                  <a:lnTo>
                    <a:pt x="26986" y="25575"/>
                  </a:lnTo>
                  <a:lnTo>
                    <a:pt x="29598" y="22378"/>
                  </a:lnTo>
                  <a:lnTo>
                    <a:pt x="31049" y="20634"/>
                  </a:lnTo>
                  <a:lnTo>
                    <a:pt x="31919" y="18600"/>
                  </a:lnTo>
                  <a:lnTo>
                    <a:pt x="29598" y="16856"/>
                  </a:lnTo>
                  <a:lnTo>
                    <a:pt x="27857" y="15112"/>
                  </a:lnTo>
                  <a:lnTo>
                    <a:pt x="25826" y="15403"/>
                  </a:lnTo>
                  <a:lnTo>
                    <a:pt x="23794" y="17728"/>
                  </a:lnTo>
                  <a:lnTo>
                    <a:pt x="21183" y="20634"/>
                  </a:lnTo>
                  <a:lnTo>
                    <a:pt x="18571" y="23831"/>
                  </a:lnTo>
                  <a:lnTo>
                    <a:pt x="16250" y="27318"/>
                  </a:lnTo>
                  <a:lnTo>
                    <a:pt x="15089" y="29062"/>
                  </a:lnTo>
                  <a:lnTo>
                    <a:pt x="13928" y="29062"/>
                  </a:lnTo>
                  <a:lnTo>
                    <a:pt x="12477" y="27900"/>
                  </a:lnTo>
                  <a:lnTo>
                    <a:pt x="10736" y="26737"/>
                  </a:lnTo>
                  <a:lnTo>
                    <a:pt x="10446" y="25575"/>
                  </a:lnTo>
                  <a:lnTo>
                    <a:pt x="11897" y="23831"/>
                  </a:lnTo>
                  <a:lnTo>
                    <a:pt x="14218" y="20925"/>
                  </a:lnTo>
                  <a:lnTo>
                    <a:pt x="16830" y="17728"/>
                  </a:lnTo>
                  <a:lnTo>
                    <a:pt x="19151" y="14531"/>
                  </a:lnTo>
                  <a:lnTo>
                    <a:pt x="20312" y="12787"/>
                  </a:lnTo>
                  <a:lnTo>
                    <a:pt x="22053" y="11043"/>
                  </a:lnTo>
                  <a:lnTo>
                    <a:pt x="19732" y="9009"/>
                  </a:lnTo>
                  <a:lnTo>
                    <a:pt x="17991" y="7265"/>
                  </a:lnTo>
                  <a:lnTo>
                    <a:pt x="15089" y="7556"/>
                  </a:lnTo>
                  <a:lnTo>
                    <a:pt x="13348" y="9881"/>
                  </a:lnTo>
                  <a:lnTo>
                    <a:pt x="10736" y="12787"/>
                  </a:lnTo>
                  <a:lnTo>
                    <a:pt x="8415" y="15693"/>
                  </a:lnTo>
                  <a:lnTo>
                    <a:pt x="6383" y="18890"/>
                  </a:lnTo>
                  <a:lnTo>
                    <a:pt x="4933" y="20634"/>
                  </a:lnTo>
                  <a:lnTo>
                    <a:pt x="4062" y="21215"/>
                  </a:lnTo>
                  <a:lnTo>
                    <a:pt x="2031" y="19762"/>
                  </a:lnTo>
                  <a:lnTo>
                    <a:pt x="0" y="18018"/>
                  </a:lnTo>
                  <a:lnTo>
                    <a:pt x="580" y="1685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51" name="Google Shape;2251;p25"/>
            <p:cNvSpPr/>
            <p:nvPr/>
          </p:nvSpPr>
          <p:spPr>
            <a:xfrm>
              <a:off x="753280" y="6900421"/>
              <a:ext cx="28980" cy="35072"/>
            </a:xfrm>
            <a:custGeom>
              <a:avLst/>
              <a:gdLst/>
              <a:ahLst/>
              <a:cxnLst/>
              <a:rect l="l" t="t" r="r" b="b"/>
              <a:pathLst>
                <a:path w="28980" h="35072" extrusionOk="0">
                  <a:moveTo>
                    <a:pt x="568" y="22344"/>
                  </a:moveTo>
                  <a:lnTo>
                    <a:pt x="1136" y="21212"/>
                  </a:lnTo>
                  <a:lnTo>
                    <a:pt x="2272" y="22061"/>
                  </a:lnTo>
                  <a:lnTo>
                    <a:pt x="3977" y="22627"/>
                  </a:lnTo>
                  <a:lnTo>
                    <a:pt x="5114" y="23758"/>
                  </a:lnTo>
                  <a:lnTo>
                    <a:pt x="5682" y="24607"/>
                  </a:lnTo>
                  <a:lnTo>
                    <a:pt x="5966" y="26021"/>
                  </a:lnTo>
                  <a:lnTo>
                    <a:pt x="6818" y="26869"/>
                  </a:lnTo>
                  <a:lnTo>
                    <a:pt x="9944" y="29980"/>
                  </a:lnTo>
                  <a:lnTo>
                    <a:pt x="13637" y="28566"/>
                  </a:lnTo>
                  <a:lnTo>
                    <a:pt x="14490" y="24607"/>
                  </a:lnTo>
                  <a:lnTo>
                    <a:pt x="11933" y="23758"/>
                  </a:lnTo>
                  <a:lnTo>
                    <a:pt x="9091" y="23192"/>
                  </a:lnTo>
                  <a:lnTo>
                    <a:pt x="7103" y="21778"/>
                  </a:lnTo>
                  <a:lnTo>
                    <a:pt x="2557" y="18950"/>
                  </a:lnTo>
                  <a:lnTo>
                    <a:pt x="3125" y="12162"/>
                  </a:lnTo>
                  <a:lnTo>
                    <a:pt x="5682" y="7919"/>
                  </a:lnTo>
                  <a:lnTo>
                    <a:pt x="7387" y="5656"/>
                  </a:lnTo>
                  <a:lnTo>
                    <a:pt x="9660" y="3111"/>
                  </a:lnTo>
                  <a:lnTo>
                    <a:pt x="8807" y="11313"/>
                  </a:lnTo>
                  <a:lnTo>
                    <a:pt x="9091" y="15273"/>
                  </a:lnTo>
                  <a:lnTo>
                    <a:pt x="9091" y="17818"/>
                  </a:lnTo>
                  <a:lnTo>
                    <a:pt x="11080" y="19798"/>
                  </a:lnTo>
                  <a:lnTo>
                    <a:pt x="13922" y="19798"/>
                  </a:lnTo>
                  <a:lnTo>
                    <a:pt x="17047" y="19515"/>
                  </a:lnTo>
                  <a:lnTo>
                    <a:pt x="20741" y="14990"/>
                  </a:lnTo>
                  <a:lnTo>
                    <a:pt x="20456" y="11030"/>
                  </a:lnTo>
                  <a:lnTo>
                    <a:pt x="20456" y="8485"/>
                  </a:lnTo>
                  <a:lnTo>
                    <a:pt x="18468" y="6222"/>
                  </a:lnTo>
                  <a:lnTo>
                    <a:pt x="15910" y="6222"/>
                  </a:lnTo>
                  <a:lnTo>
                    <a:pt x="12785" y="5939"/>
                  </a:lnTo>
                  <a:lnTo>
                    <a:pt x="16479" y="0"/>
                  </a:lnTo>
                  <a:lnTo>
                    <a:pt x="19888" y="1414"/>
                  </a:lnTo>
                  <a:lnTo>
                    <a:pt x="23014" y="5939"/>
                  </a:lnTo>
                  <a:lnTo>
                    <a:pt x="24150" y="5939"/>
                  </a:lnTo>
                  <a:lnTo>
                    <a:pt x="25002" y="5656"/>
                  </a:lnTo>
                  <a:lnTo>
                    <a:pt x="26139" y="5939"/>
                  </a:lnTo>
                  <a:lnTo>
                    <a:pt x="28696" y="6788"/>
                  </a:lnTo>
                  <a:lnTo>
                    <a:pt x="28980" y="7353"/>
                  </a:lnTo>
                  <a:lnTo>
                    <a:pt x="27844" y="9899"/>
                  </a:lnTo>
                  <a:lnTo>
                    <a:pt x="25002" y="15556"/>
                  </a:lnTo>
                  <a:lnTo>
                    <a:pt x="22729" y="21212"/>
                  </a:lnTo>
                  <a:lnTo>
                    <a:pt x="19888" y="26869"/>
                  </a:lnTo>
                  <a:lnTo>
                    <a:pt x="16195" y="34223"/>
                  </a:lnTo>
                  <a:lnTo>
                    <a:pt x="6534" y="35072"/>
                  </a:lnTo>
                  <a:lnTo>
                    <a:pt x="1420" y="28283"/>
                  </a:lnTo>
                  <a:lnTo>
                    <a:pt x="852" y="27152"/>
                  </a:lnTo>
                  <a:lnTo>
                    <a:pt x="284" y="26021"/>
                  </a:lnTo>
                  <a:lnTo>
                    <a:pt x="0" y="24889"/>
                  </a:lnTo>
                  <a:lnTo>
                    <a:pt x="0" y="23758"/>
                  </a:lnTo>
                  <a:lnTo>
                    <a:pt x="568" y="2234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52" name="Google Shape;2252;p25"/>
            <p:cNvSpPr/>
            <p:nvPr/>
          </p:nvSpPr>
          <p:spPr>
            <a:xfrm>
              <a:off x="762088" y="6900421"/>
              <a:ext cx="7671" cy="11313"/>
            </a:xfrm>
            <a:custGeom>
              <a:avLst/>
              <a:gdLst/>
              <a:ahLst/>
              <a:cxnLst/>
              <a:rect l="l" t="t" r="r" b="b"/>
              <a:pathLst>
                <a:path w="7671" h="11313" extrusionOk="0">
                  <a:moveTo>
                    <a:pt x="3977" y="5939"/>
                  </a:moveTo>
                  <a:lnTo>
                    <a:pt x="0" y="11313"/>
                  </a:lnTo>
                  <a:lnTo>
                    <a:pt x="852" y="3111"/>
                  </a:lnTo>
                  <a:lnTo>
                    <a:pt x="3409" y="1979"/>
                  </a:lnTo>
                  <a:lnTo>
                    <a:pt x="7671" y="0"/>
                  </a:lnTo>
                  <a:lnTo>
                    <a:pt x="3977" y="5939"/>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53" name="Google Shape;2253;p25"/>
            <p:cNvSpPr/>
            <p:nvPr/>
          </p:nvSpPr>
          <p:spPr>
            <a:xfrm>
              <a:off x="689284" y="6890508"/>
              <a:ext cx="8114" cy="14485"/>
            </a:xfrm>
            <a:custGeom>
              <a:avLst/>
              <a:gdLst/>
              <a:ahLst/>
              <a:cxnLst/>
              <a:rect l="l" t="t" r="r" b="b"/>
              <a:pathLst>
                <a:path w="8114" h="14485" extrusionOk="0">
                  <a:moveTo>
                    <a:pt x="2898" y="295"/>
                  </a:moveTo>
                  <a:lnTo>
                    <a:pt x="6375" y="0"/>
                  </a:lnTo>
                  <a:lnTo>
                    <a:pt x="8114" y="0"/>
                  </a:lnTo>
                  <a:lnTo>
                    <a:pt x="6375" y="5912"/>
                  </a:lnTo>
                  <a:lnTo>
                    <a:pt x="6085" y="6799"/>
                  </a:lnTo>
                  <a:lnTo>
                    <a:pt x="6085" y="7686"/>
                  </a:lnTo>
                  <a:lnTo>
                    <a:pt x="8114" y="14485"/>
                  </a:lnTo>
                  <a:lnTo>
                    <a:pt x="5796" y="13894"/>
                  </a:lnTo>
                  <a:lnTo>
                    <a:pt x="4057" y="13303"/>
                  </a:lnTo>
                  <a:lnTo>
                    <a:pt x="1159" y="12120"/>
                  </a:lnTo>
                  <a:lnTo>
                    <a:pt x="0" y="9164"/>
                  </a:lnTo>
                  <a:lnTo>
                    <a:pt x="289" y="5912"/>
                  </a:lnTo>
                  <a:lnTo>
                    <a:pt x="1159" y="2069"/>
                  </a:lnTo>
                  <a:lnTo>
                    <a:pt x="2898" y="29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54" name="Google Shape;2254;p25"/>
            <p:cNvSpPr/>
            <p:nvPr/>
          </p:nvSpPr>
          <p:spPr>
            <a:xfrm>
              <a:off x="691892" y="6879865"/>
              <a:ext cx="19127" cy="26606"/>
            </a:xfrm>
            <a:custGeom>
              <a:avLst/>
              <a:gdLst/>
              <a:ahLst/>
              <a:cxnLst/>
              <a:rect l="l" t="t" r="r" b="b"/>
              <a:pathLst>
                <a:path w="19127" h="26606" extrusionOk="0">
                  <a:moveTo>
                    <a:pt x="17967" y="14190"/>
                  </a:moveTo>
                  <a:lnTo>
                    <a:pt x="17678" y="16850"/>
                  </a:lnTo>
                  <a:lnTo>
                    <a:pt x="17388" y="18920"/>
                  </a:lnTo>
                  <a:lnTo>
                    <a:pt x="16808" y="20989"/>
                  </a:lnTo>
                  <a:lnTo>
                    <a:pt x="18547" y="22763"/>
                  </a:lnTo>
                  <a:lnTo>
                    <a:pt x="18837" y="23354"/>
                  </a:lnTo>
                  <a:lnTo>
                    <a:pt x="18547" y="25719"/>
                  </a:lnTo>
                  <a:lnTo>
                    <a:pt x="17967" y="25719"/>
                  </a:lnTo>
                  <a:lnTo>
                    <a:pt x="16808" y="26311"/>
                  </a:lnTo>
                  <a:lnTo>
                    <a:pt x="14780" y="26606"/>
                  </a:lnTo>
                  <a:lnTo>
                    <a:pt x="13910" y="26015"/>
                  </a:lnTo>
                  <a:lnTo>
                    <a:pt x="11881" y="23946"/>
                  </a:lnTo>
                  <a:lnTo>
                    <a:pt x="9853" y="24537"/>
                  </a:lnTo>
                  <a:lnTo>
                    <a:pt x="7534" y="24832"/>
                  </a:lnTo>
                  <a:lnTo>
                    <a:pt x="5506" y="25128"/>
                  </a:lnTo>
                  <a:lnTo>
                    <a:pt x="3477" y="18329"/>
                  </a:lnTo>
                  <a:lnTo>
                    <a:pt x="4926" y="19807"/>
                  </a:lnTo>
                  <a:lnTo>
                    <a:pt x="6085" y="20102"/>
                  </a:lnTo>
                  <a:lnTo>
                    <a:pt x="9563" y="21285"/>
                  </a:lnTo>
                  <a:lnTo>
                    <a:pt x="12171" y="18920"/>
                  </a:lnTo>
                  <a:lnTo>
                    <a:pt x="11881" y="14190"/>
                  </a:lnTo>
                  <a:lnTo>
                    <a:pt x="7824" y="14190"/>
                  </a:lnTo>
                  <a:lnTo>
                    <a:pt x="5796" y="14781"/>
                  </a:lnTo>
                  <a:lnTo>
                    <a:pt x="4926" y="14781"/>
                  </a:lnTo>
                  <a:lnTo>
                    <a:pt x="3767" y="16555"/>
                  </a:lnTo>
                  <a:lnTo>
                    <a:pt x="5506" y="10642"/>
                  </a:lnTo>
                  <a:lnTo>
                    <a:pt x="7245" y="10938"/>
                  </a:lnTo>
                  <a:lnTo>
                    <a:pt x="8983" y="10642"/>
                  </a:lnTo>
                  <a:lnTo>
                    <a:pt x="10432" y="10051"/>
                  </a:lnTo>
                  <a:lnTo>
                    <a:pt x="11881" y="9164"/>
                  </a:lnTo>
                  <a:lnTo>
                    <a:pt x="13330" y="8277"/>
                  </a:lnTo>
                  <a:lnTo>
                    <a:pt x="13041" y="7686"/>
                  </a:lnTo>
                  <a:lnTo>
                    <a:pt x="12751" y="5912"/>
                  </a:lnTo>
                  <a:lnTo>
                    <a:pt x="12171" y="5912"/>
                  </a:lnTo>
                  <a:lnTo>
                    <a:pt x="10432" y="5616"/>
                  </a:lnTo>
                  <a:lnTo>
                    <a:pt x="8114" y="5321"/>
                  </a:lnTo>
                  <a:lnTo>
                    <a:pt x="6665" y="6208"/>
                  </a:lnTo>
                  <a:lnTo>
                    <a:pt x="4926" y="7095"/>
                  </a:lnTo>
                  <a:lnTo>
                    <a:pt x="3767" y="7982"/>
                  </a:lnTo>
                  <a:lnTo>
                    <a:pt x="1738" y="7686"/>
                  </a:lnTo>
                  <a:lnTo>
                    <a:pt x="289" y="7095"/>
                  </a:lnTo>
                  <a:lnTo>
                    <a:pt x="0" y="6208"/>
                  </a:lnTo>
                  <a:lnTo>
                    <a:pt x="579" y="4730"/>
                  </a:lnTo>
                  <a:lnTo>
                    <a:pt x="1738" y="1773"/>
                  </a:lnTo>
                  <a:lnTo>
                    <a:pt x="4347" y="295"/>
                  </a:lnTo>
                  <a:lnTo>
                    <a:pt x="8983" y="0"/>
                  </a:lnTo>
                  <a:lnTo>
                    <a:pt x="10722" y="591"/>
                  </a:lnTo>
                  <a:lnTo>
                    <a:pt x="12461" y="591"/>
                  </a:lnTo>
                  <a:lnTo>
                    <a:pt x="14200" y="1478"/>
                  </a:lnTo>
                  <a:lnTo>
                    <a:pt x="17678" y="2660"/>
                  </a:lnTo>
                  <a:lnTo>
                    <a:pt x="19127" y="5321"/>
                  </a:lnTo>
                  <a:lnTo>
                    <a:pt x="18547" y="9164"/>
                  </a:lnTo>
                  <a:lnTo>
                    <a:pt x="18257" y="11825"/>
                  </a:lnTo>
                  <a:lnTo>
                    <a:pt x="17967" y="1419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55" name="Google Shape;2255;p25"/>
            <p:cNvSpPr/>
            <p:nvPr/>
          </p:nvSpPr>
          <p:spPr>
            <a:xfrm>
              <a:off x="738847" y="6900538"/>
              <a:ext cx="4600" cy="5721"/>
            </a:xfrm>
            <a:custGeom>
              <a:avLst/>
              <a:gdLst/>
              <a:ahLst/>
              <a:cxnLst/>
              <a:rect l="l" t="t" r="r" b="b"/>
              <a:pathLst>
                <a:path w="4600" h="5721" extrusionOk="0">
                  <a:moveTo>
                    <a:pt x="2012" y="5721"/>
                  </a:moveTo>
                  <a:lnTo>
                    <a:pt x="0" y="0"/>
                  </a:lnTo>
                  <a:lnTo>
                    <a:pt x="4600" y="858"/>
                  </a:lnTo>
                  <a:lnTo>
                    <a:pt x="3450" y="4863"/>
                  </a:lnTo>
                  <a:lnTo>
                    <a:pt x="2012" y="572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56" name="Google Shape;2256;p25"/>
            <p:cNvSpPr/>
            <p:nvPr/>
          </p:nvSpPr>
          <p:spPr>
            <a:xfrm>
              <a:off x="733959" y="6891956"/>
              <a:ext cx="24150" cy="26606"/>
            </a:xfrm>
            <a:custGeom>
              <a:avLst/>
              <a:gdLst/>
              <a:ahLst/>
              <a:cxnLst/>
              <a:rect l="l" t="t" r="r" b="b"/>
              <a:pathLst>
                <a:path w="24150" h="26606" extrusionOk="0">
                  <a:moveTo>
                    <a:pt x="6037" y="3146"/>
                  </a:moveTo>
                  <a:lnTo>
                    <a:pt x="7475" y="572"/>
                  </a:lnTo>
                  <a:lnTo>
                    <a:pt x="10062" y="0"/>
                  </a:lnTo>
                  <a:lnTo>
                    <a:pt x="12937" y="0"/>
                  </a:lnTo>
                  <a:lnTo>
                    <a:pt x="14662" y="286"/>
                  </a:lnTo>
                  <a:lnTo>
                    <a:pt x="16675" y="572"/>
                  </a:lnTo>
                  <a:lnTo>
                    <a:pt x="18400" y="1430"/>
                  </a:lnTo>
                  <a:lnTo>
                    <a:pt x="23000" y="3433"/>
                  </a:lnTo>
                  <a:lnTo>
                    <a:pt x="24150" y="6580"/>
                  </a:lnTo>
                  <a:lnTo>
                    <a:pt x="22713" y="11157"/>
                  </a:lnTo>
                  <a:lnTo>
                    <a:pt x="21850" y="13732"/>
                  </a:lnTo>
                  <a:lnTo>
                    <a:pt x="20988" y="16021"/>
                  </a:lnTo>
                  <a:lnTo>
                    <a:pt x="20125" y="18595"/>
                  </a:lnTo>
                  <a:lnTo>
                    <a:pt x="19550" y="20026"/>
                  </a:lnTo>
                  <a:lnTo>
                    <a:pt x="18687" y="21742"/>
                  </a:lnTo>
                  <a:lnTo>
                    <a:pt x="20125" y="23173"/>
                  </a:lnTo>
                  <a:lnTo>
                    <a:pt x="20413" y="23745"/>
                  </a:lnTo>
                  <a:lnTo>
                    <a:pt x="20125" y="25462"/>
                  </a:lnTo>
                  <a:lnTo>
                    <a:pt x="19550" y="25748"/>
                  </a:lnTo>
                  <a:lnTo>
                    <a:pt x="18687" y="26320"/>
                  </a:lnTo>
                  <a:lnTo>
                    <a:pt x="16675" y="26606"/>
                  </a:lnTo>
                  <a:lnTo>
                    <a:pt x="16387" y="26320"/>
                  </a:lnTo>
                  <a:lnTo>
                    <a:pt x="13512" y="23173"/>
                  </a:lnTo>
                  <a:lnTo>
                    <a:pt x="9775" y="23745"/>
                  </a:lnTo>
                  <a:lnTo>
                    <a:pt x="6325" y="22887"/>
                  </a:lnTo>
                  <a:lnTo>
                    <a:pt x="2300" y="22028"/>
                  </a:lnTo>
                  <a:lnTo>
                    <a:pt x="0" y="18309"/>
                  </a:lnTo>
                  <a:lnTo>
                    <a:pt x="862" y="14590"/>
                  </a:lnTo>
                  <a:lnTo>
                    <a:pt x="2012" y="10299"/>
                  </a:lnTo>
                  <a:lnTo>
                    <a:pt x="4887" y="8582"/>
                  </a:lnTo>
                  <a:lnTo>
                    <a:pt x="6900" y="14304"/>
                  </a:lnTo>
                  <a:lnTo>
                    <a:pt x="6612" y="15162"/>
                  </a:lnTo>
                  <a:lnTo>
                    <a:pt x="6325" y="16021"/>
                  </a:lnTo>
                  <a:lnTo>
                    <a:pt x="7187" y="17737"/>
                  </a:lnTo>
                  <a:lnTo>
                    <a:pt x="8050" y="18309"/>
                  </a:lnTo>
                  <a:lnTo>
                    <a:pt x="11212" y="20598"/>
                  </a:lnTo>
                  <a:lnTo>
                    <a:pt x="14662" y="18881"/>
                  </a:lnTo>
                  <a:lnTo>
                    <a:pt x="15525" y="14304"/>
                  </a:lnTo>
                  <a:lnTo>
                    <a:pt x="13512" y="13732"/>
                  </a:lnTo>
                  <a:lnTo>
                    <a:pt x="11500" y="13160"/>
                  </a:lnTo>
                  <a:lnTo>
                    <a:pt x="9487" y="13446"/>
                  </a:lnTo>
                  <a:lnTo>
                    <a:pt x="8337" y="13446"/>
                  </a:lnTo>
                  <a:lnTo>
                    <a:pt x="9487" y="9440"/>
                  </a:lnTo>
                  <a:lnTo>
                    <a:pt x="11500" y="9727"/>
                  </a:lnTo>
                  <a:lnTo>
                    <a:pt x="13512" y="10013"/>
                  </a:lnTo>
                  <a:lnTo>
                    <a:pt x="15237" y="10299"/>
                  </a:lnTo>
                  <a:lnTo>
                    <a:pt x="16100" y="10299"/>
                  </a:lnTo>
                  <a:lnTo>
                    <a:pt x="17537" y="9440"/>
                  </a:lnTo>
                  <a:lnTo>
                    <a:pt x="17825" y="8868"/>
                  </a:lnTo>
                  <a:lnTo>
                    <a:pt x="18112" y="8010"/>
                  </a:lnTo>
                  <a:lnTo>
                    <a:pt x="17537" y="6580"/>
                  </a:lnTo>
                  <a:lnTo>
                    <a:pt x="16675" y="6007"/>
                  </a:lnTo>
                  <a:lnTo>
                    <a:pt x="14950" y="4577"/>
                  </a:lnTo>
                  <a:lnTo>
                    <a:pt x="12937" y="4005"/>
                  </a:lnTo>
                  <a:lnTo>
                    <a:pt x="10925" y="5721"/>
                  </a:lnTo>
                  <a:lnTo>
                    <a:pt x="9200" y="7438"/>
                  </a:lnTo>
                  <a:lnTo>
                    <a:pt x="7475" y="6293"/>
                  </a:lnTo>
                  <a:lnTo>
                    <a:pt x="6037" y="5435"/>
                  </a:lnTo>
                  <a:lnTo>
                    <a:pt x="5750" y="5149"/>
                  </a:lnTo>
                  <a:lnTo>
                    <a:pt x="5750" y="3719"/>
                  </a:lnTo>
                  <a:lnTo>
                    <a:pt x="6037" y="314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57" name="Google Shape;2257;p25"/>
            <p:cNvSpPr/>
            <p:nvPr/>
          </p:nvSpPr>
          <p:spPr>
            <a:xfrm>
              <a:off x="777443" y="6913722"/>
              <a:ext cx="24149" cy="24187"/>
            </a:xfrm>
            <a:custGeom>
              <a:avLst/>
              <a:gdLst/>
              <a:ahLst/>
              <a:cxnLst/>
              <a:rect l="l" t="t" r="r" b="b"/>
              <a:pathLst>
                <a:path w="24149" h="24187" extrusionOk="0">
                  <a:moveTo>
                    <a:pt x="6773" y="10406"/>
                  </a:moveTo>
                  <a:lnTo>
                    <a:pt x="5890" y="10687"/>
                  </a:lnTo>
                  <a:lnTo>
                    <a:pt x="5595" y="13218"/>
                  </a:lnTo>
                  <a:lnTo>
                    <a:pt x="5301" y="16593"/>
                  </a:lnTo>
                  <a:lnTo>
                    <a:pt x="9129" y="19406"/>
                  </a:lnTo>
                  <a:lnTo>
                    <a:pt x="12369" y="18281"/>
                  </a:lnTo>
                  <a:lnTo>
                    <a:pt x="12958" y="18000"/>
                  </a:lnTo>
                  <a:lnTo>
                    <a:pt x="13547" y="17437"/>
                  </a:lnTo>
                  <a:lnTo>
                    <a:pt x="13841" y="17718"/>
                  </a:lnTo>
                  <a:lnTo>
                    <a:pt x="15314" y="18000"/>
                  </a:lnTo>
                  <a:lnTo>
                    <a:pt x="16786" y="18843"/>
                  </a:lnTo>
                  <a:lnTo>
                    <a:pt x="17964" y="19406"/>
                  </a:lnTo>
                  <a:lnTo>
                    <a:pt x="17375" y="20250"/>
                  </a:lnTo>
                  <a:lnTo>
                    <a:pt x="16786" y="21375"/>
                  </a:lnTo>
                  <a:lnTo>
                    <a:pt x="15608" y="21937"/>
                  </a:lnTo>
                  <a:lnTo>
                    <a:pt x="11780" y="24187"/>
                  </a:lnTo>
                  <a:lnTo>
                    <a:pt x="7951" y="23343"/>
                  </a:lnTo>
                  <a:lnTo>
                    <a:pt x="4417" y="20812"/>
                  </a:lnTo>
                  <a:lnTo>
                    <a:pt x="1178" y="18562"/>
                  </a:lnTo>
                  <a:lnTo>
                    <a:pt x="0" y="15187"/>
                  </a:lnTo>
                  <a:lnTo>
                    <a:pt x="588" y="11250"/>
                  </a:lnTo>
                  <a:lnTo>
                    <a:pt x="2061" y="4500"/>
                  </a:lnTo>
                  <a:lnTo>
                    <a:pt x="7068" y="0"/>
                  </a:lnTo>
                  <a:lnTo>
                    <a:pt x="13547" y="0"/>
                  </a:lnTo>
                  <a:lnTo>
                    <a:pt x="10896" y="4500"/>
                  </a:lnTo>
                  <a:lnTo>
                    <a:pt x="9129" y="7031"/>
                  </a:lnTo>
                  <a:lnTo>
                    <a:pt x="11780" y="8437"/>
                  </a:lnTo>
                  <a:lnTo>
                    <a:pt x="14430" y="9843"/>
                  </a:lnTo>
                  <a:lnTo>
                    <a:pt x="17375" y="11531"/>
                  </a:lnTo>
                  <a:lnTo>
                    <a:pt x="18848" y="8437"/>
                  </a:lnTo>
                  <a:lnTo>
                    <a:pt x="20615" y="1687"/>
                  </a:lnTo>
                  <a:lnTo>
                    <a:pt x="22382" y="5343"/>
                  </a:lnTo>
                  <a:lnTo>
                    <a:pt x="24149" y="9281"/>
                  </a:lnTo>
                  <a:lnTo>
                    <a:pt x="23560" y="13218"/>
                  </a:lnTo>
                  <a:lnTo>
                    <a:pt x="20909" y="16593"/>
                  </a:lnTo>
                  <a:lnTo>
                    <a:pt x="20615" y="17156"/>
                  </a:lnTo>
                  <a:lnTo>
                    <a:pt x="19142" y="17156"/>
                  </a:lnTo>
                  <a:lnTo>
                    <a:pt x="18553" y="16593"/>
                  </a:lnTo>
                  <a:lnTo>
                    <a:pt x="15314" y="15187"/>
                  </a:lnTo>
                  <a:lnTo>
                    <a:pt x="12074" y="13218"/>
                  </a:lnTo>
                  <a:lnTo>
                    <a:pt x="8835" y="11531"/>
                  </a:lnTo>
                  <a:lnTo>
                    <a:pt x="6773" y="1040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58" name="Google Shape;2258;p25"/>
            <p:cNvSpPr/>
            <p:nvPr/>
          </p:nvSpPr>
          <p:spPr>
            <a:xfrm>
              <a:off x="788340" y="6913722"/>
              <a:ext cx="9718" cy="8437"/>
            </a:xfrm>
            <a:custGeom>
              <a:avLst/>
              <a:gdLst/>
              <a:ahLst/>
              <a:cxnLst/>
              <a:rect l="l" t="t" r="r" b="b"/>
              <a:pathLst>
                <a:path w="9718" h="8437" extrusionOk="0">
                  <a:moveTo>
                    <a:pt x="2356" y="3656"/>
                  </a:moveTo>
                  <a:lnTo>
                    <a:pt x="0" y="4500"/>
                  </a:lnTo>
                  <a:lnTo>
                    <a:pt x="2650" y="0"/>
                  </a:lnTo>
                  <a:lnTo>
                    <a:pt x="6773" y="0"/>
                  </a:lnTo>
                  <a:lnTo>
                    <a:pt x="9718" y="1687"/>
                  </a:lnTo>
                  <a:lnTo>
                    <a:pt x="7951" y="8437"/>
                  </a:lnTo>
                  <a:lnTo>
                    <a:pt x="7068" y="6187"/>
                  </a:lnTo>
                  <a:lnTo>
                    <a:pt x="4712" y="4781"/>
                  </a:lnTo>
                  <a:lnTo>
                    <a:pt x="2356" y="365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59" name="Google Shape;2259;p25"/>
            <p:cNvSpPr/>
            <p:nvPr/>
          </p:nvSpPr>
          <p:spPr>
            <a:xfrm>
              <a:off x="842427" y="6961902"/>
              <a:ext cx="2557" cy="10125"/>
            </a:xfrm>
            <a:custGeom>
              <a:avLst/>
              <a:gdLst/>
              <a:ahLst/>
              <a:cxnLst/>
              <a:rect l="l" t="t" r="r" b="b"/>
              <a:pathLst>
                <a:path w="2557" h="10125" extrusionOk="0">
                  <a:moveTo>
                    <a:pt x="1420" y="10125"/>
                  </a:moveTo>
                  <a:lnTo>
                    <a:pt x="0" y="2531"/>
                  </a:lnTo>
                  <a:lnTo>
                    <a:pt x="1704" y="0"/>
                  </a:lnTo>
                  <a:lnTo>
                    <a:pt x="2557" y="9843"/>
                  </a:lnTo>
                  <a:lnTo>
                    <a:pt x="1420" y="1012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60" name="Google Shape;2260;p25"/>
            <p:cNvSpPr/>
            <p:nvPr/>
          </p:nvSpPr>
          <p:spPr>
            <a:xfrm>
              <a:off x="824528" y="6951215"/>
              <a:ext cx="24150" cy="24187"/>
            </a:xfrm>
            <a:custGeom>
              <a:avLst/>
              <a:gdLst/>
              <a:ahLst/>
              <a:cxnLst/>
              <a:rect l="l" t="t" r="r" b="b"/>
              <a:pathLst>
                <a:path w="24150" h="24187" extrusionOk="0">
                  <a:moveTo>
                    <a:pt x="9660" y="18843"/>
                  </a:moveTo>
                  <a:lnTo>
                    <a:pt x="11080" y="18562"/>
                  </a:lnTo>
                  <a:lnTo>
                    <a:pt x="13921" y="18562"/>
                  </a:lnTo>
                  <a:lnTo>
                    <a:pt x="15058" y="19406"/>
                  </a:lnTo>
                  <a:lnTo>
                    <a:pt x="16478" y="21656"/>
                  </a:lnTo>
                  <a:lnTo>
                    <a:pt x="13353" y="24187"/>
                  </a:lnTo>
                  <a:lnTo>
                    <a:pt x="8807" y="24187"/>
                  </a:lnTo>
                  <a:lnTo>
                    <a:pt x="5682" y="21656"/>
                  </a:lnTo>
                  <a:lnTo>
                    <a:pt x="1420" y="18843"/>
                  </a:lnTo>
                  <a:lnTo>
                    <a:pt x="0" y="14062"/>
                  </a:lnTo>
                  <a:lnTo>
                    <a:pt x="1988" y="9562"/>
                  </a:lnTo>
                  <a:lnTo>
                    <a:pt x="3693" y="5343"/>
                  </a:lnTo>
                  <a:lnTo>
                    <a:pt x="6818" y="2531"/>
                  </a:lnTo>
                  <a:lnTo>
                    <a:pt x="11364" y="1125"/>
                  </a:lnTo>
                  <a:lnTo>
                    <a:pt x="15342" y="0"/>
                  </a:lnTo>
                  <a:lnTo>
                    <a:pt x="18751" y="843"/>
                  </a:lnTo>
                  <a:lnTo>
                    <a:pt x="21593" y="3656"/>
                  </a:lnTo>
                  <a:lnTo>
                    <a:pt x="24150" y="6187"/>
                  </a:lnTo>
                  <a:lnTo>
                    <a:pt x="24150" y="9562"/>
                  </a:lnTo>
                  <a:lnTo>
                    <a:pt x="23581" y="13218"/>
                  </a:lnTo>
                  <a:lnTo>
                    <a:pt x="23297" y="13781"/>
                  </a:lnTo>
                  <a:lnTo>
                    <a:pt x="23297" y="14343"/>
                  </a:lnTo>
                  <a:lnTo>
                    <a:pt x="23013" y="14625"/>
                  </a:lnTo>
                  <a:lnTo>
                    <a:pt x="20456" y="20531"/>
                  </a:lnTo>
                  <a:lnTo>
                    <a:pt x="19604" y="10687"/>
                  </a:lnTo>
                  <a:lnTo>
                    <a:pt x="19604" y="8718"/>
                  </a:lnTo>
                  <a:lnTo>
                    <a:pt x="17899" y="6750"/>
                  </a:lnTo>
                  <a:lnTo>
                    <a:pt x="15910" y="4781"/>
                  </a:lnTo>
                  <a:lnTo>
                    <a:pt x="13921" y="4781"/>
                  </a:lnTo>
                  <a:lnTo>
                    <a:pt x="11648" y="6468"/>
                  </a:lnTo>
                  <a:lnTo>
                    <a:pt x="13637" y="8718"/>
                  </a:lnTo>
                  <a:lnTo>
                    <a:pt x="15626" y="10968"/>
                  </a:lnTo>
                  <a:lnTo>
                    <a:pt x="17899" y="13218"/>
                  </a:lnTo>
                  <a:lnTo>
                    <a:pt x="19320" y="20812"/>
                  </a:lnTo>
                  <a:lnTo>
                    <a:pt x="14774" y="16312"/>
                  </a:lnTo>
                  <a:lnTo>
                    <a:pt x="13069" y="14625"/>
                  </a:lnTo>
                  <a:lnTo>
                    <a:pt x="11364" y="12937"/>
                  </a:lnTo>
                  <a:lnTo>
                    <a:pt x="9375" y="10968"/>
                  </a:lnTo>
                  <a:lnTo>
                    <a:pt x="8239" y="9843"/>
                  </a:lnTo>
                  <a:lnTo>
                    <a:pt x="7102" y="10125"/>
                  </a:lnTo>
                  <a:lnTo>
                    <a:pt x="6534" y="11531"/>
                  </a:lnTo>
                  <a:lnTo>
                    <a:pt x="6250" y="13218"/>
                  </a:lnTo>
                  <a:lnTo>
                    <a:pt x="5966" y="15187"/>
                  </a:lnTo>
                  <a:lnTo>
                    <a:pt x="6818" y="16031"/>
                  </a:lnTo>
                  <a:lnTo>
                    <a:pt x="7671" y="17437"/>
                  </a:lnTo>
                  <a:lnTo>
                    <a:pt x="9660" y="1884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61" name="Google Shape;2261;p25"/>
            <p:cNvSpPr/>
            <p:nvPr/>
          </p:nvSpPr>
          <p:spPr>
            <a:xfrm>
              <a:off x="839026" y="6966939"/>
              <a:ext cx="27771" cy="29025"/>
            </a:xfrm>
            <a:custGeom>
              <a:avLst/>
              <a:gdLst/>
              <a:ahLst/>
              <a:cxnLst/>
              <a:rect l="l" t="t" r="r" b="b"/>
              <a:pathLst>
                <a:path w="27771" h="29025" extrusionOk="0">
                  <a:moveTo>
                    <a:pt x="13456" y="20816"/>
                  </a:moveTo>
                  <a:lnTo>
                    <a:pt x="16892" y="17884"/>
                  </a:lnTo>
                  <a:lnTo>
                    <a:pt x="20041" y="14659"/>
                  </a:lnTo>
                  <a:lnTo>
                    <a:pt x="21186" y="13779"/>
                  </a:lnTo>
                  <a:lnTo>
                    <a:pt x="21473" y="11727"/>
                  </a:lnTo>
                  <a:lnTo>
                    <a:pt x="21186" y="10554"/>
                  </a:lnTo>
                  <a:lnTo>
                    <a:pt x="20327" y="8502"/>
                  </a:lnTo>
                  <a:lnTo>
                    <a:pt x="18609" y="7622"/>
                  </a:lnTo>
                  <a:lnTo>
                    <a:pt x="16319" y="8209"/>
                  </a:lnTo>
                  <a:lnTo>
                    <a:pt x="14887" y="8502"/>
                  </a:lnTo>
                  <a:lnTo>
                    <a:pt x="13742" y="9381"/>
                  </a:lnTo>
                  <a:lnTo>
                    <a:pt x="12597" y="10261"/>
                  </a:lnTo>
                  <a:lnTo>
                    <a:pt x="10020" y="12313"/>
                  </a:lnTo>
                  <a:lnTo>
                    <a:pt x="7443" y="14366"/>
                  </a:lnTo>
                  <a:lnTo>
                    <a:pt x="4867" y="16711"/>
                  </a:lnTo>
                  <a:lnTo>
                    <a:pt x="3149" y="18177"/>
                  </a:lnTo>
                  <a:lnTo>
                    <a:pt x="2290" y="17591"/>
                  </a:lnTo>
                  <a:lnTo>
                    <a:pt x="1145" y="16125"/>
                  </a:lnTo>
                  <a:lnTo>
                    <a:pt x="0" y="14366"/>
                  </a:lnTo>
                  <a:lnTo>
                    <a:pt x="0" y="13486"/>
                  </a:lnTo>
                  <a:lnTo>
                    <a:pt x="1717" y="12313"/>
                  </a:lnTo>
                  <a:lnTo>
                    <a:pt x="6012" y="8795"/>
                  </a:lnTo>
                  <a:lnTo>
                    <a:pt x="10307" y="4984"/>
                  </a:lnTo>
                  <a:lnTo>
                    <a:pt x="14887" y="1172"/>
                  </a:lnTo>
                  <a:lnTo>
                    <a:pt x="15746" y="586"/>
                  </a:lnTo>
                  <a:lnTo>
                    <a:pt x="17751" y="0"/>
                  </a:lnTo>
                  <a:lnTo>
                    <a:pt x="18323" y="293"/>
                  </a:lnTo>
                  <a:lnTo>
                    <a:pt x="19755" y="1172"/>
                  </a:lnTo>
                  <a:lnTo>
                    <a:pt x="21186" y="2638"/>
                  </a:lnTo>
                  <a:lnTo>
                    <a:pt x="19468" y="4984"/>
                  </a:lnTo>
                  <a:lnTo>
                    <a:pt x="23763" y="5277"/>
                  </a:lnTo>
                  <a:lnTo>
                    <a:pt x="25767" y="7622"/>
                  </a:lnTo>
                  <a:lnTo>
                    <a:pt x="26912" y="10847"/>
                  </a:lnTo>
                  <a:lnTo>
                    <a:pt x="27771" y="13486"/>
                  </a:lnTo>
                  <a:lnTo>
                    <a:pt x="27199" y="15831"/>
                  </a:lnTo>
                  <a:lnTo>
                    <a:pt x="25481" y="17297"/>
                  </a:lnTo>
                  <a:lnTo>
                    <a:pt x="21473" y="21109"/>
                  </a:lnTo>
                  <a:lnTo>
                    <a:pt x="17464" y="24334"/>
                  </a:lnTo>
                  <a:lnTo>
                    <a:pt x="13170" y="27852"/>
                  </a:lnTo>
                  <a:lnTo>
                    <a:pt x="11738" y="29025"/>
                  </a:lnTo>
                  <a:lnTo>
                    <a:pt x="10879" y="28438"/>
                  </a:lnTo>
                  <a:lnTo>
                    <a:pt x="9734" y="27266"/>
                  </a:lnTo>
                  <a:lnTo>
                    <a:pt x="8875" y="25800"/>
                  </a:lnTo>
                  <a:lnTo>
                    <a:pt x="8302" y="24920"/>
                  </a:lnTo>
                  <a:lnTo>
                    <a:pt x="10020" y="23747"/>
                  </a:lnTo>
                  <a:lnTo>
                    <a:pt x="13456" y="2081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62" name="Google Shape;2262;p25"/>
            <p:cNvSpPr/>
            <p:nvPr/>
          </p:nvSpPr>
          <p:spPr>
            <a:xfrm>
              <a:off x="712242" y="6884701"/>
              <a:ext cx="22941" cy="26606"/>
            </a:xfrm>
            <a:custGeom>
              <a:avLst/>
              <a:gdLst/>
              <a:ahLst/>
              <a:cxnLst/>
              <a:rect l="l" t="t" r="r" b="b"/>
              <a:pathLst>
                <a:path w="22941" h="26606" extrusionOk="0">
                  <a:moveTo>
                    <a:pt x="12179" y="1981"/>
                  </a:moveTo>
                  <a:lnTo>
                    <a:pt x="13595" y="1415"/>
                  </a:lnTo>
                  <a:lnTo>
                    <a:pt x="15294" y="1415"/>
                  </a:lnTo>
                  <a:lnTo>
                    <a:pt x="20109" y="1698"/>
                  </a:lnTo>
                  <a:lnTo>
                    <a:pt x="22941" y="4811"/>
                  </a:lnTo>
                  <a:lnTo>
                    <a:pt x="22092" y="9623"/>
                  </a:lnTo>
                  <a:lnTo>
                    <a:pt x="21525" y="14718"/>
                  </a:lnTo>
                  <a:lnTo>
                    <a:pt x="20109" y="19530"/>
                  </a:lnTo>
                  <a:lnTo>
                    <a:pt x="18693" y="24625"/>
                  </a:lnTo>
                  <a:lnTo>
                    <a:pt x="18410" y="26606"/>
                  </a:lnTo>
                  <a:lnTo>
                    <a:pt x="16993" y="26040"/>
                  </a:lnTo>
                  <a:lnTo>
                    <a:pt x="15861" y="25757"/>
                  </a:lnTo>
                  <a:lnTo>
                    <a:pt x="14444" y="25474"/>
                  </a:lnTo>
                  <a:lnTo>
                    <a:pt x="13311" y="24908"/>
                  </a:lnTo>
                  <a:lnTo>
                    <a:pt x="13878" y="23209"/>
                  </a:lnTo>
                  <a:lnTo>
                    <a:pt x="14444" y="19813"/>
                  </a:lnTo>
                  <a:lnTo>
                    <a:pt x="15294" y="16416"/>
                  </a:lnTo>
                  <a:lnTo>
                    <a:pt x="16144" y="13303"/>
                  </a:lnTo>
                  <a:lnTo>
                    <a:pt x="16427" y="11887"/>
                  </a:lnTo>
                  <a:lnTo>
                    <a:pt x="16993" y="10755"/>
                  </a:lnTo>
                  <a:lnTo>
                    <a:pt x="16710" y="9340"/>
                  </a:lnTo>
                  <a:lnTo>
                    <a:pt x="16427" y="8208"/>
                  </a:lnTo>
                  <a:lnTo>
                    <a:pt x="15577" y="6510"/>
                  </a:lnTo>
                  <a:lnTo>
                    <a:pt x="14728" y="6227"/>
                  </a:lnTo>
                  <a:lnTo>
                    <a:pt x="13595" y="5660"/>
                  </a:lnTo>
                  <a:lnTo>
                    <a:pt x="11895" y="5943"/>
                  </a:lnTo>
                  <a:lnTo>
                    <a:pt x="10762" y="6793"/>
                  </a:lnTo>
                  <a:lnTo>
                    <a:pt x="9629" y="7642"/>
                  </a:lnTo>
                  <a:lnTo>
                    <a:pt x="8780" y="9340"/>
                  </a:lnTo>
                  <a:lnTo>
                    <a:pt x="8213" y="10755"/>
                  </a:lnTo>
                  <a:lnTo>
                    <a:pt x="7364" y="13869"/>
                  </a:lnTo>
                  <a:lnTo>
                    <a:pt x="6514" y="17265"/>
                  </a:lnTo>
                  <a:lnTo>
                    <a:pt x="5947" y="20379"/>
                  </a:lnTo>
                  <a:lnTo>
                    <a:pt x="5381" y="22077"/>
                  </a:lnTo>
                  <a:lnTo>
                    <a:pt x="5098" y="23209"/>
                  </a:lnTo>
                  <a:lnTo>
                    <a:pt x="3115" y="22643"/>
                  </a:lnTo>
                  <a:lnTo>
                    <a:pt x="1132" y="22077"/>
                  </a:lnTo>
                  <a:lnTo>
                    <a:pt x="0" y="21228"/>
                  </a:lnTo>
                  <a:lnTo>
                    <a:pt x="566" y="19247"/>
                  </a:lnTo>
                  <a:lnTo>
                    <a:pt x="2265" y="13869"/>
                  </a:lnTo>
                  <a:lnTo>
                    <a:pt x="3398" y="8208"/>
                  </a:lnTo>
                  <a:lnTo>
                    <a:pt x="4814" y="2830"/>
                  </a:lnTo>
                  <a:lnTo>
                    <a:pt x="5098" y="1698"/>
                  </a:lnTo>
                  <a:lnTo>
                    <a:pt x="6231" y="0"/>
                  </a:lnTo>
                  <a:lnTo>
                    <a:pt x="6514" y="0"/>
                  </a:lnTo>
                  <a:lnTo>
                    <a:pt x="7930" y="283"/>
                  </a:lnTo>
                  <a:lnTo>
                    <a:pt x="9346" y="1132"/>
                  </a:lnTo>
                  <a:lnTo>
                    <a:pt x="10762" y="1698"/>
                  </a:lnTo>
                  <a:lnTo>
                    <a:pt x="10762" y="1981"/>
                  </a:lnTo>
                  <a:lnTo>
                    <a:pt x="10479" y="2264"/>
                  </a:lnTo>
                  <a:lnTo>
                    <a:pt x="12179" y="198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63" name="Google Shape;2263;p25"/>
            <p:cNvSpPr/>
            <p:nvPr/>
          </p:nvSpPr>
          <p:spPr>
            <a:xfrm>
              <a:off x="853516" y="6981452"/>
              <a:ext cx="26564" cy="24187"/>
            </a:xfrm>
            <a:custGeom>
              <a:avLst/>
              <a:gdLst/>
              <a:ahLst/>
              <a:cxnLst/>
              <a:rect l="l" t="t" r="r" b="b"/>
              <a:pathLst>
                <a:path w="26564" h="24187" extrusionOk="0">
                  <a:moveTo>
                    <a:pt x="22890" y="0"/>
                  </a:moveTo>
                  <a:lnTo>
                    <a:pt x="24303" y="291"/>
                  </a:lnTo>
                  <a:lnTo>
                    <a:pt x="25433" y="2331"/>
                  </a:lnTo>
                  <a:lnTo>
                    <a:pt x="26564" y="4371"/>
                  </a:lnTo>
                  <a:lnTo>
                    <a:pt x="25716" y="4954"/>
                  </a:lnTo>
                  <a:lnTo>
                    <a:pt x="24303" y="5828"/>
                  </a:lnTo>
                  <a:lnTo>
                    <a:pt x="22607" y="6994"/>
                  </a:lnTo>
                  <a:lnTo>
                    <a:pt x="20912" y="8159"/>
                  </a:lnTo>
                  <a:lnTo>
                    <a:pt x="22607" y="10782"/>
                  </a:lnTo>
                  <a:lnTo>
                    <a:pt x="22890" y="11073"/>
                  </a:lnTo>
                  <a:lnTo>
                    <a:pt x="22042" y="12822"/>
                  </a:lnTo>
                  <a:lnTo>
                    <a:pt x="21194" y="13113"/>
                  </a:lnTo>
                  <a:lnTo>
                    <a:pt x="20912" y="13696"/>
                  </a:lnTo>
                  <a:lnTo>
                    <a:pt x="19499" y="13113"/>
                  </a:lnTo>
                  <a:lnTo>
                    <a:pt x="18934" y="12822"/>
                  </a:lnTo>
                  <a:lnTo>
                    <a:pt x="18368" y="12530"/>
                  </a:lnTo>
                  <a:lnTo>
                    <a:pt x="18086" y="11656"/>
                  </a:lnTo>
                  <a:lnTo>
                    <a:pt x="17521" y="11073"/>
                  </a:lnTo>
                  <a:lnTo>
                    <a:pt x="14129" y="13405"/>
                  </a:lnTo>
                  <a:lnTo>
                    <a:pt x="10738" y="15736"/>
                  </a:lnTo>
                  <a:lnTo>
                    <a:pt x="7630" y="18067"/>
                  </a:lnTo>
                  <a:lnTo>
                    <a:pt x="7064" y="18650"/>
                  </a:lnTo>
                  <a:lnTo>
                    <a:pt x="7064" y="20107"/>
                  </a:lnTo>
                  <a:lnTo>
                    <a:pt x="7347" y="20982"/>
                  </a:lnTo>
                  <a:lnTo>
                    <a:pt x="7912" y="22730"/>
                  </a:lnTo>
                  <a:lnTo>
                    <a:pt x="7347" y="23604"/>
                  </a:lnTo>
                  <a:lnTo>
                    <a:pt x="6217" y="24187"/>
                  </a:lnTo>
                  <a:lnTo>
                    <a:pt x="5369" y="24187"/>
                  </a:lnTo>
                  <a:lnTo>
                    <a:pt x="3956" y="23896"/>
                  </a:lnTo>
                  <a:lnTo>
                    <a:pt x="3108" y="23313"/>
                  </a:lnTo>
                  <a:lnTo>
                    <a:pt x="0" y="19816"/>
                  </a:lnTo>
                  <a:lnTo>
                    <a:pt x="282" y="16902"/>
                  </a:lnTo>
                  <a:lnTo>
                    <a:pt x="4238" y="13988"/>
                  </a:lnTo>
                  <a:lnTo>
                    <a:pt x="6782" y="11656"/>
                  </a:lnTo>
                  <a:lnTo>
                    <a:pt x="9608" y="9908"/>
                  </a:lnTo>
                  <a:lnTo>
                    <a:pt x="12434" y="7868"/>
                  </a:lnTo>
                  <a:lnTo>
                    <a:pt x="13564" y="6994"/>
                  </a:lnTo>
                  <a:lnTo>
                    <a:pt x="14412" y="6119"/>
                  </a:lnTo>
                  <a:lnTo>
                    <a:pt x="13564" y="4662"/>
                  </a:lnTo>
                  <a:lnTo>
                    <a:pt x="13282" y="4079"/>
                  </a:lnTo>
                  <a:lnTo>
                    <a:pt x="13564" y="2914"/>
                  </a:lnTo>
                  <a:lnTo>
                    <a:pt x="14129" y="2622"/>
                  </a:lnTo>
                  <a:lnTo>
                    <a:pt x="14695" y="2039"/>
                  </a:lnTo>
                  <a:lnTo>
                    <a:pt x="16390" y="1457"/>
                  </a:lnTo>
                  <a:lnTo>
                    <a:pt x="16390" y="1748"/>
                  </a:lnTo>
                  <a:lnTo>
                    <a:pt x="18368" y="4079"/>
                  </a:lnTo>
                  <a:lnTo>
                    <a:pt x="19781" y="2622"/>
                  </a:lnTo>
                  <a:lnTo>
                    <a:pt x="21194" y="1457"/>
                  </a:lnTo>
                  <a:lnTo>
                    <a:pt x="22890" y="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64" name="Google Shape;2264;p25"/>
            <p:cNvSpPr/>
            <p:nvPr/>
          </p:nvSpPr>
          <p:spPr>
            <a:xfrm>
              <a:off x="865592" y="7004434"/>
              <a:ext cx="33808" cy="29025"/>
            </a:xfrm>
            <a:custGeom>
              <a:avLst/>
              <a:gdLst/>
              <a:ahLst/>
              <a:cxnLst/>
              <a:rect l="l" t="t" r="r" b="b"/>
              <a:pathLst>
                <a:path w="33808" h="29025" extrusionOk="0">
                  <a:moveTo>
                    <a:pt x="16622" y="0"/>
                  </a:moveTo>
                  <a:lnTo>
                    <a:pt x="26483" y="0"/>
                  </a:lnTo>
                  <a:lnTo>
                    <a:pt x="30146" y="2561"/>
                  </a:lnTo>
                  <a:lnTo>
                    <a:pt x="32118" y="7683"/>
                  </a:lnTo>
                  <a:lnTo>
                    <a:pt x="33808" y="11951"/>
                  </a:lnTo>
                  <a:lnTo>
                    <a:pt x="33245" y="16220"/>
                  </a:lnTo>
                  <a:lnTo>
                    <a:pt x="30146" y="19065"/>
                  </a:lnTo>
                  <a:lnTo>
                    <a:pt x="29301" y="19634"/>
                  </a:lnTo>
                  <a:lnTo>
                    <a:pt x="27328" y="20204"/>
                  </a:lnTo>
                  <a:lnTo>
                    <a:pt x="27047" y="19919"/>
                  </a:lnTo>
                  <a:lnTo>
                    <a:pt x="26201" y="18496"/>
                  </a:lnTo>
                  <a:lnTo>
                    <a:pt x="24511" y="17073"/>
                  </a:lnTo>
                  <a:lnTo>
                    <a:pt x="25920" y="15081"/>
                  </a:lnTo>
                  <a:lnTo>
                    <a:pt x="28174" y="11951"/>
                  </a:lnTo>
                  <a:lnTo>
                    <a:pt x="28174" y="9106"/>
                  </a:lnTo>
                  <a:lnTo>
                    <a:pt x="25356" y="6829"/>
                  </a:lnTo>
                  <a:lnTo>
                    <a:pt x="24511" y="5975"/>
                  </a:lnTo>
                  <a:lnTo>
                    <a:pt x="22539" y="5406"/>
                  </a:lnTo>
                  <a:lnTo>
                    <a:pt x="21694" y="5975"/>
                  </a:lnTo>
                  <a:lnTo>
                    <a:pt x="20567" y="6260"/>
                  </a:lnTo>
                  <a:lnTo>
                    <a:pt x="19721" y="7967"/>
                  </a:lnTo>
                  <a:lnTo>
                    <a:pt x="19721" y="9106"/>
                  </a:lnTo>
                  <a:lnTo>
                    <a:pt x="20003" y="11951"/>
                  </a:lnTo>
                  <a:lnTo>
                    <a:pt x="20567" y="14512"/>
                  </a:lnTo>
                  <a:lnTo>
                    <a:pt x="21130" y="17358"/>
                  </a:lnTo>
                  <a:lnTo>
                    <a:pt x="21975" y="23334"/>
                  </a:lnTo>
                  <a:lnTo>
                    <a:pt x="19440" y="27318"/>
                  </a:lnTo>
                  <a:lnTo>
                    <a:pt x="14087" y="28740"/>
                  </a:lnTo>
                  <a:lnTo>
                    <a:pt x="13241" y="28740"/>
                  </a:lnTo>
                  <a:lnTo>
                    <a:pt x="12678" y="29025"/>
                  </a:lnTo>
                  <a:lnTo>
                    <a:pt x="12114" y="28740"/>
                  </a:lnTo>
                  <a:lnTo>
                    <a:pt x="7888" y="28740"/>
                  </a:lnTo>
                  <a:lnTo>
                    <a:pt x="3662" y="25041"/>
                  </a:lnTo>
                  <a:lnTo>
                    <a:pt x="1690" y="19919"/>
                  </a:lnTo>
                  <a:lnTo>
                    <a:pt x="0" y="14797"/>
                  </a:lnTo>
                  <a:lnTo>
                    <a:pt x="845" y="10528"/>
                  </a:lnTo>
                  <a:lnTo>
                    <a:pt x="4226" y="7683"/>
                  </a:lnTo>
                  <a:lnTo>
                    <a:pt x="5071" y="6829"/>
                  </a:lnTo>
                  <a:lnTo>
                    <a:pt x="7043" y="6260"/>
                  </a:lnTo>
                  <a:lnTo>
                    <a:pt x="7606" y="6829"/>
                  </a:lnTo>
                  <a:lnTo>
                    <a:pt x="9579" y="8252"/>
                  </a:lnTo>
                  <a:lnTo>
                    <a:pt x="9579" y="10244"/>
                  </a:lnTo>
                  <a:lnTo>
                    <a:pt x="8170" y="11667"/>
                  </a:lnTo>
                  <a:lnTo>
                    <a:pt x="5353" y="14797"/>
                  </a:lnTo>
                  <a:lnTo>
                    <a:pt x="5634" y="19919"/>
                  </a:lnTo>
                  <a:lnTo>
                    <a:pt x="9297" y="22196"/>
                  </a:lnTo>
                  <a:lnTo>
                    <a:pt x="10424" y="22765"/>
                  </a:lnTo>
                  <a:lnTo>
                    <a:pt x="12678" y="23049"/>
                  </a:lnTo>
                  <a:lnTo>
                    <a:pt x="13805" y="22480"/>
                  </a:lnTo>
                  <a:lnTo>
                    <a:pt x="14932" y="21626"/>
                  </a:lnTo>
                  <a:lnTo>
                    <a:pt x="15495" y="19634"/>
                  </a:lnTo>
                  <a:lnTo>
                    <a:pt x="15495" y="15366"/>
                  </a:lnTo>
                  <a:lnTo>
                    <a:pt x="14368" y="12520"/>
                  </a:lnTo>
                  <a:lnTo>
                    <a:pt x="13805" y="9959"/>
                  </a:lnTo>
                  <a:lnTo>
                    <a:pt x="12960" y="4268"/>
                  </a:lnTo>
                  <a:lnTo>
                    <a:pt x="16622" y="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65" name="Google Shape;2265;p25"/>
            <p:cNvSpPr/>
            <p:nvPr/>
          </p:nvSpPr>
          <p:spPr>
            <a:xfrm>
              <a:off x="893361" y="7110881"/>
              <a:ext cx="25356" cy="31445"/>
            </a:xfrm>
            <a:custGeom>
              <a:avLst/>
              <a:gdLst/>
              <a:ahLst/>
              <a:cxnLst/>
              <a:rect l="l" t="t" r="r" b="b"/>
              <a:pathLst>
                <a:path w="25356" h="31445" extrusionOk="0">
                  <a:moveTo>
                    <a:pt x="0" y="16013"/>
                  </a:moveTo>
                  <a:lnTo>
                    <a:pt x="0" y="13975"/>
                  </a:lnTo>
                  <a:lnTo>
                    <a:pt x="1165" y="13393"/>
                  </a:lnTo>
                  <a:lnTo>
                    <a:pt x="6995" y="13393"/>
                  </a:lnTo>
                  <a:lnTo>
                    <a:pt x="11366" y="13102"/>
                  </a:lnTo>
                  <a:lnTo>
                    <a:pt x="15447" y="12811"/>
                  </a:lnTo>
                  <a:lnTo>
                    <a:pt x="19236" y="12811"/>
                  </a:lnTo>
                  <a:lnTo>
                    <a:pt x="19527" y="10481"/>
                  </a:lnTo>
                  <a:lnTo>
                    <a:pt x="19819" y="8152"/>
                  </a:lnTo>
                  <a:lnTo>
                    <a:pt x="18653" y="6405"/>
                  </a:lnTo>
                  <a:lnTo>
                    <a:pt x="16613" y="6114"/>
                  </a:lnTo>
                  <a:lnTo>
                    <a:pt x="12532" y="5532"/>
                  </a:lnTo>
                  <a:lnTo>
                    <a:pt x="4080" y="5532"/>
                  </a:lnTo>
                  <a:lnTo>
                    <a:pt x="874" y="5823"/>
                  </a:lnTo>
                  <a:lnTo>
                    <a:pt x="0" y="5240"/>
                  </a:lnTo>
                  <a:lnTo>
                    <a:pt x="0" y="873"/>
                  </a:lnTo>
                  <a:lnTo>
                    <a:pt x="874" y="0"/>
                  </a:lnTo>
                  <a:lnTo>
                    <a:pt x="21859" y="0"/>
                  </a:lnTo>
                  <a:lnTo>
                    <a:pt x="23316" y="873"/>
                  </a:lnTo>
                  <a:lnTo>
                    <a:pt x="23316" y="1164"/>
                  </a:lnTo>
                  <a:lnTo>
                    <a:pt x="23608" y="2620"/>
                  </a:lnTo>
                  <a:lnTo>
                    <a:pt x="23025" y="4076"/>
                  </a:lnTo>
                  <a:lnTo>
                    <a:pt x="23025" y="5532"/>
                  </a:lnTo>
                  <a:lnTo>
                    <a:pt x="22733" y="5532"/>
                  </a:lnTo>
                  <a:lnTo>
                    <a:pt x="22442" y="5823"/>
                  </a:lnTo>
                  <a:lnTo>
                    <a:pt x="22150" y="5823"/>
                  </a:lnTo>
                  <a:lnTo>
                    <a:pt x="24774" y="9317"/>
                  </a:lnTo>
                  <a:lnTo>
                    <a:pt x="25356" y="13102"/>
                  </a:lnTo>
                  <a:lnTo>
                    <a:pt x="22442" y="16887"/>
                  </a:lnTo>
                  <a:lnTo>
                    <a:pt x="22150" y="17178"/>
                  </a:lnTo>
                  <a:lnTo>
                    <a:pt x="22442" y="18343"/>
                  </a:lnTo>
                  <a:lnTo>
                    <a:pt x="22733" y="18925"/>
                  </a:lnTo>
                  <a:lnTo>
                    <a:pt x="24774" y="21545"/>
                  </a:lnTo>
                  <a:lnTo>
                    <a:pt x="24482" y="24457"/>
                  </a:lnTo>
                  <a:lnTo>
                    <a:pt x="23899" y="27369"/>
                  </a:lnTo>
                  <a:lnTo>
                    <a:pt x="23025" y="30280"/>
                  </a:lnTo>
                  <a:lnTo>
                    <a:pt x="20693" y="31154"/>
                  </a:lnTo>
                  <a:lnTo>
                    <a:pt x="18361" y="31445"/>
                  </a:lnTo>
                  <a:lnTo>
                    <a:pt x="582" y="31445"/>
                  </a:lnTo>
                  <a:lnTo>
                    <a:pt x="291" y="29989"/>
                  </a:lnTo>
                  <a:lnTo>
                    <a:pt x="291" y="28242"/>
                  </a:lnTo>
                  <a:lnTo>
                    <a:pt x="0" y="26204"/>
                  </a:lnTo>
                  <a:lnTo>
                    <a:pt x="6995" y="26204"/>
                  </a:lnTo>
                  <a:lnTo>
                    <a:pt x="10783" y="26495"/>
                  </a:lnTo>
                  <a:lnTo>
                    <a:pt x="14572" y="26204"/>
                  </a:lnTo>
                  <a:lnTo>
                    <a:pt x="18070" y="26204"/>
                  </a:lnTo>
                  <a:lnTo>
                    <a:pt x="19527" y="25039"/>
                  </a:lnTo>
                  <a:lnTo>
                    <a:pt x="19527" y="20090"/>
                  </a:lnTo>
                  <a:lnTo>
                    <a:pt x="17779" y="18634"/>
                  </a:lnTo>
                  <a:lnTo>
                    <a:pt x="1165" y="18634"/>
                  </a:lnTo>
                  <a:lnTo>
                    <a:pt x="0" y="18051"/>
                  </a:lnTo>
                  <a:lnTo>
                    <a:pt x="0" y="1601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66" name="Google Shape;2266;p25"/>
            <p:cNvSpPr/>
            <p:nvPr/>
          </p:nvSpPr>
          <p:spPr>
            <a:xfrm>
              <a:off x="905496" y="7085719"/>
              <a:ext cx="10801" cy="20028"/>
            </a:xfrm>
            <a:custGeom>
              <a:avLst/>
              <a:gdLst/>
              <a:ahLst/>
              <a:cxnLst/>
              <a:rect l="l" t="t" r="r" b="b"/>
              <a:pathLst>
                <a:path w="10801" h="20028" extrusionOk="0">
                  <a:moveTo>
                    <a:pt x="8173" y="1741"/>
                  </a:moveTo>
                  <a:lnTo>
                    <a:pt x="10801" y="6095"/>
                  </a:lnTo>
                  <a:lnTo>
                    <a:pt x="9925" y="11320"/>
                  </a:lnTo>
                  <a:lnTo>
                    <a:pt x="9341" y="15674"/>
                  </a:lnTo>
                  <a:lnTo>
                    <a:pt x="4378" y="19737"/>
                  </a:lnTo>
                  <a:lnTo>
                    <a:pt x="0" y="20028"/>
                  </a:lnTo>
                  <a:lnTo>
                    <a:pt x="875" y="14222"/>
                  </a:lnTo>
                  <a:lnTo>
                    <a:pt x="3795" y="13352"/>
                  </a:lnTo>
                  <a:lnTo>
                    <a:pt x="5254" y="11900"/>
                  </a:lnTo>
                  <a:lnTo>
                    <a:pt x="5254" y="6966"/>
                  </a:lnTo>
                  <a:lnTo>
                    <a:pt x="3795" y="5514"/>
                  </a:lnTo>
                  <a:lnTo>
                    <a:pt x="1751" y="4934"/>
                  </a:lnTo>
                  <a:lnTo>
                    <a:pt x="3211" y="0"/>
                  </a:lnTo>
                  <a:lnTo>
                    <a:pt x="8173" y="174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67" name="Google Shape;2267;p25"/>
            <p:cNvSpPr/>
            <p:nvPr/>
          </p:nvSpPr>
          <p:spPr>
            <a:xfrm>
              <a:off x="889732" y="7084268"/>
              <a:ext cx="18975" cy="21769"/>
            </a:xfrm>
            <a:custGeom>
              <a:avLst/>
              <a:gdLst/>
              <a:ahLst/>
              <a:cxnLst/>
              <a:rect l="l" t="t" r="r" b="b"/>
              <a:pathLst>
                <a:path w="18975" h="21769" extrusionOk="0">
                  <a:moveTo>
                    <a:pt x="5546" y="13352"/>
                  </a:moveTo>
                  <a:lnTo>
                    <a:pt x="6422" y="15383"/>
                  </a:lnTo>
                  <a:lnTo>
                    <a:pt x="8757" y="16544"/>
                  </a:lnTo>
                  <a:lnTo>
                    <a:pt x="11093" y="17705"/>
                  </a:lnTo>
                  <a:lnTo>
                    <a:pt x="10509" y="19737"/>
                  </a:lnTo>
                  <a:lnTo>
                    <a:pt x="10801" y="21479"/>
                  </a:lnTo>
                  <a:lnTo>
                    <a:pt x="6422" y="21769"/>
                  </a:lnTo>
                  <a:lnTo>
                    <a:pt x="3211" y="19447"/>
                  </a:lnTo>
                  <a:lnTo>
                    <a:pt x="1751" y="15093"/>
                  </a:lnTo>
                  <a:lnTo>
                    <a:pt x="0" y="10739"/>
                  </a:lnTo>
                  <a:lnTo>
                    <a:pt x="1459" y="6095"/>
                  </a:lnTo>
                  <a:lnTo>
                    <a:pt x="4962" y="3483"/>
                  </a:lnTo>
                  <a:lnTo>
                    <a:pt x="9341" y="580"/>
                  </a:lnTo>
                  <a:lnTo>
                    <a:pt x="14012" y="0"/>
                  </a:lnTo>
                  <a:lnTo>
                    <a:pt x="18975" y="1451"/>
                  </a:lnTo>
                  <a:lnTo>
                    <a:pt x="17515" y="6385"/>
                  </a:lnTo>
                  <a:lnTo>
                    <a:pt x="15764" y="5805"/>
                  </a:lnTo>
                  <a:lnTo>
                    <a:pt x="15180" y="6385"/>
                  </a:lnTo>
                  <a:lnTo>
                    <a:pt x="15180" y="8127"/>
                  </a:lnTo>
                  <a:lnTo>
                    <a:pt x="15764" y="10449"/>
                  </a:lnTo>
                  <a:lnTo>
                    <a:pt x="16056" y="12771"/>
                  </a:lnTo>
                  <a:lnTo>
                    <a:pt x="16639" y="15674"/>
                  </a:lnTo>
                  <a:lnTo>
                    <a:pt x="15764" y="21479"/>
                  </a:lnTo>
                  <a:lnTo>
                    <a:pt x="13720" y="21769"/>
                  </a:lnTo>
                  <a:lnTo>
                    <a:pt x="13136" y="20608"/>
                  </a:lnTo>
                  <a:lnTo>
                    <a:pt x="12844" y="18576"/>
                  </a:lnTo>
                  <a:lnTo>
                    <a:pt x="12260" y="14803"/>
                  </a:lnTo>
                  <a:lnTo>
                    <a:pt x="11677" y="10739"/>
                  </a:lnTo>
                  <a:lnTo>
                    <a:pt x="11093" y="6676"/>
                  </a:lnTo>
                  <a:lnTo>
                    <a:pt x="7882" y="7256"/>
                  </a:lnTo>
                  <a:lnTo>
                    <a:pt x="6130" y="8707"/>
                  </a:lnTo>
                  <a:lnTo>
                    <a:pt x="5838" y="11029"/>
                  </a:lnTo>
                  <a:lnTo>
                    <a:pt x="5546" y="1335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68" name="Google Shape;2268;p25"/>
            <p:cNvSpPr/>
            <p:nvPr/>
          </p:nvSpPr>
          <p:spPr>
            <a:xfrm>
              <a:off x="866788" y="7028626"/>
              <a:ext cx="36225" cy="20559"/>
            </a:xfrm>
            <a:custGeom>
              <a:avLst/>
              <a:gdLst/>
              <a:ahLst/>
              <a:cxnLst/>
              <a:rect l="l" t="t" r="r" b="b"/>
              <a:pathLst>
                <a:path w="36225" h="20559" extrusionOk="0">
                  <a:moveTo>
                    <a:pt x="570" y="15772"/>
                  </a:moveTo>
                  <a:lnTo>
                    <a:pt x="0" y="14363"/>
                  </a:lnTo>
                  <a:lnTo>
                    <a:pt x="0" y="13237"/>
                  </a:lnTo>
                  <a:lnTo>
                    <a:pt x="1711" y="12392"/>
                  </a:lnTo>
                  <a:lnTo>
                    <a:pt x="3422" y="11547"/>
                  </a:lnTo>
                  <a:lnTo>
                    <a:pt x="4278" y="11828"/>
                  </a:lnTo>
                  <a:lnTo>
                    <a:pt x="5134" y="13518"/>
                  </a:lnTo>
                  <a:lnTo>
                    <a:pt x="6275" y="16053"/>
                  </a:lnTo>
                  <a:lnTo>
                    <a:pt x="9127" y="16053"/>
                  </a:lnTo>
                  <a:lnTo>
                    <a:pt x="11694" y="14082"/>
                  </a:lnTo>
                  <a:lnTo>
                    <a:pt x="16544" y="9857"/>
                  </a:lnTo>
                  <a:lnTo>
                    <a:pt x="21393" y="5632"/>
                  </a:lnTo>
                  <a:lnTo>
                    <a:pt x="26242" y="1126"/>
                  </a:lnTo>
                  <a:lnTo>
                    <a:pt x="26812" y="844"/>
                  </a:lnTo>
                  <a:lnTo>
                    <a:pt x="27383" y="281"/>
                  </a:lnTo>
                  <a:lnTo>
                    <a:pt x="27953" y="0"/>
                  </a:lnTo>
                  <a:lnTo>
                    <a:pt x="30806" y="3379"/>
                  </a:lnTo>
                  <a:lnTo>
                    <a:pt x="30806" y="4787"/>
                  </a:lnTo>
                  <a:lnTo>
                    <a:pt x="27668" y="7322"/>
                  </a:lnTo>
                  <a:lnTo>
                    <a:pt x="24530" y="9575"/>
                  </a:lnTo>
                  <a:lnTo>
                    <a:pt x="21678" y="12110"/>
                  </a:lnTo>
                  <a:lnTo>
                    <a:pt x="18825" y="14645"/>
                  </a:lnTo>
                  <a:lnTo>
                    <a:pt x="18825" y="15208"/>
                  </a:lnTo>
                  <a:lnTo>
                    <a:pt x="19111" y="15490"/>
                  </a:lnTo>
                  <a:lnTo>
                    <a:pt x="22534" y="15208"/>
                  </a:lnTo>
                  <a:lnTo>
                    <a:pt x="26242" y="14927"/>
                  </a:lnTo>
                  <a:lnTo>
                    <a:pt x="29665" y="14363"/>
                  </a:lnTo>
                  <a:lnTo>
                    <a:pt x="33943" y="14082"/>
                  </a:lnTo>
                  <a:lnTo>
                    <a:pt x="34799" y="14645"/>
                  </a:lnTo>
                  <a:lnTo>
                    <a:pt x="35655" y="17180"/>
                  </a:lnTo>
                  <a:lnTo>
                    <a:pt x="36225" y="18588"/>
                  </a:lnTo>
                  <a:lnTo>
                    <a:pt x="35940" y="19151"/>
                  </a:lnTo>
                  <a:lnTo>
                    <a:pt x="34229" y="19151"/>
                  </a:lnTo>
                  <a:lnTo>
                    <a:pt x="21545" y="19776"/>
                  </a:lnTo>
                  <a:lnTo>
                    <a:pt x="8831" y="20208"/>
                  </a:lnTo>
                  <a:lnTo>
                    <a:pt x="6560" y="20278"/>
                  </a:lnTo>
                  <a:lnTo>
                    <a:pt x="3422" y="20559"/>
                  </a:lnTo>
                  <a:lnTo>
                    <a:pt x="1711" y="18870"/>
                  </a:lnTo>
                  <a:lnTo>
                    <a:pt x="570" y="1577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69" name="Google Shape;2269;p25"/>
            <p:cNvSpPr/>
            <p:nvPr/>
          </p:nvSpPr>
          <p:spPr>
            <a:xfrm>
              <a:off x="881282" y="7050398"/>
              <a:ext cx="27772" cy="24188"/>
            </a:xfrm>
            <a:custGeom>
              <a:avLst/>
              <a:gdLst/>
              <a:ahLst/>
              <a:cxnLst/>
              <a:rect l="l" t="t" r="r" b="b"/>
              <a:pathLst>
                <a:path w="27772" h="24188" extrusionOk="0">
                  <a:moveTo>
                    <a:pt x="24909" y="15651"/>
                  </a:moveTo>
                  <a:lnTo>
                    <a:pt x="24050" y="16789"/>
                  </a:lnTo>
                  <a:lnTo>
                    <a:pt x="22332" y="17358"/>
                  </a:lnTo>
                  <a:lnTo>
                    <a:pt x="21187" y="18212"/>
                  </a:lnTo>
                  <a:lnTo>
                    <a:pt x="20328" y="16504"/>
                  </a:lnTo>
                  <a:lnTo>
                    <a:pt x="19183" y="14797"/>
                  </a:lnTo>
                  <a:lnTo>
                    <a:pt x="20614" y="12805"/>
                  </a:lnTo>
                  <a:lnTo>
                    <a:pt x="20900" y="12236"/>
                  </a:lnTo>
                  <a:lnTo>
                    <a:pt x="21473" y="10813"/>
                  </a:lnTo>
                  <a:lnTo>
                    <a:pt x="21187" y="10244"/>
                  </a:lnTo>
                  <a:lnTo>
                    <a:pt x="20614" y="8821"/>
                  </a:lnTo>
                  <a:lnTo>
                    <a:pt x="19469" y="7967"/>
                  </a:lnTo>
                  <a:lnTo>
                    <a:pt x="18610" y="6829"/>
                  </a:lnTo>
                  <a:lnTo>
                    <a:pt x="18037" y="7967"/>
                  </a:lnTo>
                  <a:lnTo>
                    <a:pt x="17178" y="9106"/>
                  </a:lnTo>
                  <a:lnTo>
                    <a:pt x="16892" y="10244"/>
                  </a:lnTo>
                  <a:lnTo>
                    <a:pt x="16606" y="11382"/>
                  </a:lnTo>
                  <a:lnTo>
                    <a:pt x="16892" y="12521"/>
                  </a:lnTo>
                  <a:lnTo>
                    <a:pt x="16892" y="21342"/>
                  </a:lnTo>
                  <a:lnTo>
                    <a:pt x="11738" y="24188"/>
                  </a:lnTo>
                  <a:lnTo>
                    <a:pt x="6871" y="21627"/>
                  </a:lnTo>
                  <a:lnTo>
                    <a:pt x="1431" y="18781"/>
                  </a:lnTo>
                  <a:lnTo>
                    <a:pt x="0" y="9106"/>
                  </a:lnTo>
                  <a:lnTo>
                    <a:pt x="4581" y="5406"/>
                  </a:lnTo>
                  <a:lnTo>
                    <a:pt x="5439" y="4837"/>
                  </a:lnTo>
                  <a:lnTo>
                    <a:pt x="7444" y="4268"/>
                  </a:lnTo>
                  <a:lnTo>
                    <a:pt x="7730" y="4553"/>
                  </a:lnTo>
                  <a:lnTo>
                    <a:pt x="8589" y="5975"/>
                  </a:lnTo>
                  <a:lnTo>
                    <a:pt x="9734" y="7398"/>
                  </a:lnTo>
                  <a:lnTo>
                    <a:pt x="8016" y="9390"/>
                  </a:lnTo>
                  <a:lnTo>
                    <a:pt x="6012" y="11667"/>
                  </a:lnTo>
                  <a:lnTo>
                    <a:pt x="6012" y="13659"/>
                  </a:lnTo>
                  <a:lnTo>
                    <a:pt x="8016" y="16220"/>
                  </a:lnTo>
                  <a:lnTo>
                    <a:pt x="9162" y="17927"/>
                  </a:lnTo>
                  <a:lnTo>
                    <a:pt x="10879" y="17643"/>
                  </a:lnTo>
                  <a:lnTo>
                    <a:pt x="11738" y="15651"/>
                  </a:lnTo>
                  <a:lnTo>
                    <a:pt x="12025" y="14797"/>
                  </a:lnTo>
                  <a:lnTo>
                    <a:pt x="12025" y="9959"/>
                  </a:lnTo>
                  <a:lnTo>
                    <a:pt x="11738" y="7967"/>
                  </a:lnTo>
                  <a:lnTo>
                    <a:pt x="12311" y="5691"/>
                  </a:lnTo>
                  <a:lnTo>
                    <a:pt x="13170" y="1707"/>
                  </a:lnTo>
                  <a:lnTo>
                    <a:pt x="17751" y="0"/>
                  </a:lnTo>
                  <a:lnTo>
                    <a:pt x="21473" y="1991"/>
                  </a:lnTo>
                  <a:lnTo>
                    <a:pt x="25481" y="4268"/>
                  </a:lnTo>
                  <a:lnTo>
                    <a:pt x="27772" y="11951"/>
                  </a:lnTo>
                  <a:lnTo>
                    <a:pt x="24909" y="1565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70" name="Google Shape;2270;p25"/>
            <p:cNvSpPr/>
            <p:nvPr/>
          </p:nvSpPr>
          <p:spPr>
            <a:xfrm>
              <a:off x="888533" y="7069751"/>
              <a:ext cx="30186" cy="16931"/>
            </a:xfrm>
            <a:custGeom>
              <a:avLst/>
              <a:gdLst/>
              <a:ahLst/>
              <a:cxnLst/>
              <a:rect l="l" t="t" r="r" b="b"/>
              <a:pathLst>
                <a:path w="30186" h="16931" extrusionOk="0">
                  <a:moveTo>
                    <a:pt x="17705" y="9470"/>
                  </a:moveTo>
                  <a:lnTo>
                    <a:pt x="15964" y="10044"/>
                  </a:lnTo>
                  <a:lnTo>
                    <a:pt x="13351" y="10618"/>
                  </a:lnTo>
                  <a:lnTo>
                    <a:pt x="10158" y="11192"/>
                  </a:lnTo>
                  <a:lnTo>
                    <a:pt x="7546" y="12053"/>
                  </a:lnTo>
                  <a:lnTo>
                    <a:pt x="6675" y="12340"/>
                  </a:lnTo>
                  <a:lnTo>
                    <a:pt x="5514" y="13775"/>
                  </a:lnTo>
                  <a:lnTo>
                    <a:pt x="5514" y="14636"/>
                  </a:lnTo>
                  <a:lnTo>
                    <a:pt x="5224" y="16070"/>
                  </a:lnTo>
                  <a:lnTo>
                    <a:pt x="4644" y="16931"/>
                  </a:lnTo>
                  <a:lnTo>
                    <a:pt x="2612" y="16931"/>
                  </a:lnTo>
                  <a:lnTo>
                    <a:pt x="1451" y="16070"/>
                  </a:lnTo>
                  <a:lnTo>
                    <a:pt x="870" y="15209"/>
                  </a:lnTo>
                  <a:lnTo>
                    <a:pt x="290" y="14636"/>
                  </a:lnTo>
                  <a:lnTo>
                    <a:pt x="290" y="13201"/>
                  </a:lnTo>
                  <a:lnTo>
                    <a:pt x="0" y="12627"/>
                  </a:lnTo>
                  <a:lnTo>
                    <a:pt x="290" y="9757"/>
                  </a:lnTo>
                  <a:lnTo>
                    <a:pt x="870" y="8035"/>
                  </a:lnTo>
                  <a:lnTo>
                    <a:pt x="3483" y="7461"/>
                  </a:lnTo>
                  <a:lnTo>
                    <a:pt x="7256" y="6600"/>
                  </a:lnTo>
                  <a:lnTo>
                    <a:pt x="11319" y="5452"/>
                  </a:lnTo>
                  <a:lnTo>
                    <a:pt x="15093" y="4591"/>
                  </a:lnTo>
                  <a:lnTo>
                    <a:pt x="16544" y="4304"/>
                  </a:lnTo>
                  <a:lnTo>
                    <a:pt x="17705" y="4017"/>
                  </a:lnTo>
                  <a:lnTo>
                    <a:pt x="17415" y="2008"/>
                  </a:lnTo>
                  <a:lnTo>
                    <a:pt x="17415" y="1434"/>
                  </a:lnTo>
                  <a:lnTo>
                    <a:pt x="18576" y="573"/>
                  </a:lnTo>
                  <a:lnTo>
                    <a:pt x="19156" y="286"/>
                  </a:lnTo>
                  <a:lnTo>
                    <a:pt x="19737" y="0"/>
                  </a:lnTo>
                  <a:lnTo>
                    <a:pt x="21188" y="573"/>
                  </a:lnTo>
                  <a:lnTo>
                    <a:pt x="21478" y="1147"/>
                  </a:lnTo>
                  <a:lnTo>
                    <a:pt x="22349" y="3443"/>
                  </a:lnTo>
                  <a:lnTo>
                    <a:pt x="24091" y="2869"/>
                  </a:lnTo>
                  <a:lnTo>
                    <a:pt x="25542" y="2295"/>
                  </a:lnTo>
                  <a:lnTo>
                    <a:pt x="27574" y="1721"/>
                  </a:lnTo>
                  <a:lnTo>
                    <a:pt x="29025" y="1721"/>
                  </a:lnTo>
                  <a:lnTo>
                    <a:pt x="29605" y="4304"/>
                  </a:lnTo>
                  <a:lnTo>
                    <a:pt x="30186" y="6600"/>
                  </a:lnTo>
                  <a:lnTo>
                    <a:pt x="28735" y="7174"/>
                  </a:lnTo>
                  <a:lnTo>
                    <a:pt x="26703" y="7461"/>
                  </a:lnTo>
                  <a:lnTo>
                    <a:pt x="24671" y="7748"/>
                  </a:lnTo>
                  <a:lnTo>
                    <a:pt x="23220" y="8322"/>
                  </a:lnTo>
                  <a:lnTo>
                    <a:pt x="23800" y="10905"/>
                  </a:lnTo>
                  <a:lnTo>
                    <a:pt x="23800" y="11479"/>
                  </a:lnTo>
                  <a:lnTo>
                    <a:pt x="22639" y="12627"/>
                  </a:lnTo>
                  <a:lnTo>
                    <a:pt x="21769" y="12627"/>
                  </a:lnTo>
                  <a:lnTo>
                    <a:pt x="21188" y="12914"/>
                  </a:lnTo>
                  <a:lnTo>
                    <a:pt x="19737" y="12340"/>
                  </a:lnTo>
                  <a:lnTo>
                    <a:pt x="19737" y="11766"/>
                  </a:lnTo>
                  <a:lnTo>
                    <a:pt x="19156" y="9470"/>
                  </a:lnTo>
                  <a:lnTo>
                    <a:pt x="17705" y="947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71" name="Google Shape;2271;p25"/>
            <p:cNvSpPr/>
            <p:nvPr/>
          </p:nvSpPr>
          <p:spPr>
            <a:xfrm>
              <a:off x="605970" y="6876246"/>
              <a:ext cx="33810" cy="37492"/>
            </a:xfrm>
            <a:custGeom>
              <a:avLst/>
              <a:gdLst/>
              <a:ahLst/>
              <a:cxnLst/>
              <a:rect l="l" t="t" r="r" b="b"/>
              <a:pathLst>
                <a:path w="33810" h="37492" extrusionOk="0">
                  <a:moveTo>
                    <a:pt x="288" y="9158"/>
                  </a:moveTo>
                  <a:lnTo>
                    <a:pt x="577" y="8872"/>
                  </a:lnTo>
                  <a:lnTo>
                    <a:pt x="2889" y="8299"/>
                  </a:lnTo>
                  <a:lnTo>
                    <a:pt x="2600" y="6868"/>
                  </a:lnTo>
                  <a:lnTo>
                    <a:pt x="2311" y="5151"/>
                  </a:lnTo>
                  <a:lnTo>
                    <a:pt x="2311" y="4006"/>
                  </a:lnTo>
                  <a:lnTo>
                    <a:pt x="2600" y="2289"/>
                  </a:lnTo>
                  <a:lnTo>
                    <a:pt x="3178" y="1717"/>
                  </a:lnTo>
                  <a:lnTo>
                    <a:pt x="5201" y="0"/>
                  </a:lnTo>
                  <a:lnTo>
                    <a:pt x="6646" y="858"/>
                  </a:lnTo>
                  <a:lnTo>
                    <a:pt x="7224" y="3434"/>
                  </a:lnTo>
                  <a:lnTo>
                    <a:pt x="8380" y="7154"/>
                  </a:lnTo>
                  <a:lnTo>
                    <a:pt x="12136" y="6582"/>
                  </a:lnTo>
                  <a:lnTo>
                    <a:pt x="18005" y="5613"/>
                  </a:lnTo>
                  <a:lnTo>
                    <a:pt x="20517" y="10589"/>
                  </a:lnTo>
                  <a:lnTo>
                    <a:pt x="22251" y="13737"/>
                  </a:lnTo>
                  <a:lnTo>
                    <a:pt x="23696" y="16599"/>
                  </a:lnTo>
                  <a:lnTo>
                    <a:pt x="25140" y="19747"/>
                  </a:lnTo>
                  <a:lnTo>
                    <a:pt x="25429" y="19461"/>
                  </a:lnTo>
                  <a:lnTo>
                    <a:pt x="25718" y="19461"/>
                  </a:lnTo>
                  <a:lnTo>
                    <a:pt x="26585" y="15168"/>
                  </a:lnTo>
                  <a:lnTo>
                    <a:pt x="27163" y="10875"/>
                  </a:lnTo>
                  <a:lnTo>
                    <a:pt x="28030" y="6582"/>
                  </a:lnTo>
                  <a:lnTo>
                    <a:pt x="28319" y="5724"/>
                  </a:lnTo>
                  <a:lnTo>
                    <a:pt x="29186" y="4292"/>
                  </a:lnTo>
                  <a:lnTo>
                    <a:pt x="30053" y="4006"/>
                  </a:lnTo>
                  <a:lnTo>
                    <a:pt x="32943" y="2861"/>
                  </a:lnTo>
                  <a:lnTo>
                    <a:pt x="33810" y="3720"/>
                  </a:lnTo>
                  <a:lnTo>
                    <a:pt x="33232" y="6868"/>
                  </a:lnTo>
                  <a:lnTo>
                    <a:pt x="31787" y="14882"/>
                  </a:lnTo>
                  <a:lnTo>
                    <a:pt x="30053" y="23182"/>
                  </a:lnTo>
                  <a:lnTo>
                    <a:pt x="28319" y="31195"/>
                  </a:lnTo>
                  <a:lnTo>
                    <a:pt x="27452" y="35488"/>
                  </a:lnTo>
                  <a:lnTo>
                    <a:pt x="25140" y="37205"/>
                  </a:lnTo>
                  <a:lnTo>
                    <a:pt x="21673" y="37492"/>
                  </a:lnTo>
                  <a:lnTo>
                    <a:pt x="19939" y="37492"/>
                  </a:lnTo>
                  <a:lnTo>
                    <a:pt x="19072" y="37205"/>
                  </a:lnTo>
                  <a:lnTo>
                    <a:pt x="18783" y="35488"/>
                  </a:lnTo>
                  <a:lnTo>
                    <a:pt x="18494" y="33771"/>
                  </a:lnTo>
                  <a:lnTo>
                    <a:pt x="18783" y="32912"/>
                  </a:lnTo>
                  <a:lnTo>
                    <a:pt x="20517" y="32340"/>
                  </a:lnTo>
                  <a:lnTo>
                    <a:pt x="23118" y="31768"/>
                  </a:lnTo>
                  <a:lnTo>
                    <a:pt x="24273" y="29192"/>
                  </a:lnTo>
                  <a:lnTo>
                    <a:pt x="23118" y="26616"/>
                  </a:lnTo>
                  <a:lnTo>
                    <a:pt x="19939" y="20606"/>
                  </a:lnTo>
                  <a:lnTo>
                    <a:pt x="16471" y="14309"/>
                  </a:lnTo>
                  <a:lnTo>
                    <a:pt x="13292" y="8585"/>
                  </a:lnTo>
                  <a:lnTo>
                    <a:pt x="10692" y="11161"/>
                  </a:lnTo>
                  <a:lnTo>
                    <a:pt x="10114" y="12020"/>
                  </a:lnTo>
                  <a:lnTo>
                    <a:pt x="9536" y="12878"/>
                  </a:lnTo>
                  <a:lnTo>
                    <a:pt x="9536" y="13451"/>
                  </a:lnTo>
                  <a:lnTo>
                    <a:pt x="10114" y="16599"/>
                  </a:lnTo>
                  <a:lnTo>
                    <a:pt x="10692" y="19747"/>
                  </a:lnTo>
                  <a:lnTo>
                    <a:pt x="11559" y="22895"/>
                  </a:lnTo>
                  <a:lnTo>
                    <a:pt x="11848" y="24326"/>
                  </a:lnTo>
                  <a:lnTo>
                    <a:pt x="12714" y="25471"/>
                  </a:lnTo>
                  <a:lnTo>
                    <a:pt x="14448" y="25185"/>
                  </a:lnTo>
                  <a:lnTo>
                    <a:pt x="16182" y="24899"/>
                  </a:lnTo>
                  <a:lnTo>
                    <a:pt x="16760" y="26044"/>
                  </a:lnTo>
                  <a:lnTo>
                    <a:pt x="16471" y="27188"/>
                  </a:lnTo>
                  <a:lnTo>
                    <a:pt x="16471" y="28047"/>
                  </a:lnTo>
                  <a:lnTo>
                    <a:pt x="15893" y="29192"/>
                  </a:lnTo>
                  <a:lnTo>
                    <a:pt x="15026" y="29478"/>
                  </a:lnTo>
                  <a:lnTo>
                    <a:pt x="10692" y="31481"/>
                  </a:lnTo>
                  <a:lnTo>
                    <a:pt x="7513" y="30050"/>
                  </a:lnTo>
                  <a:lnTo>
                    <a:pt x="6357" y="25185"/>
                  </a:lnTo>
                  <a:lnTo>
                    <a:pt x="5779" y="21751"/>
                  </a:lnTo>
                  <a:lnTo>
                    <a:pt x="4912" y="18316"/>
                  </a:lnTo>
                  <a:lnTo>
                    <a:pt x="4334" y="14882"/>
                  </a:lnTo>
                  <a:lnTo>
                    <a:pt x="4045" y="13451"/>
                  </a:lnTo>
                  <a:lnTo>
                    <a:pt x="3467" y="12878"/>
                  </a:lnTo>
                  <a:lnTo>
                    <a:pt x="1155" y="12878"/>
                  </a:lnTo>
                  <a:lnTo>
                    <a:pt x="288" y="12020"/>
                  </a:lnTo>
                  <a:lnTo>
                    <a:pt x="0" y="11161"/>
                  </a:lnTo>
                  <a:lnTo>
                    <a:pt x="0" y="10589"/>
                  </a:lnTo>
                  <a:lnTo>
                    <a:pt x="288" y="9158"/>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72" name="Google Shape;2272;p25"/>
            <p:cNvSpPr/>
            <p:nvPr/>
          </p:nvSpPr>
          <p:spPr>
            <a:xfrm>
              <a:off x="623598" y="6881111"/>
              <a:ext cx="1444" cy="748"/>
            </a:xfrm>
            <a:custGeom>
              <a:avLst/>
              <a:gdLst/>
              <a:ahLst/>
              <a:cxnLst/>
              <a:rect l="l" t="t" r="r" b="b"/>
              <a:pathLst>
                <a:path w="1444" h="748" extrusionOk="0">
                  <a:moveTo>
                    <a:pt x="1444" y="572"/>
                  </a:moveTo>
                  <a:lnTo>
                    <a:pt x="377" y="748"/>
                  </a:lnTo>
                  <a:lnTo>
                    <a:pt x="0" y="0"/>
                  </a:lnTo>
                  <a:lnTo>
                    <a:pt x="1444" y="57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73" name="Google Shape;2273;p25"/>
            <p:cNvSpPr/>
            <p:nvPr/>
          </p:nvSpPr>
          <p:spPr>
            <a:xfrm>
              <a:off x="493671" y="6920985"/>
              <a:ext cx="32602" cy="33863"/>
            </a:xfrm>
            <a:custGeom>
              <a:avLst/>
              <a:gdLst/>
              <a:ahLst/>
              <a:cxnLst/>
              <a:rect l="l" t="t" r="r" b="b"/>
              <a:pathLst>
                <a:path w="32602" h="33863" extrusionOk="0">
                  <a:moveTo>
                    <a:pt x="11061" y="15209"/>
                  </a:moveTo>
                  <a:lnTo>
                    <a:pt x="13972" y="14348"/>
                  </a:lnTo>
                  <a:lnTo>
                    <a:pt x="16301" y="13200"/>
                  </a:lnTo>
                  <a:lnTo>
                    <a:pt x="18921" y="12339"/>
                  </a:lnTo>
                  <a:lnTo>
                    <a:pt x="23869" y="10044"/>
                  </a:lnTo>
                  <a:lnTo>
                    <a:pt x="28818" y="11479"/>
                  </a:lnTo>
                  <a:lnTo>
                    <a:pt x="31147" y="16070"/>
                  </a:lnTo>
                  <a:lnTo>
                    <a:pt x="32020" y="17218"/>
                  </a:lnTo>
                  <a:lnTo>
                    <a:pt x="32020" y="18940"/>
                  </a:lnTo>
                  <a:lnTo>
                    <a:pt x="32602" y="20375"/>
                  </a:lnTo>
                  <a:lnTo>
                    <a:pt x="32311" y="25827"/>
                  </a:lnTo>
                  <a:lnTo>
                    <a:pt x="29109" y="28984"/>
                  </a:lnTo>
                  <a:lnTo>
                    <a:pt x="25034" y="31280"/>
                  </a:lnTo>
                  <a:lnTo>
                    <a:pt x="20958" y="33576"/>
                  </a:lnTo>
                  <a:lnTo>
                    <a:pt x="16883" y="33863"/>
                  </a:lnTo>
                  <a:lnTo>
                    <a:pt x="12808" y="30993"/>
                  </a:lnTo>
                  <a:lnTo>
                    <a:pt x="11643" y="30419"/>
                  </a:lnTo>
                  <a:lnTo>
                    <a:pt x="9606" y="29558"/>
                  </a:lnTo>
                  <a:lnTo>
                    <a:pt x="11061" y="27549"/>
                  </a:lnTo>
                  <a:lnTo>
                    <a:pt x="12517" y="25253"/>
                  </a:lnTo>
                  <a:lnTo>
                    <a:pt x="14263" y="24966"/>
                  </a:lnTo>
                  <a:lnTo>
                    <a:pt x="16301" y="26401"/>
                  </a:lnTo>
                  <a:lnTo>
                    <a:pt x="20376" y="29558"/>
                  </a:lnTo>
                  <a:lnTo>
                    <a:pt x="26489" y="24966"/>
                  </a:lnTo>
                  <a:lnTo>
                    <a:pt x="26780" y="21523"/>
                  </a:lnTo>
                  <a:lnTo>
                    <a:pt x="27363" y="18653"/>
                  </a:lnTo>
                  <a:lnTo>
                    <a:pt x="24451" y="16357"/>
                  </a:lnTo>
                  <a:lnTo>
                    <a:pt x="21541" y="17505"/>
                  </a:lnTo>
                  <a:lnTo>
                    <a:pt x="18921" y="18366"/>
                  </a:lnTo>
                  <a:lnTo>
                    <a:pt x="16592" y="19514"/>
                  </a:lnTo>
                  <a:lnTo>
                    <a:pt x="14263" y="20375"/>
                  </a:lnTo>
                  <a:lnTo>
                    <a:pt x="9023" y="22384"/>
                  </a:lnTo>
                  <a:lnTo>
                    <a:pt x="5239" y="21523"/>
                  </a:lnTo>
                  <a:lnTo>
                    <a:pt x="2619" y="17792"/>
                  </a:lnTo>
                  <a:lnTo>
                    <a:pt x="0" y="13774"/>
                  </a:lnTo>
                  <a:lnTo>
                    <a:pt x="873" y="8322"/>
                  </a:lnTo>
                  <a:lnTo>
                    <a:pt x="4657" y="4878"/>
                  </a:lnTo>
                  <a:lnTo>
                    <a:pt x="8150" y="2008"/>
                  </a:lnTo>
                  <a:lnTo>
                    <a:pt x="11934" y="0"/>
                  </a:lnTo>
                  <a:lnTo>
                    <a:pt x="16592" y="1721"/>
                  </a:lnTo>
                  <a:lnTo>
                    <a:pt x="17465" y="1721"/>
                  </a:lnTo>
                  <a:lnTo>
                    <a:pt x="18339" y="2008"/>
                  </a:lnTo>
                  <a:lnTo>
                    <a:pt x="18921" y="2582"/>
                  </a:lnTo>
                  <a:lnTo>
                    <a:pt x="19503" y="3730"/>
                  </a:lnTo>
                  <a:lnTo>
                    <a:pt x="20958" y="5165"/>
                  </a:lnTo>
                  <a:lnTo>
                    <a:pt x="20667" y="5739"/>
                  </a:lnTo>
                  <a:lnTo>
                    <a:pt x="19794" y="7748"/>
                  </a:lnTo>
                  <a:lnTo>
                    <a:pt x="17174" y="8609"/>
                  </a:lnTo>
                  <a:lnTo>
                    <a:pt x="15428" y="7461"/>
                  </a:lnTo>
                  <a:lnTo>
                    <a:pt x="12225" y="5739"/>
                  </a:lnTo>
                  <a:lnTo>
                    <a:pt x="7277" y="8035"/>
                  </a:lnTo>
                  <a:lnTo>
                    <a:pt x="6695" y="11479"/>
                  </a:lnTo>
                  <a:lnTo>
                    <a:pt x="6404" y="14061"/>
                  </a:lnTo>
                  <a:lnTo>
                    <a:pt x="8441" y="15783"/>
                  </a:lnTo>
                  <a:lnTo>
                    <a:pt x="11061" y="15209"/>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74" name="Google Shape;2274;p25"/>
            <p:cNvSpPr/>
            <p:nvPr/>
          </p:nvSpPr>
          <p:spPr>
            <a:xfrm>
              <a:off x="522666" y="6914934"/>
              <a:ext cx="22942" cy="25397"/>
            </a:xfrm>
            <a:custGeom>
              <a:avLst/>
              <a:gdLst/>
              <a:ahLst/>
              <a:cxnLst/>
              <a:rect l="l" t="t" r="r" b="b"/>
              <a:pathLst>
                <a:path w="22942" h="25397" extrusionOk="0">
                  <a:moveTo>
                    <a:pt x="6764" y="12409"/>
                  </a:moveTo>
                  <a:lnTo>
                    <a:pt x="9117" y="11255"/>
                  </a:lnTo>
                  <a:lnTo>
                    <a:pt x="11470" y="9523"/>
                  </a:lnTo>
                  <a:lnTo>
                    <a:pt x="13824" y="8080"/>
                  </a:lnTo>
                  <a:lnTo>
                    <a:pt x="12059" y="5772"/>
                  </a:lnTo>
                  <a:lnTo>
                    <a:pt x="10294" y="4906"/>
                  </a:lnTo>
                  <a:lnTo>
                    <a:pt x="7941" y="5772"/>
                  </a:lnTo>
                  <a:lnTo>
                    <a:pt x="7647" y="865"/>
                  </a:lnTo>
                  <a:lnTo>
                    <a:pt x="12647" y="0"/>
                  </a:lnTo>
                  <a:lnTo>
                    <a:pt x="18824" y="3174"/>
                  </a:lnTo>
                  <a:lnTo>
                    <a:pt x="20294" y="7215"/>
                  </a:lnTo>
                  <a:lnTo>
                    <a:pt x="20294" y="7792"/>
                  </a:lnTo>
                  <a:lnTo>
                    <a:pt x="19706" y="9235"/>
                  </a:lnTo>
                  <a:lnTo>
                    <a:pt x="18824" y="9812"/>
                  </a:lnTo>
                  <a:lnTo>
                    <a:pt x="15882" y="11832"/>
                  </a:lnTo>
                  <a:lnTo>
                    <a:pt x="12941" y="13564"/>
                  </a:lnTo>
                  <a:lnTo>
                    <a:pt x="9706" y="15584"/>
                  </a:lnTo>
                  <a:lnTo>
                    <a:pt x="7647" y="16738"/>
                  </a:lnTo>
                  <a:lnTo>
                    <a:pt x="8235" y="17893"/>
                  </a:lnTo>
                  <a:lnTo>
                    <a:pt x="9706" y="18759"/>
                  </a:lnTo>
                  <a:lnTo>
                    <a:pt x="12941" y="20779"/>
                  </a:lnTo>
                  <a:lnTo>
                    <a:pt x="17059" y="19047"/>
                  </a:lnTo>
                  <a:lnTo>
                    <a:pt x="17941" y="15584"/>
                  </a:lnTo>
                  <a:lnTo>
                    <a:pt x="17941" y="15007"/>
                  </a:lnTo>
                  <a:lnTo>
                    <a:pt x="17647" y="14141"/>
                  </a:lnTo>
                  <a:lnTo>
                    <a:pt x="18235" y="13852"/>
                  </a:lnTo>
                  <a:lnTo>
                    <a:pt x="19118" y="12698"/>
                  </a:lnTo>
                  <a:lnTo>
                    <a:pt x="20294" y="12121"/>
                  </a:lnTo>
                  <a:lnTo>
                    <a:pt x="21471" y="11255"/>
                  </a:lnTo>
                  <a:lnTo>
                    <a:pt x="21765" y="12121"/>
                  </a:lnTo>
                  <a:lnTo>
                    <a:pt x="22647" y="12987"/>
                  </a:lnTo>
                  <a:lnTo>
                    <a:pt x="22647" y="13852"/>
                  </a:lnTo>
                  <a:lnTo>
                    <a:pt x="22942" y="17893"/>
                  </a:lnTo>
                  <a:lnTo>
                    <a:pt x="21177" y="20779"/>
                  </a:lnTo>
                  <a:lnTo>
                    <a:pt x="17941" y="23088"/>
                  </a:lnTo>
                  <a:lnTo>
                    <a:pt x="14118" y="25108"/>
                  </a:lnTo>
                  <a:lnTo>
                    <a:pt x="10294" y="25397"/>
                  </a:lnTo>
                  <a:lnTo>
                    <a:pt x="6764" y="22799"/>
                  </a:lnTo>
                  <a:lnTo>
                    <a:pt x="2353" y="19913"/>
                  </a:lnTo>
                  <a:lnTo>
                    <a:pt x="0" y="16161"/>
                  </a:lnTo>
                  <a:lnTo>
                    <a:pt x="0" y="5483"/>
                  </a:lnTo>
                  <a:lnTo>
                    <a:pt x="2941" y="1731"/>
                  </a:lnTo>
                  <a:lnTo>
                    <a:pt x="4706" y="11544"/>
                  </a:lnTo>
                  <a:lnTo>
                    <a:pt x="5000" y="13275"/>
                  </a:lnTo>
                  <a:lnTo>
                    <a:pt x="6764" y="12409"/>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75" name="Google Shape;2275;p25"/>
            <p:cNvSpPr/>
            <p:nvPr/>
          </p:nvSpPr>
          <p:spPr>
            <a:xfrm>
              <a:off x="525607" y="6915800"/>
              <a:ext cx="5000" cy="10678"/>
            </a:xfrm>
            <a:custGeom>
              <a:avLst/>
              <a:gdLst/>
              <a:ahLst/>
              <a:cxnLst/>
              <a:rect l="l" t="t" r="r" b="b"/>
              <a:pathLst>
                <a:path w="5000" h="10678" extrusionOk="0">
                  <a:moveTo>
                    <a:pt x="1764" y="7215"/>
                  </a:moveTo>
                  <a:lnTo>
                    <a:pt x="1764" y="10678"/>
                  </a:lnTo>
                  <a:lnTo>
                    <a:pt x="0" y="865"/>
                  </a:lnTo>
                  <a:lnTo>
                    <a:pt x="4706" y="0"/>
                  </a:lnTo>
                  <a:lnTo>
                    <a:pt x="5000" y="4906"/>
                  </a:lnTo>
                  <a:lnTo>
                    <a:pt x="2941" y="5483"/>
                  </a:lnTo>
                  <a:lnTo>
                    <a:pt x="1764" y="721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76" name="Google Shape;2276;p25"/>
            <p:cNvSpPr/>
            <p:nvPr/>
          </p:nvSpPr>
          <p:spPr>
            <a:xfrm>
              <a:off x="562513" y="6891973"/>
              <a:ext cx="26564" cy="27817"/>
            </a:xfrm>
            <a:custGeom>
              <a:avLst/>
              <a:gdLst/>
              <a:ahLst/>
              <a:cxnLst/>
              <a:rect l="l" t="t" r="r" b="b"/>
              <a:pathLst>
                <a:path w="26564" h="27817" extrusionOk="0">
                  <a:moveTo>
                    <a:pt x="25678" y="19213"/>
                  </a:moveTo>
                  <a:lnTo>
                    <a:pt x="26564" y="20934"/>
                  </a:lnTo>
                  <a:lnTo>
                    <a:pt x="26269" y="22081"/>
                  </a:lnTo>
                  <a:lnTo>
                    <a:pt x="24498" y="22368"/>
                  </a:lnTo>
                  <a:lnTo>
                    <a:pt x="23022" y="22655"/>
                  </a:lnTo>
                  <a:lnTo>
                    <a:pt x="21841" y="22655"/>
                  </a:lnTo>
                  <a:lnTo>
                    <a:pt x="20661" y="22941"/>
                  </a:lnTo>
                  <a:lnTo>
                    <a:pt x="20661" y="23228"/>
                  </a:lnTo>
                  <a:lnTo>
                    <a:pt x="18595" y="24375"/>
                  </a:lnTo>
                  <a:lnTo>
                    <a:pt x="16824" y="25809"/>
                  </a:lnTo>
                  <a:lnTo>
                    <a:pt x="14758" y="26669"/>
                  </a:lnTo>
                  <a:lnTo>
                    <a:pt x="11216" y="27817"/>
                  </a:lnTo>
                  <a:lnTo>
                    <a:pt x="8264" y="26669"/>
                  </a:lnTo>
                  <a:lnTo>
                    <a:pt x="6788" y="23515"/>
                  </a:lnTo>
                  <a:lnTo>
                    <a:pt x="4132" y="18640"/>
                  </a:lnTo>
                  <a:lnTo>
                    <a:pt x="2361" y="13478"/>
                  </a:lnTo>
                  <a:lnTo>
                    <a:pt x="295" y="8603"/>
                  </a:lnTo>
                  <a:lnTo>
                    <a:pt x="0" y="8029"/>
                  </a:lnTo>
                  <a:lnTo>
                    <a:pt x="1180" y="6595"/>
                  </a:lnTo>
                  <a:lnTo>
                    <a:pt x="2066" y="6022"/>
                  </a:lnTo>
                  <a:lnTo>
                    <a:pt x="3541" y="5161"/>
                  </a:lnTo>
                  <a:lnTo>
                    <a:pt x="4722" y="5448"/>
                  </a:lnTo>
                  <a:lnTo>
                    <a:pt x="5608" y="7169"/>
                  </a:lnTo>
                  <a:lnTo>
                    <a:pt x="6788" y="10323"/>
                  </a:lnTo>
                  <a:lnTo>
                    <a:pt x="7969" y="13191"/>
                  </a:lnTo>
                  <a:lnTo>
                    <a:pt x="9149" y="16346"/>
                  </a:lnTo>
                  <a:lnTo>
                    <a:pt x="9740" y="17493"/>
                  </a:lnTo>
                  <a:lnTo>
                    <a:pt x="10330" y="18927"/>
                  </a:lnTo>
                  <a:lnTo>
                    <a:pt x="11216" y="20074"/>
                  </a:lnTo>
                  <a:lnTo>
                    <a:pt x="12101" y="21221"/>
                  </a:lnTo>
                  <a:lnTo>
                    <a:pt x="13577" y="22655"/>
                  </a:lnTo>
                  <a:lnTo>
                    <a:pt x="15053" y="21508"/>
                  </a:lnTo>
                  <a:lnTo>
                    <a:pt x="16529" y="20647"/>
                  </a:lnTo>
                  <a:lnTo>
                    <a:pt x="17709" y="19213"/>
                  </a:lnTo>
                  <a:lnTo>
                    <a:pt x="18299" y="17779"/>
                  </a:lnTo>
                  <a:lnTo>
                    <a:pt x="18595" y="16632"/>
                  </a:lnTo>
                  <a:lnTo>
                    <a:pt x="18004" y="14912"/>
                  </a:lnTo>
                  <a:lnTo>
                    <a:pt x="17414" y="13478"/>
                  </a:lnTo>
                  <a:lnTo>
                    <a:pt x="16233" y="10323"/>
                  </a:lnTo>
                  <a:lnTo>
                    <a:pt x="15053" y="7169"/>
                  </a:lnTo>
                  <a:lnTo>
                    <a:pt x="13577" y="3728"/>
                  </a:lnTo>
                  <a:lnTo>
                    <a:pt x="12691" y="1720"/>
                  </a:lnTo>
                  <a:lnTo>
                    <a:pt x="14167" y="1433"/>
                  </a:lnTo>
                  <a:lnTo>
                    <a:pt x="15348" y="860"/>
                  </a:lnTo>
                  <a:lnTo>
                    <a:pt x="16824" y="286"/>
                  </a:lnTo>
                  <a:lnTo>
                    <a:pt x="18004" y="0"/>
                  </a:lnTo>
                  <a:lnTo>
                    <a:pt x="18890" y="2007"/>
                  </a:lnTo>
                  <a:lnTo>
                    <a:pt x="20956" y="7742"/>
                  </a:lnTo>
                  <a:lnTo>
                    <a:pt x="23317" y="13478"/>
                  </a:lnTo>
                  <a:lnTo>
                    <a:pt x="25678" y="1921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77" name="Google Shape;2277;p25"/>
            <p:cNvSpPr/>
            <p:nvPr/>
          </p:nvSpPr>
          <p:spPr>
            <a:xfrm>
              <a:off x="543196" y="6902836"/>
              <a:ext cx="21734" cy="25396"/>
            </a:xfrm>
            <a:custGeom>
              <a:avLst/>
              <a:gdLst/>
              <a:ahLst/>
              <a:cxnLst/>
              <a:rect l="l" t="t" r="r" b="b"/>
              <a:pathLst>
                <a:path w="21734" h="25396" extrusionOk="0">
                  <a:moveTo>
                    <a:pt x="5015" y="13544"/>
                  </a:moveTo>
                  <a:lnTo>
                    <a:pt x="6687" y="16648"/>
                  </a:lnTo>
                  <a:lnTo>
                    <a:pt x="10031" y="19188"/>
                  </a:lnTo>
                  <a:lnTo>
                    <a:pt x="12817" y="21163"/>
                  </a:lnTo>
                  <a:lnTo>
                    <a:pt x="16440" y="19188"/>
                  </a:lnTo>
                  <a:lnTo>
                    <a:pt x="16440" y="15520"/>
                  </a:lnTo>
                  <a:lnTo>
                    <a:pt x="16718" y="14391"/>
                  </a:lnTo>
                  <a:lnTo>
                    <a:pt x="16718" y="12980"/>
                  </a:lnTo>
                  <a:lnTo>
                    <a:pt x="17276" y="12416"/>
                  </a:lnTo>
                  <a:lnTo>
                    <a:pt x="18112" y="11851"/>
                  </a:lnTo>
                  <a:lnTo>
                    <a:pt x="19505" y="11569"/>
                  </a:lnTo>
                  <a:lnTo>
                    <a:pt x="20619" y="11287"/>
                  </a:lnTo>
                  <a:lnTo>
                    <a:pt x="20898" y="12134"/>
                  </a:lnTo>
                  <a:lnTo>
                    <a:pt x="21455" y="13262"/>
                  </a:lnTo>
                  <a:lnTo>
                    <a:pt x="21455" y="14109"/>
                  </a:lnTo>
                  <a:lnTo>
                    <a:pt x="21734" y="19188"/>
                  </a:lnTo>
                  <a:lnTo>
                    <a:pt x="19505" y="22292"/>
                  </a:lnTo>
                  <a:lnTo>
                    <a:pt x="15325" y="23985"/>
                  </a:lnTo>
                  <a:lnTo>
                    <a:pt x="10588" y="25396"/>
                  </a:lnTo>
                  <a:lnTo>
                    <a:pt x="6408" y="24268"/>
                  </a:lnTo>
                  <a:lnTo>
                    <a:pt x="3622" y="20317"/>
                  </a:lnTo>
                  <a:lnTo>
                    <a:pt x="1114" y="16931"/>
                  </a:lnTo>
                  <a:lnTo>
                    <a:pt x="0" y="13262"/>
                  </a:lnTo>
                  <a:lnTo>
                    <a:pt x="557" y="9029"/>
                  </a:lnTo>
                  <a:lnTo>
                    <a:pt x="835" y="5361"/>
                  </a:lnTo>
                  <a:lnTo>
                    <a:pt x="3901" y="1975"/>
                  </a:lnTo>
                  <a:lnTo>
                    <a:pt x="7802" y="1128"/>
                  </a:lnTo>
                  <a:lnTo>
                    <a:pt x="12539" y="0"/>
                  </a:lnTo>
                  <a:lnTo>
                    <a:pt x="15604" y="1128"/>
                  </a:lnTo>
                  <a:lnTo>
                    <a:pt x="17833" y="5079"/>
                  </a:lnTo>
                  <a:lnTo>
                    <a:pt x="15882" y="6490"/>
                  </a:lnTo>
                  <a:lnTo>
                    <a:pt x="14211" y="7901"/>
                  </a:lnTo>
                  <a:lnTo>
                    <a:pt x="11703" y="5925"/>
                  </a:lnTo>
                  <a:lnTo>
                    <a:pt x="9474" y="4232"/>
                  </a:lnTo>
                  <a:lnTo>
                    <a:pt x="5851" y="6490"/>
                  </a:lnTo>
                  <a:lnTo>
                    <a:pt x="5572" y="9594"/>
                  </a:lnTo>
                  <a:lnTo>
                    <a:pt x="5015" y="1354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78" name="Google Shape;2278;p25"/>
            <p:cNvSpPr/>
            <p:nvPr/>
          </p:nvSpPr>
          <p:spPr>
            <a:xfrm>
              <a:off x="598719" y="6885922"/>
              <a:ext cx="10867" cy="22979"/>
            </a:xfrm>
            <a:custGeom>
              <a:avLst/>
              <a:gdLst/>
              <a:ahLst/>
              <a:cxnLst/>
              <a:rect l="l" t="t" r="r" b="b"/>
              <a:pathLst>
                <a:path w="10867" h="22979" extrusionOk="0">
                  <a:moveTo>
                    <a:pt x="3717" y="0"/>
                  </a:moveTo>
                  <a:lnTo>
                    <a:pt x="4289" y="0"/>
                  </a:lnTo>
                  <a:lnTo>
                    <a:pt x="5433" y="567"/>
                  </a:lnTo>
                  <a:lnTo>
                    <a:pt x="5433" y="1134"/>
                  </a:lnTo>
                  <a:lnTo>
                    <a:pt x="7435" y="7375"/>
                  </a:lnTo>
                  <a:lnTo>
                    <a:pt x="8865" y="13617"/>
                  </a:lnTo>
                  <a:lnTo>
                    <a:pt x="10581" y="19858"/>
                  </a:lnTo>
                  <a:lnTo>
                    <a:pt x="10581" y="20425"/>
                  </a:lnTo>
                  <a:lnTo>
                    <a:pt x="10867" y="21276"/>
                  </a:lnTo>
                  <a:lnTo>
                    <a:pt x="10009" y="21560"/>
                  </a:lnTo>
                  <a:lnTo>
                    <a:pt x="9151" y="22127"/>
                  </a:lnTo>
                  <a:lnTo>
                    <a:pt x="8293" y="22411"/>
                  </a:lnTo>
                  <a:lnTo>
                    <a:pt x="6863" y="22979"/>
                  </a:lnTo>
                  <a:lnTo>
                    <a:pt x="5719" y="22695"/>
                  </a:lnTo>
                  <a:lnTo>
                    <a:pt x="5433" y="20993"/>
                  </a:lnTo>
                  <a:lnTo>
                    <a:pt x="4289" y="16737"/>
                  </a:lnTo>
                  <a:lnTo>
                    <a:pt x="3145" y="12198"/>
                  </a:lnTo>
                  <a:lnTo>
                    <a:pt x="2001" y="7943"/>
                  </a:lnTo>
                  <a:lnTo>
                    <a:pt x="1715" y="6524"/>
                  </a:lnTo>
                  <a:lnTo>
                    <a:pt x="1143" y="5390"/>
                  </a:lnTo>
                  <a:lnTo>
                    <a:pt x="857" y="3971"/>
                  </a:lnTo>
                  <a:lnTo>
                    <a:pt x="0" y="851"/>
                  </a:lnTo>
                  <a:lnTo>
                    <a:pt x="571" y="0"/>
                  </a:lnTo>
                  <a:lnTo>
                    <a:pt x="3717" y="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79" name="Google Shape;2279;p25"/>
            <p:cNvSpPr/>
            <p:nvPr/>
          </p:nvSpPr>
          <p:spPr>
            <a:xfrm>
              <a:off x="418820" y="7033452"/>
              <a:ext cx="31394" cy="36281"/>
            </a:xfrm>
            <a:custGeom>
              <a:avLst/>
              <a:gdLst/>
              <a:ahLst/>
              <a:cxnLst/>
              <a:rect l="l" t="t" r="r" b="b"/>
              <a:pathLst>
                <a:path w="31394" h="36281" extrusionOk="0">
                  <a:moveTo>
                    <a:pt x="2016" y="16254"/>
                  </a:moveTo>
                  <a:lnTo>
                    <a:pt x="6048" y="13641"/>
                  </a:lnTo>
                  <a:lnTo>
                    <a:pt x="6624" y="13351"/>
                  </a:lnTo>
                  <a:lnTo>
                    <a:pt x="6624" y="11319"/>
                  </a:lnTo>
                  <a:lnTo>
                    <a:pt x="6912" y="9288"/>
                  </a:lnTo>
                  <a:lnTo>
                    <a:pt x="6336" y="6966"/>
                  </a:lnTo>
                  <a:lnTo>
                    <a:pt x="6912" y="5224"/>
                  </a:lnTo>
                  <a:lnTo>
                    <a:pt x="8064" y="1451"/>
                  </a:lnTo>
                  <a:lnTo>
                    <a:pt x="11232" y="0"/>
                  </a:lnTo>
                  <a:lnTo>
                    <a:pt x="14689" y="1160"/>
                  </a:lnTo>
                  <a:lnTo>
                    <a:pt x="19585" y="2612"/>
                  </a:lnTo>
                  <a:lnTo>
                    <a:pt x="24481" y="4353"/>
                  </a:lnTo>
                  <a:lnTo>
                    <a:pt x="29378" y="6095"/>
                  </a:lnTo>
                  <a:lnTo>
                    <a:pt x="31394" y="6675"/>
                  </a:lnTo>
                  <a:lnTo>
                    <a:pt x="31106" y="7836"/>
                  </a:lnTo>
                  <a:lnTo>
                    <a:pt x="30818" y="9578"/>
                  </a:lnTo>
                  <a:lnTo>
                    <a:pt x="30242" y="11029"/>
                  </a:lnTo>
                  <a:lnTo>
                    <a:pt x="29378" y="11900"/>
                  </a:lnTo>
                  <a:lnTo>
                    <a:pt x="27650" y="11319"/>
                  </a:lnTo>
                  <a:lnTo>
                    <a:pt x="23617" y="9578"/>
                  </a:lnTo>
                  <a:lnTo>
                    <a:pt x="19297" y="8417"/>
                  </a:lnTo>
                  <a:lnTo>
                    <a:pt x="15265" y="6966"/>
                  </a:lnTo>
                  <a:lnTo>
                    <a:pt x="13249" y="6385"/>
                  </a:lnTo>
                  <a:lnTo>
                    <a:pt x="11808" y="6385"/>
                  </a:lnTo>
                  <a:lnTo>
                    <a:pt x="10944" y="8127"/>
                  </a:lnTo>
                  <a:lnTo>
                    <a:pt x="9792" y="10158"/>
                  </a:lnTo>
                  <a:lnTo>
                    <a:pt x="10080" y="11900"/>
                  </a:lnTo>
                  <a:lnTo>
                    <a:pt x="11808" y="13061"/>
                  </a:lnTo>
                  <a:lnTo>
                    <a:pt x="12961" y="13932"/>
                  </a:lnTo>
                  <a:lnTo>
                    <a:pt x="14401" y="14512"/>
                  </a:lnTo>
                  <a:lnTo>
                    <a:pt x="15841" y="15093"/>
                  </a:lnTo>
                  <a:lnTo>
                    <a:pt x="18721" y="16254"/>
                  </a:lnTo>
                  <a:lnTo>
                    <a:pt x="21889" y="17124"/>
                  </a:lnTo>
                  <a:lnTo>
                    <a:pt x="25057" y="18285"/>
                  </a:lnTo>
                  <a:lnTo>
                    <a:pt x="27074" y="18866"/>
                  </a:lnTo>
                  <a:lnTo>
                    <a:pt x="27362" y="19737"/>
                  </a:lnTo>
                  <a:lnTo>
                    <a:pt x="26786" y="21768"/>
                  </a:lnTo>
                  <a:lnTo>
                    <a:pt x="25922" y="23800"/>
                  </a:lnTo>
                  <a:lnTo>
                    <a:pt x="25057" y="24090"/>
                  </a:lnTo>
                  <a:lnTo>
                    <a:pt x="23041" y="23510"/>
                  </a:lnTo>
                  <a:lnTo>
                    <a:pt x="19297" y="22059"/>
                  </a:lnTo>
                  <a:lnTo>
                    <a:pt x="15553" y="20898"/>
                  </a:lnTo>
                  <a:lnTo>
                    <a:pt x="11808" y="19737"/>
                  </a:lnTo>
                  <a:lnTo>
                    <a:pt x="10080" y="19156"/>
                  </a:lnTo>
                  <a:lnTo>
                    <a:pt x="7776" y="18285"/>
                  </a:lnTo>
                  <a:lnTo>
                    <a:pt x="6624" y="20898"/>
                  </a:lnTo>
                  <a:lnTo>
                    <a:pt x="5760" y="23220"/>
                  </a:lnTo>
                  <a:lnTo>
                    <a:pt x="6912" y="25542"/>
                  </a:lnTo>
                  <a:lnTo>
                    <a:pt x="9504" y="26703"/>
                  </a:lnTo>
                  <a:lnTo>
                    <a:pt x="12961" y="27864"/>
                  </a:lnTo>
                  <a:lnTo>
                    <a:pt x="16417" y="29025"/>
                  </a:lnTo>
                  <a:lnTo>
                    <a:pt x="20161" y="30186"/>
                  </a:lnTo>
                  <a:lnTo>
                    <a:pt x="21889" y="30766"/>
                  </a:lnTo>
                  <a:lnTo>
                    <a:pt x="23329" y="31347"/>
                  </a:lnTo>
                  <a:lnTo>
                    <a:pt x="22465" y="33959"/>
                  </a:lnTo>
                  <a:lnTo>
                    <a:pt x="21601" y="36281"/>
                  </a:lnTo>
                  <a:lnTo>
                    <a:pt x="20449" y="36281"/>
                  </a:lnTo>
                  <a:lnTo>
                    <a:pt x="18433" y="35700"/>
                  </a:lnTo>
                  <a:lnTo>
                    <a:pt x="13537" y="33669"/>
                  </a:lnTo>
                  <a:lnTo>
                    <a:pt x="8352" y="32217"/>
                  </a:lnTo>
                  <a:lnTo>
                    <a:pt x="3168" y="30186"/>
                  </a:lnTo>
                  <a:lnTo>
                    <a:pt x="2016" y="29895"/>
                  </a:lnTo>
                  <a:lnTo>
                    <a:pt x="0" y="28734"/>
                  </a:lnTo>
                  <a:lnTo>
                    <a:pt x="0" y="28154"/>
                  </a:lnTo>
                  <a:lnTo>
                    <a:pt x="288" y="26412"/>
                  </a:lnTo>
                  <a:lnTo>
                    <a:pt x="1440" y="24961"/>
                  </a:lnTo>
                  <a:lnTo>
                    <a:pt x="2016" y="23510"/>
                  </a:lnTo>
                  <a:lnTo>
                    <a:pt x="1440" y="19737"/>
                  </a:lnTo>
                  <a:lnTo>
                    <a:pt x="2016" y="1625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80" name="Google Shape;2280;p25"/>
            <p:cNvSpPr/>
            <p:nvPr/>
          </p:nvSpPr>
          <p:spPr>
            <a:xfrm>
              <a:off x="433292" y="7011703"/>
              <a:ext cx="23013" cy="22979"/>
            </a:xfrm>
            <a:custGeom>
              <a:avLst/>
              <a:gdLst/>
              <a:ahLst/>
              <a:cxnLst/>
              <a:rect l="l" t="t" r="r" b="b"/>
              <a:pathLst>
                <a:path w="23013" h="22979" extrusionOk="0">
                  <a:moveTo>
                    <a:pt x="6818" y="15973"/>
                  </a:moveTo>
                  <a:lnTo>
                    <a:pt x="6818" y="16253"/>
                  </a:lnTo>
                  <a:lnTo>
                    <a:pt x="5114" y="16533"/>
                  </a:lnTo>
                  <a:lnTo>
                    <a:pt x="4830" y="16253"/>
                  </a:lnTo>
                  <a:lnTo>
                    <a:pt x="3977" y="15693"/>
                  </a:lnTo>
                  <a:lnTo>
                    <a:pt x="3125" y="14852"/>
                  </a:lnTo>
                  <a:lnTo>
                    <a:pt x="2841" y="13731"/>
                  </a:lnTo>
                  <a:lnTo>
                    <a:pt x="0" y="8126"/>
                  </a:lnTo>
                  <a:lnTo>
                    <a:pt x="4545" y="0"/>
                  </a:lnTo>
                  <a:lnTo>
                    <a:pt x="11648" y="0"/>
                  </a:lnTo>
                  <a:lnTo>
                    <a:pt x="13069" y="280"/>
                  </a:lnTo>
                  <a:lnTo>
                    <a:pt x="15058" y="1401"/>
                  </a:lnTo>
                  <a:lnTo>
                    <a:pt x="17331" y="2241"/>
                  </a:lnTo>
                  <a:lnTo>
                    <a:pt x="15626" y="10648"/>
                  </a:lnTo>
                  <a:lnTo>
                    <a:pt x="15342" y="11489"/>
                  </a:lnTo>
                  <a:lnTo>
                    <a:pt x="15058" y="12610"/>
                  </a:lnTo>
                  <a:lnTo>
                    <a:pt x="14774" y="13170"/>
                  </a:lnTo>
                  <a:lnTo>
                    <a:pt x="14490" y="16253"/>
                  </a:lnTo>
                  <a:lnTo>
                    <a:pt x="16194" y="17654"/>
                  </a:lnTo>
                  <a:lnTo>
                    <a:pt x="18467" y="16813"/>
                  </a:lnTo>
                  <a:lnTo>
                    <a:pt x="20740" y="15693"/>
                  </a:lnTo>
                  <a:lnTo>
                    <a:pt x="21593" y="11489"/>
                  </a:lnTo>
                  <a:lnTo>
                    <a:pt x="23013" y="21017"/>
                  </a:lnTo>
                  <a:lnTo>
                    <a:pt x="20172" y="22979"/>
                  </a:lnTo>
                  <a:lnTo>
                    <a:pt x="16194" y="22418"/>
                  </a:lnTo>
                  <a:lnTo>
                    <a:pt x="12217" y="22138"/>
                  </a:lnTo>
                  <a:lnTo>
                    <a:pt x="9944" y="19336"/>
                  </a:lnTo>
                  <a:lnTo>
                    <a:pt x="10512" y="15412"/>
                  </a:lnTo>
                  <a:lnTo>
                    <a:pt x="10796" y="13170"/>
                  </a:lnTo>
                  <a:lnTo>
                    <a:pt x="11648" y="10929"/>
                  </a:lnTo>
                  <a:lnTo>
                    <a:pt x="12217" y="8687"/>
                  </a:lnTo>
                  <a:lnTo>
                    <a:pt x="12217" y="7566"/>
                  </a:lnTo>
                  <a:lnTo>
                    <a:pt x="11648" y="6445"/>
                  </a:lnTo>
                  <a:lnTo>
                    <a:pt x="11364" y="5044"/>
                  </a:lnTo>
                  <a:lnTo>
                    <a:pt x="9944" y="5884"/>
                  </a:lnTo>
                  <a:lnTo>
                    <a:pt x="8523" y="6165"/>
                  </a:lnTo>
                  <a:lnTo>
                    <a:pt x="7671" y="7005"/>
                  </a:lnTo>
                  <a:lnTo>
                    <a:pt x="6534" y="8126"/>
                  </a:lnTo>
                  <a:lnTo>
                    <a:pt x="6534" y="9808"/>
                  </a:lnTo>
                  <a:lnTo>
                    <a:pt x="7387" y="11769"/>
                  </a:lnTo>
                  <a:lnTo>
                    <a:pt x="7671" y="12890"/>
                  </a:lnTo>
                  <a:lnTo>
                    <a:pt x="7103" y="14572"/>
                  </a:lnTo>
                  <a:lnTo>
                    <a:pt x="6818" y="1597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81" name="Google Shape;2281;p25"/>
            <p:cNvSpPr/>
            <p:nvPr/>
          </p:nvSpPr>
          <p:spPr>
            <a:xfrm>
              <a:off x="448919" y="7013945"/>
              <a:ext cx="13353" cy="18775"/>
            </a:xfrm>
            <a:custGeom>
              <a:avLst/>
              <a:gdLst/>
              <a:ahLst/>
              <a:cxnLst/>
              <a:rect l="l" t="t" r="r" b="b"/>
              <a:pathLst>
                <a:path w="13353" h="18775" extrusionOk="0">
                  <a:moveTo>
                    <a:pt x="10796" y="1961"/>
                  </a:moveTo>
                  <a:lnTo>
                    <a:pt x="12217" y="2241"/>
                  </a:lnTo>
                  <a:lnTo>
                    <a:pt x="12785" y="3643"/>
                  </a:lnTo>
                  <a:lnTo>
                    <a:pt x="13353" y="4763"/>
                  </a:lnTo>
                  <a:lnTo>
                    <a:pt x="12785" y="7005"/>
                  </a:lnTo>
                  <a:lnTo>
                    <a:pt x="12217" y="7566"/>
                  </a:lnTo>
                  <a:lnTo>
                    <a:pt x="9091" y="8967"/>
                  </a:lnTo>
                  <a:lnTo>
                    <a:pt x="9376" y="11769"/>
                  </a:lnTo>
                  <a:lnTo>
                    <a:pt x="8523" y="14291"/>
                  </a:lnTo>
                  <a:lnTo>
                    <a:pt x="7387" y="18775"/>
                  </a:lnTo>
                  <a:lnTo>
                    <a:pt x="5966" y="9247"/>
                  </a:lnTo>
                  <a:lnTo>
                    <a:pt x="3977" y="7286"/>
                  </a:lnTo>
                  <a:lnTo>
                    <a:pt x="1988" y="5604"/>
                  </a:lnTo>
                  <a:lnTo>
                    <a:pt x="852" y="5884"/>
                  </a:lnTo>
                  <a:lnTo>
                    <a:pt x="0" y="8407"/>
                  </a:lnTo>
                  <a:lnTo>
                    <a:pt x="1704" y="0"/>
                  </a:lnTo>
                  <a:lnTo>
                    <a:pt x="3409" y="840"/>
                  </a:lnTo>
                  <a:lnTo>
                    <a:pt x="5114" y="1681"/>
                  </a:lnTo>
                  <a:lnTo>
                    <a:pt x="6818" y="2522"/>
                  </a:lnTo>
                  <a:lnTo>
                    <a:pt x="7671" y="2802"/>
                  </a:lnTo>
                  <a:lnTo>
                    <a:pt x="8523" y="3082"/>
                  </a:lnTo>
                  <a:lnTo>
                    <a:pt x="9091" y="2802"/>
                  </a:lnTo>
                  <a:lnTo>
                    <a:pt x="10796" y="196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82" name="Google Shape;2282;p25"/>
            <p:cNvSpPr/>
            <p:nvPr/>
          </p:nvSpPr>
          <p:spPr>
            <a:xfrm>
              <a:off x="411567" y="7083041"/>
              <a:ext cx="24149" cy="22978"/>
            </a:xfrm>
            <a:custGeom>
              <a:avLst/>
              <a:gdLst/>
              <a:ahLst/>
              <a:cxnLst/>
              <a:rect l="l" t="t" r="r" b="b"/>
              <a:pathLst>
                <a:path w="24149" h="22978" extrusionOk="0">
                  <a:moveTo>
                    <a:pt x="12785" y="17308"/>
                  </a:moveTo>
                  <a:lnTo>
                    <a:pt x="14205" y="17308"/>
                  </a:lnTo>
                  <a:lnTo>
                    <a:pt x="14774" y="17009"/>
                  </a:lnTo>
                  <a:lnTo>
                    <a:pt x="17046" y="16711"/>
                  </a:lnTo>
                  <a:lnTo>
                    <a:pt x="19319" y="15219"/>
                  </a:lnTo>
                  <a:lnTo>
                    <a:pt x="19319" y="11041"/>
                  </a:lnTo>
                  <a:lnTo>
                    <a:pt x="18467" y="8952"/>
                  </a:lnTo>
                  <a:lnTo>
                    <a:pt x="17046" y="7758"/>
                  </a:lnTo>
                  <a:lnTo>
                    <a:pt x="19319" y="0"/>
                  </a:lnTo>
                  <a:lnTo>
                    <a:pt x="24149" y="4476"/>
                  </a:lnTo>
                  <a:lnTo>
                    <a:pt x="24149" y="18502"/>
                  </a:lnTo>
                  <a:lnTo>
                    <a:pt x="19604" y="22978"/>
                  </a:lnTo>
                  <a:lnTo>
                    <a:pt x="5114" y="22978"/>
                  </a:lnTo>
                  <a:lnTo>
                    <a:pt x="0" y="18203"/>
                  </a:lnTo>
                  <a:lnTo>
                    <a:pt x="0" y="4476"/>
                  </a:lnTo>
                  <a:lnTo>
                    <a:pt x="4545" y="0"/>
                  </a:lnTo>
                  <a:lnTo>
                    <a:pt x="4261" y="8057"/>
                  </a:lnTo>
                  <a:lnTo>
                    <a:pt x="3409" y="12235"/>
                  </a:lnTo>
                  <a:lnTo>
                    <a:pt x="6250" y="14622"/>
                  </a:lnTo>
                  <a:lnTo>
                    <a:pt x="7955" y="16114"/>
                  </a:lnTo>
                  <a:lnTo>
                    <a:pt x="10228" y="16711"/>
                  </a:lnTo>
                  <a:lnTo>
                    <a:pt x="12501" y="17905"/>
                  </a:lnTo>
                  <a:lnTo>
                    <a:pt x="12501" y="17606"/>
                  </a:lnTo>
                  <a:lnTo>
                    <a:pt x="12785" y="17308"/>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83" name="Google Shape;2283;p25"/>
            <p:cNvSpPr/>
            <p:nvPr/>
          </p:nvSpPr>
          <p:spPr>
            <a:xfrm>
              <a:off x="415828" y="7083041"/>
              <a:ext cx="15058" cy="8057"/>
            </a:xfrm>
            <a:custGeom>
              <a:avLst/>
              <a:gdLst/>
              <a:ahLst/>
              <a:cxnLst/>
              <a:rect l="l" t="t" r="r" b="b"/>
              <a:pathLst>
                <a:path w="15058" h="8057" extrusionOk="0">
                  <a:moveTo>
                    <a:pt x="10228" y="5073"/>
                  </a:moveTo>
                  <a:lnTo>
                    <a:pt x="6818" y="5073"/>
                  </a:lnTo>
                  <a:lnTo>
                    <a:pt x="3409" y="6565"/>
                  </a:lnTo>
                  <a:lnTo>
                    <a:pt x="0" y="8057"/>
                  </a:lnTo>
                  <a:lnTo>
                    <a:pt x="284" y="0"/>
                  </a:lnTo>
                  <a:lnTo>
                    <a:pt x="15058" y="0"/>
                  </a:lnTo>
                  <a:lnTo>
                    <a:pt x="12785" y="7758"/>
                  </a:lnTo>
                  <a:lnTo>
                    <a:pt x="10228" y="507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84" name="Google Shape;2284;p25"/>
            <p:cNvSpPr/>
            <p:nvPr/>
          </p:nvSpPr>
          <p:spPr>
            <a:xfrm>
              <a:off x="459856" y="6971786"/>
              <a:ext cx="24150" cy="22978"/>
            </a:xfrm>
            <a:custGeom>
              <a:avLst/>
              <a:gdLst/>
              <a:ahLst/>
              <a:cxnLst/>
              <a:rect l="l" t="t" r="r" b="b"/>
              <a:pathLst>
                <a:path w="24150" h="22978" extrusionOk="0">
                  <a:moveTo>
                    <a:pt x="9892" y="5324"/>
                  </a:moveTo>
                  <a:lnTo>
                    <a:pt x="6983" y="5324"/>
                  </a:lnTo>
                  <a:lnTo>
                    <a:pt x="4655" y="7566"/>
                  </a:lnTo>
                  <a:lnTo>
                    <a:pt x="4655" y="10088"/>
                  </a:lnTo>
                  <a:lnTo>
                    <a:pt x="4946" y="13451"/>
                  </a:lnTo>
                  <a:lnTo>
                    <a:pt x="10183" y="17934"/>
                  </a:lnTo>
                  <a:lnTo>
                    <a:pt x="16585" y="17934"/>
                  </a:lnTo>
                  <a:lnTo>
                    <a:pt x="18912" y="15692"/>
                  </a:lnTo>
                  <a:lnTo>
                    <a:pt x="18912" y="9247"/>
                  </a:lnTo>
                  <a:lnTo>
                    <a:pt x="17167" y="0"/>
                  </a:lnTo>
                  <a:lnTo>
                    <a:pt x="24150" y="6445"/>
                  </a:lnTo>
                  <a:lnTo>
                    <a:pt x="24150" y="18214"/>
                  </a:lnTo>
                  <a:lnTo>
                    <a:pt x="19203" y="22978"/>
                  </a:lnTo>
                  <a:lnTo>
                    <a:pt x="6692" y="22978"/>
                  </a:lnTo>
                  <a:lnTo>
                    <a:pt x="0" y="16813"/>
                  </a:lnTo>
                  <a:lnTo>
                    <a:pt x="0" y="4763"/>
                  </a:lnTo>
                  <a:lnTo>
                    <a:pt x="4655" y="0"/>
                  </a:lnTo>
                  <a:lnTo>
                    <a:pt x="10474" y="0"/>
                  </a:lnTo>
                  <a:lnTo>
                    <a:pt x="9892" y="532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85" name="Google Shape;2285;p25"/>
            <p:cNvSpPr/>
            <p:nvPr/>
          </p:nvSpPr>
          <p:spPr>
            <a:xfrm>
              <a:off x="469749" y="6971786"/>
              <a:ext cx="9020" cy="9247"/>
            </a:xfrm>
            <a:custGeom>
              <a:avLst/>
              <a:gdLst/>
              <a:ahLst/>
              <a:cxnLst/>
              <a:rect l="l" t="t" r="r" b="b"/>
              <a:pathLst>
                <a:path w="9020" h="9247" extrusionOk="0">
                  <a:moveTo>
                    <a:pt x="4364" y="5324"/>
                  </a:moveTo>
                  <a:lnTo>
                    <a:pt x="0" y="5324"/>
                  </a:lnTo>
                  <a:lnTo>
                    <a:pt x="581" y="0"/>
                  </a:lnTo>
                  <a:lnTo>
                    <a:pt x="7274" y="0"/>
                  </a:lnTo>
                  <a:lnTo>
                    <a:pt x="9020" y="9247"/>
                  </a:lnTo>
                  <a:lnTo>
                    <a:pt x="4364" y="532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86" name="Google Shape;2286;p25"/>
            <p:cNvSpPr/>
            <p:nvPr/>
          </p:nvSpPr>
          <p:spPr>
            <a:xfrm>
              <a:off x="473135" y="6952433"/>
              <a:ext cx="28980" cy="27816"/>
            </a:xfrm>
            <a:custGeom>
              <a:avLst/>
              <a:gdLst/>
              <a:ahLst/>
              <a:cxnLst/>
              <a:rect l="l" t="t" r="r" b="b"/>
              <a:pathLst>
                <a:path w="28980" h="27816" extrusionOk="0">
                  <a:moveTo>
                    <a:pt x="9091" y="7305"/>
                  </a:moveTo>
                  <a:lnTo>
                    <a:pt x="7103" y="8991"/>
                  </a:lnTo>
                  <a:lnTo>
                    <a:pt x="7103" y="11800"/>
                  </a:lnTo>
                  <a:lnTo>
                    <a:pt x="9376" y="14048"/>
                  </a:lnTo>
                  <a:lnTo>
                    <a:pt x="11933" y="16577"/>
                  </a:lnTo>
                  <a:lnTo>
                    <a:pt x="14774" y="19106"/>
                  </a:lnTo>
                  <a:lnTo>
                    <a:pt x="17615" y="21634"/>
                  </a:lnTo>
                  <a:lnTo>
                    <a:pt x="19604" y="23320"/>
                  </a:lnTo>
                  <a:lnTo>
                    <a:pt x="18467" y="24725"/>
                  </a:lnTo>
                  <a:lnTo>
                    <a:pt x="17331" y="26130"/>
                  </a:lnTo>
                  <a:lnTo>
                    <a:pt x="15910" y="27816"/>
                  </a:lnTo>
                  <a:lnTo>
                    <a:pt x="14774" y="26411"/>
                  </a:lnTo>
                  <a:lnTo>
                    <a:pt x="13921" y="25568"/>
                  </a:lnTo>
                  <a:lnTo>
                    <a:pt x="9944" y="21915"/>
                  </a:lnTo>
                  <a:lnTo>
                    <a:pt x="5682" y="17982"/>
                  </a:lnTo>
                  <a:lnTo>
                    <a:pt x="1988" y="14329"/>
                  </a:lnTo>
                  <a:lnTo>
                    <a:pt x="1136" y="13486"/>
                  </a:lnTo>
                  <a:lnTo>
                    <a:pt x="0" y="11800"/>
                  </a:lnTo>
                  <a:lnTo>
                    <a:pt x="284" y="10957"/>
                  </a:lnTo>
                  <a:lnTo>
                    <a:pt x="852" y="9834"/>
                  </a:lnTo>
                  <a:lnTo>
                    <a:pt x="2557" y="8991"/>
                  </a:lnTo>
                  <a:lnTo>
                    <a:pt x="3693" y="8148"/>
                  </a:lnTo>
                  <a:lnTo>
                    <a:pt x="4546" y="5338"/>
                  </a:lnTo>
                  <a:lnTo>
                    <a:pt x="5682" y="2809"/>
                  </a:lnTo>
                  <a:lnTo>
                    <a:pt x="8807" y="1123"/>
                  </a:lnTo>
                  <a:lnTo>
                    <a:pt x="11364" y="0"/>
                  </a:lnTo>
                  <a:lnTo>
                    <a:pt x="13921" y="281"/>
                  </a:lnTo>
                  <a:lnTo>
                    <a:pt x="16195" y="1966"/>
                  </a:lnTo>
                  <a:lnTo>
                    <a:pt x="19888" y="5338"/>
                  </a:lnTo>
                  <a:lnTo>
                    <a:pt x="23582" y="8710"/>
                  </a:lnTo>
                  <a:lnTo>
                    <a:pt x="27275" y="12081"/>
                  </a:lnTo>
                  <a:lnTo>
                    <a:pt x="28980" y="13486"/>
                  </a:lnTo>
                  <a:lnTo>
                    <a:pt x="28128" y="14329"/>
                  </a:lnTo>
                  <a:lnTo>
                    <a:pt x="26991" y="15734"/>
                  </a:lnTo>
                  <a:lnTo>
                    <a:pt x="25855" y="16858"/>
                  </a:lnTo>
                  <a:lnTo>
                    <a:pt x="25002" y="17139"/>
                  </a:lnTo>
                  <a:lnTo>
                    <a:pt x="23582" y="15734"/>
                  </a:lnTo>
                  <a:lnTo>
                    <a:pt x="20741" y="13205"/>
                  </a:lnTo>
                  <a:lnTo>
                    <a:pt x="17899" y="10677"/>
                  </a:lnTo>
                  <a:lnTo>
                    <a:pt x="15058" y="8148"/>
                  </a:lnTo>
                  <a:lnTo>
                    <a:pt x="12501" y="5619"/>
                  </a:lnTo>
                  <a:lnTo>
                    <a:pt x="10796" y="5619"/>
                  </a:lnTo>
                  <a:lnTo>
                    <a:pt x="9091" y="730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87" name="Google Shape;2287;p25"/>
            <p:cNvSpPr/>
            <p:nvPr/>
          </p:nvSpPr>
          <p:spPr>
            <a:xfrm>
              <a:off x="407942" y="7119326"/>
              <a:ext cx="25357" cy="19350"/>
            </a:xfrm>
            <a:custGeom>
              <a:avLst/>
              <a:gdLst/>
              <a:ahLst/>
              <a:cxnLst/>
              <a:rect l="l" t="t" r="r" b="b"/>
              <a:pathLst>
                <a:path w="25357" h="19350" extrusionOk="0">
                  <a:moveTo>
                    <a:pt x="24794" y="5122"/>
                  </a:moveTo>
                  <a:lnTo>
                    <a:pt x="23667" y="5691"/>
                  </a:lnTo>
                  <a:lnTo>
                    <a:pt x="18595" y="5691"/>
                  </a:lnTo>
                  <a:lnTo>
                    <a:pt x="14932" y="5406"/>
                  </a:lnTo>
                  <a:lnTo>
                    <a:pt x="11269" y="5691"/>
                  </a:lnTo>
                  <a:lnTo>
                    <a:pt x="7889" y="5691"/>
                  </a:lnTo>
                  <a:lnTo>
                    <a:pt x="6480" y="6829"/>
                  </a:lnTo>
                  <a:lnTo>
                    <a:pt x="6480" y="9390"/>
                  </a:lnTo>
                  <a:lnTo>
                    <a:pt x="6198" y="11951"/>
                  </a:lnTo>
                  <a:lnTo>
                    <a:pt x="8452" y="13943"/>
                  </a:lnTo>
                  <a:lnTo>
                    <a:pt x="11833" y="14228"/>
                  </a:lnTo>
                  <a:lnTo>
                    <a:pt x="24230" y="14228"/>
                  </a:lnTo>
                  <a:lnTo>
                    <a:pt x="25357" y="14512"/>
                  </a:lnTo>
                  <a:lnTo>
                    <a:pt x="25357" y="18781"/>
                  </a:lnTo>
                  <a:lnTo>
                    <a:pt x="24230" y="19350"/>
                  </a:lnTo>
                  <a:lnTo>
                    <a:pt x="22540" y="19350"/>
                  </a:lnTo>
                  <a:lnTo>
                    <a:pt x="19440" y="19065"/>
                  </a:lnTo>
                  <a:lnTo>
                    <a:pt x="16623" y="19350"/>
                  </a:lnTo>
                  <a:lnTo>
                    <a:pt x="5635" y="19350"/>
                  </a:lnTo>
                  <a:lnTo>
                    <a:pt x="2817" y="19065"/>
                  </a:lnTo>
                  <a:lnTo>
                    <a:pt x="1690" y="17643"/>
                  </a:lnTo>
                  <a:lnTo>
                    <a:pt x="2817" y="14797"/>
                  </a:lnTo>
                  <a:lnTo>
                    <a:pt x="3099" y="13943"/>
                  </a:lnTo>
                  <a:lnTo>
                    <a:pt x="3099" y="12805"/>
                  </a:lnTo>
                  <a:lnTo>
                    <a:pt x="2817" y="11951"/>
                  </a:lnTo>
                  <a:lnTo>
                    <a:pt x="0" y="7114"/>
                  </a:lnTo>
                  <a:lnTo>
                    <a:pt x="2253" y="0"/>
                  </a:lnTo>
                  <a:lnTo>
                    <a:pt x="9861" y="569"/>
                  </a:lnTo>
                  <a:lnTo>
                    <a:pt x="13805" y="853"/>
                  </a:lnTo>
                  <a:lnTo>
                    <a:pt x="18032" y="569"/>
                  </a:lnTo>
                  <a:lnTo>
                    <a:pt x="23948" y="569"/>
                  </a:lnTo>
                  <a:lnTo>
                    <a:pt x="24794" y="1138"/>
                  </a:lnTo>
                  <a:lnTo>
                    <a:pt x="24794" y="512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88" name="Google Shape;2288;p25"/>
            <p:cNvSpPr/>
            <p:nvPr/>
          </p:nvSpPr>
          <p:spPr>
            <a:xfrm>
              <a:off x="400708" y="7104812"/>
              <a:ext cx="33809" cy="13303"/>
            </a:xfrm>
            <a:custGeom>
              <a:avLst/>
              <a:gdLst/>
              <a:ahLst/>
              <a:cxnLst/>
              <a:rect l="l" t="t" r="r" b="b"/>
              <a:pathLst>
                <a:path w="33809" h="13303" extrusionOk="0">
                  <a:moveTo>
                    <a:pt x="6467" y="9623"/>
                  </a:moveTo>
                  <a:lnTo>
                    <a:pt x="2057" y="9057"/>
                  </a:lnTo>
                  <a:lnTo>
                    <a:pt x="0" y="6227"/>
                  </a:lnTo>
                  <a:lnTo>
                    <a:pt x="1175" y="1981"/>
                  </a:lnTo>
                  <a:lnTo>
                    <a:pt x="1469" y="1132"/>
                  </a:lnTo>
                  <a:lnTo>
                    <a:pt x="2645" y="0"/>
                  </a:lnTo>
                  <a:lnTo>
                    <a:pt x="4115" y="0"/>
                  </a:lnTo>
                  <a:lnTo>
                    <a:pt x="4997" y="1132"/>
                  </a:lnTo>
                  <a:lnTo>
                    <a:pt x="5879" y="1981"/>
                  </a:lnTo>
                  <a:lnTo>
                    <a:pt x="5879" y="3113"/>
                  </a:lnTo>
                  <a:lnTo>
                    <a:pt x="6761" y="3679"/>
                  </a:lnTo>
                  <a:lnTo>
                    <a:pt x="7349" y="4245"/>
                  </a:lnTo>
                  <a:lnTo>
                    <a:pt x="8231" y="4528"/>
                  </a:lnTo>
                  <a:lnTo>
                    <a:pt x="8525" y="4528"/>
                  </a:lnTo>
                  <a:lnTo>
                    <a:pt x="9113" y="3396"/>
                  </a:lnTo>
                  <a:lnTo>
                    <a:pt x="9701" y="3113"/>
                  </a:lnTo>
                  <a:lnTo>
                    <a:pt x="10583" y="2264"/>
                  </a:lnTo>
                  <a:lnTo>
                    <a:pt x="11171" y="1132"/>
                  </a:lnTo>
                  <a:lnTo>
                    <a:pt x="12935" y="1132"/>
                  </a:lnTo>
                  <a:lnTo>
                    <a:pt x="14111" y="2264"/>
                  </a:lnTo>
                  <a:lnTo>
                    <a:pt x="14111" y="3113"/>
                  </a:lnTo>
                  <a:lnTo>
                    <a:pt x="14405" y="4811"/>
                  </a:lnTo>
                  <a:lnTo>
                    <a:pt x="15581" y="5094"/>
                  </a:lnTo>
                  <a:lnTo>
                    <a:pt x="17051" y="5094"/>
                  </a:lnTo>
                  <a:lnTo>
                    <a:pt x="21755" y="5377"/>
                  </a:lnTo>
                  <a:lnTo>
                    <a:pt x="26165" y="5661"/>
                  </a:lnTo>
                  <a:lnTo>
                    <a:pt x="30575" y="5661"/>
                  </a:lnTo>
                  <a:lnTo>
                    <a:pt x="32339" y="5944"/>
                  </a:lnTo>
                  <a:lnTo>
                    <a:pt x="33809" y="6227"/>
                  </a:lnTo>
                  <a:lnTo>
                    <a:pt x="33221" y="8208"/>
                  </a:lnTo>
                  <a:lnTo>
                    <a:pt x="33221" y="9906"/>
                  </a:lnTo>
                  <a:lnTo>
                    <a:pt x="32633" y="11605"/>
                  </a:lnTo>
                  <a:lnTo>
                    <a:pt x="29987" y="11038"/>
                  </a:lnTo>
                  <a:lnTo>
                    <a:pt x="26165" y="10755"/>
                  </a:lnTo>
                  <a:lnTo>
                    <a:pt x="22049" y="10472"/>
                  </a:lnTo>
                  <a:lnTo>
                    <a:pt x="17933" y="10189"/>
                  </a:lnTo>
                  <a:lnTo>
                    <a:pt x="16169" y="10189"/>
                  </a:lnTo>
                  <a:lnTo>
                    <a:pt x="14111" y="9623"/>
                  </a:lnTo>
                  <a:lnTo>
                    <a:pt x="13523" y="12454"/>
                  </a:lnTo>
                  <a:lnTo>
                    <a:pt x="13229" y="12737"/>
                  </a:lnTo>
                  <a:lnTo>
                    <a:pt x="12053" y="13303"/>
                  </a:lnTo>
                  <a:lnTo>
                    <a:pt x="10583" y="13303"/>
                  </a:lnTo>
                  <a:lnTo>
                    <a:pt x="9407" y="12454"/>
                  </a:lnTo>
                  <a:lnTo>
                    <a:pt x="9407" y="11888"/>
                  </a:lnTo>
                  <a:lnTo>
                    <a:pt x="9113" y="10189"/>
                  </a:lnTo>
                  <a:lnTo>
                    <a:pt x="7937" y="9906"/>
                  </a:lnTo>
                  <a:lnTo>
                    <a:pt x="6467" y="962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89" name="Google Shape;2289;p25"/>
            <p:cNvSpPr/>
            <p:nvPr/>
          </p:nvSpPr>
          <p:spPr>
            <a:xfrm>
              <a:off x="438146" y="6994769"/>
              <a:ext cx="31394" cy="18141"/>
            </a:xfrm>
            <a:custGeom>
              <a:avLst/>
              <a:gdLst/>
              <a:ahLst/>
              <a:cxnLst/>
              <a:rect l="l" t="t" r="r" b="b"/>
              <a:pathLst>
                <a:path w="31394" h="18141" extrusionOk="0">
                  <a:moveTo>
                    <a:pt x="0" y="5102"/>
                  </a:moveTo>
                  <a:lnTo>
                    <a:pt x="1184" y="2834"/>
                  </a:lnTo>
                  <a:lnTo>
                    <a:pt x="2369" y="283"/>
                  </a:lnTo>
                  <a:lnTo>
                    <a:pt x="2961" y="0"/>
                  </a:lnTo>
                  <a:lnTo>
                    <a:pt x="5627" y="1700"/>
                  </a:lnTo>
                  <a:lnTo>
                    <a:pt x="7404" y="2551"/>
                  </a:lnTo>
                  <a:lnTo>
                    <a:pt x="8885" y="3684"/>
                  </a:lnTo>
                  <a:lnTo>
                    <a:pt x="10365" y="1417"/>
                  </a:lnTo>
                  <a:lnTo>
                    <a:pt x="10662" y="850"/>
                  </a:lnTo>
                  <a:lnTo>
                    <a:pt x="12143" y="566"/>
                  </a:lnTo>
                  <a:lnTo>
                    <a:pt x="12735" y="1133"/>
                  </a:lnTo>
                  <a:lnTo>
                    <a:pt x="13327" y="1417"/>
                  </a:lnTo>
                  <a:lnTo>
                    <a:pt x="14216" y="2834"/>
                  </a:lnTo>
                  <a:lnTo>
                    <a:pt x="13920" y="3401"/>
                  </a:lnTo>
                  <a:lnTo>
                    <a:pt x="12735" y="5669"/>
                  </a:lnTo>
                  <a:lnTo>
                    <a:pt x="13920" y="6519"/>
                  </a:lnTo>
                  <a:lnTo>
                    <a:pt x="15697" y="7369"/>
                  </a:lnTo>
                  <a:lnTo>
                    <a:pt x="18066" y="8787"/>
                  </a:lnTo>
                  <a:lnTo>
                    <a:pt x="20435" y="10204"/>
                  </a:lnTo>
                  <a:lnTo>
                    <a:pt x="22805" y="11621"/>
                  </a:lnTo>
                  <a:lnTo>
                    <a:pt x="24286" y="12472"/>
                  </a:lnTo>
                  <a:lnTo>
                    <a:pt x="25766" y="12755"/>
                  </a:lnTo>
                  <a:lnTo>
                    <a:pt x="26951" y="11054"/>
                  </a:lnTo>
                  <a:lnTo>
                    <a:pt x="27247" y="10487"/>
                  </a:lnTo>
                  <a:lnTo>
                    <a:pt x="28728" y="10204"/>
                  </a:lnTo>
                  <a:lnTo>
                    <a:pt x="29321" y="10487"/>
                  </a:lnTo>
                  <a:lnTo>
                    <a:pt x="29913" y="11054"/>
                  </a:lnTo>
                  <a:lnTo>
                    <a:pt x="31098" y="11905"/>
                  </a:lnTo>
                  <a:lnTo>
                    <a:pt x="31098" y="12472"/>
                  </a:lnTo>
                  <a:lnTo>
                    <a:pt x="31394" y="15023"/>
                  </a:lnTo>
                  <a:lnTo>
                    <a:pt x="27543" y="18141"/>
                  </a:lnTo>
                  <a:lnTo>
                    <a:pt x="23989" y="18141"/>
                  </a:lnTo>
                  <a:lnTo>
                    <a:pt x="23101" y="17574"/>
                  </a:lnTo>
                  <a:lnTo>
                    <a:pt x="21324" y="17007"/>
                  </a:lnTo>
                  <a:lnTo>
                    <a:pt x="19843" y="16157"/>
                  </a:lnTo>
                  <a:lnTo>
                    <a:pt x="17177" y="14739"/>
                  </a:lnTo>
                  <a:lnTo>
                    <a:pt x="14808" y="13039"/>
                  </a:lnTo>
                  <a:lnTo>
                    <a:pt x="12143" y="11621"/>
                  </a:lnTo>
                  <a:lnTo>
                    <a:pt x="10958" y="10771"/>
                  </a:lnTo>
                  <a:lnTo>
                    <a:pt x="9773" y="10204"/>
                  </a:lnTo>
                  <a:lnTo>
                    <a:pt x="8885" y="11905"/>
                  </a:lnTo>
                  <a:lnTo>
                    <a:pt x="8589" y="12472"/>
                  </a:lnTo>
                  <a:lnTo>
                    <a:pt x="7108" y="12472"/>
                  </a:lnTo>
                  <a:lnTo>
                    <a:pt x="6515" y="12188"/>
                  </a:lnTo>
                  <a:lnTo>
                    <a:pt x="5627" y="11905"/>
                  </a:lnTo>
                  <a:lnTo>
                    <a:pt x="4738" y="10487"/>
                  </a:lnTo>
                  <a:lnTo>
                    <a:pt x="5034" y="10204"/>
                  </a:lnTo>
                  <a:lnTo>
                    <a:pt x="6219" y="7653"/>
                  </a:lnTo>
                  <a:lnTo>
                    <a:pt x="4146" y="7086"/>
                  </a:lnTo>
                  <a:lnTo>
                    <a:pt x="2961" y="6236"/>
                  </a:lnTo>
                  <a:lnTo>
                    <a:pt x="1777" y="5385"/>
                  </a:lnTo>
                  <a:lnTo>
                    <a:pt x="0" y="510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90" name="Google Shape;2290;p25"/>
            <p:cNvSpPr/>
            <p:nvPr/>
          </p:nvSpPr>
          <p:spPr>
            <a:xfrm>
              <a:off x="401918" y="7141097"/>
              <a:ext cx="32601" cy="8465"/>
            </a:xfrm>
            <a:custGeom>
              <a:avLst/>
              <a:gdLst/>
              <a:ahLst/>
              <a:cxnLst/>
              <a:rect l="l" t="t" r="r" b="b"/>
              <a:pathLst>
                <a:path w="32601" h="8465" extrusionOk="0">
                  <a:moveTo>
                    <a:pt x="0" y="5139"/>
                  </a:moveTo>
                  <a:lnTo>
                    <a:pt x="0" y="3325"/>
                  </a:lnTo>
                  <a:lnTo>
                    <a:pt x="873" y="2116"/>
                  </a:lnTo>
                  <a:lnTo>
                    <a:pt x="2910" y="2116"/>
                  </a:lnTo>
                  <a:lnTo>
                    <a:pt x="15581" y="1229"/>
                  </a:lnTo>
                  <a:lnTo>
                    <a:pt x="28242" y="342"/>
                  </a:lnTo>
                  <a:lnTo>
                    <a:pt x="28817" y="302"/>
                  </a:lnTo>
                  <a:lnTo>
                    <a:pt x="30855" y="0"/>
                  </a:lnTo>
                  <a:lnTo>
                    <a:pt x="32019" y="907"/>
                  </a:lnTo>
                  <a:lnTo>
                    <a:pt x="32310" y="3023"/>
                  </a:lnTo>
                  <a:lnTo>
                    <a:pt x="32601" y="5442"/>
                  </a:lnTo>
                  <a:lnTo>
                    <a:pt x="31728" y="6047"/>
                  </a:lnTo>
                  <a:lnTo>
                    <a:pt x="29690" y="6047"/>
                  </a:lnTo>
                  <a:lnTo>
                    <a:pt x="17026" y="7043"/>
                  </a:lnTo>
                  <a:lnTo>
                    <a:pt x="4383" y="8062"/>
                  </a:lnTo>
                  <a:lnTo>
                    <a:pt x="2910" y="8163"/>
                  </a:lnTo>
                  <a:lnTo>
                    <a:pt x="582" y="8465"/>
                  </a:lnTo>
                  <a:lnTo>
                    <a:pt x="0" y="7256"/>
                  </a:lnTo>
                  <a:lnTo>
                    <a:pt x="0" y="5139"/>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91" name="Google Shape;2291;p25"/>
            <p:cNvSpPr/>
            <p:nvPr/>
          </p:nvSpPr>
          <p:spPr>
            <a:xfrm>
              <a:off x="415180" y="7064898"/>
              <a:ext cx="24150" cy="18140"/>
            </a:xfrm>
            <a:custGeom>
              <a:avLst/>
              <a:gdLst/>
              <a:ahLst/>
              <a:cxnLst/>
              <a:rect l="l" t="t" r="r" b="b"/>
              <a:pathLst>
                <a:path w="24150" h="18140" extrusionOk="0">
                  <a:moveTo>
                    <a:pt x="11486" y="9655"/>
                  </a:moveTo>
                  <a:lnTo>
                    <a:pt x="14725" y="10825"/>
                  </a:lnTo>
                  <a:lnTo>
                    <a:pt x="18259" y="11411"/>
                  </a:lnTo>
                  <a:lnTo>
                    <a:pt x="21499" y="12288"/>
                  </a:lnTo>
                  <a:lnTo>
                    <a:pt x="23266" y="12581"/>
                  </a:lnTo>
                  <a:lnTo>
                    <a:pt x="24150" y="13166"/>
                  </a:lnTo>
                  <a:lnTo>
                    <a:pt x="23855" y="15214"/>
                  </a:lnTo>
                  <a:lnTo>
                    <a:pt x="23266" y="17262"/>
                  </a:lnTo>
                  <a:lnTo>
                    <a:pt x="22677" y="18140"/>
                  </a:lnTo>
                  <a:lnTo>
                    <a:pt x="20321" y="17555"/>
                  </a:lnTo>
                  <a:lnTo>
                    <a:pt x="14725" y="16092"/>
                  </a:lnTo>
                  <a:lnTo>
                    <a:pt x="8835" y="14922"/>
                  </a:lnTo>
                  <a:lnTo>
                    <a:pt x="3239" y="13459"/>
                  </a:lnTo>
                  <a:lnTo>
                    <a:pt x="1767" y="13166"/>
                  </a:lnTo>
                  <a:lnTo>
                    <a:pt x="0" y="13459"/>
                  </a:lnTo>
                  <a:lnTo>
                    <a:pt x="294" y="11118"/>
                  </a:lnTo>
                  <a:lnTo>
                    <a:pt x="589" y="9655"/>
                  </a:lnTo>
                  <a:lnTo>
                    <a:pt x="589" y="7607"/>
                  </a:lnTo>
                  <a:lnTo>
                    <a:pt x="2945" y="8192"/>
                  </a:lnTo>
                  <a:lnTo>
                    <a:pt x="2356" y="6144"/>
                  </a:lnTo>
                  <a:lnTo>
                    <a:pt x="1767" y="4388"/>
                  </a:lnTo>
                  <a:lnTo>
                    <a:pt x="1767" y="877"/>
                  </a:lnTo>
                  <a:lnTo>
                    <a:pt x="2650" y="0"/>
                  </a:lnTo>
                  <a:lnTo>
                    <a:pt x="4712" y="292"/>
                  </a:lnTo>
                  <a:lnTo>
                    <a:pt x="6479" y="877"/>
                  </a:lnTo>
                  <a:lnTo>
                    <a:pt x="7951" y="877"/>
                  </a:lnTo>
                  <a:lnTo>
                    <a:pt x="7362" y="3511"/>
                  </a:lnTo>
                  <a:lnTo>
                    <a:pt x="6479" y="6144"/>
                  </a:lnTo>
                  <a:lnTo>
                    <a:pt x="8246" y="8777"/>
                  </a:lnTo>
                  <a:lnTo>
                    <a:pt x="11486" y="965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92" name="Google Shape;2292;p25"/>
            <p:cNvSpPr/>
            <p:nvPr/>
          </p:nvSpPr>
          <p:spPr>
            <a:xfrm>
              <a:off x="451419" y="6988720"/>
              <a:ext cx="21734" cy="16931"/>
            </a:xfrm>
            <a:custGeom>
              <a:avLst/>
              <a:gdLst/>
              <a:ahLst/>
              <a:cxnLst/>
              <a:rect l="l" t="t" r="r" b="b"/>
              <a:pathLst>
                <a:path w="21734" h="16931" extrusionOk="0">
                  <a:moveTo>
                    <a:pt x="6375" y="8896"/>
                  </a:moveTo>
                  <a:lnTo>
                    <a:pt x="1159" y="5165"/>
                  </a:lnTo>
                  <a:lnTo>
                    <a:pt x="579" y="4878"/>
                  </a:lnTo>
                  <a:lnTo>
                    <a:pt x="0" y="3443"/>
                  </a:lnTo>
                  <a:lnTo>
                    <a:pt x="289" y="2869"/>
                  </a:lnTo>
                  <a:lnTo>
                    <a:pt x="579" y="1721"/>
                  </a:lnTo>
                  <a:lnTo>
                    <a:pt x="1448" y="860"/>
                  </a:lnTo>
                  <a:lnTo>
                    <a:pt x="2318" y="0"/>
                  </a:lnTo>
                  <a:lnTo>
                    <a:pt x="3187" y="287"/>
                  </a:lnTo>
                  <a:lnTo>
                    <a:pt x="3767" y="573"/>
                  </a:lnTo>
                  <a:lnTo>
                    <a:pt x="4346" y="1147"/>
                  </a:lnTo>
                  <a:lnTo>
                    <a:pt x="9563" y="4304"/>
                  </a:lnTo>
                  <a:lnTo>
                    <a:pt x="14489" y="7748"/>
                  </a:lnTo>
                  <a:lnTo>
                    <a:pt x="19706" y="10905"/>
                  </a:lnTo>
                  <a:lnTo>
                    <a:pt x="21444" y="12053"/>
                  </a:lnTo>
                  <a:lnTo>
                    <a:pt x="21734" y="12914"/>
                  </a:lnTo>
                  <a:lnTo>
                    <a:pt x="20575" y="14349"/>
                  </a:lnTo>
                  <a:lnTo>
                    <a:pt x="19416" y="16070"/>
                  </a:lnTo>
                  <a:lnTo>
                    <a:pt x="18546" y="16931"/>
                  </a:lnTo>
                  <a:lnTo>
                    <a:pt x="16518" y="15496"/>
                  </a:lnTo>
                  <a:lnTo>
                    <a:pt x="11591" y="12053"/>
                  </a:lnTo>
                  <a:lnTo>
                    <a:pt x="6375" y="889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93" name="Google Shape;2293;p25"/>
            <p:cNvSpPr/>
            <p:nvPr/>
          </p:nvSpPr>
          <p:spPr>
            <a:xfrm>
              <a:off x="444180" y="6982672"/>
              <a:ext cx="6037" cy="7256"/>
            </a:xfrm>
            <a:custGeom>
              <a:avLst/>
              <a:gdLst/>
              <a:ahLst/>
              <a:cxnLst/>
              <a:rect l="l" t="t" r="r" b="b"/>
              <a:pathLst>
                <a:path w="6037" h="7256" extrusionOk="0">
                  <a:moveTo>
                    <a:pt x="274" y="4535"/>
                  </a:moveTo>
                  <a:lnTo>
                    <a:pt x="0" y="3325"/>
                  </a:lnTo>
                  <a:lnTo>
                    <a:pt x="1646" y="1814"/>
                  </a:lnTo>
                  <a:lnTo>
                    <a:pt x="2469" y="0"/>
                  </a:lnTo>
                  <a:lnTo>
                    <a:pt x="4116" y="1511"/>
                  </a:lnTo>
                  <a:lnTo>
                    <a:pt x="5762" y="2721"/>
                  </a:lnTo>
                  <a:lnTo>
                    <a:pt x="6037" y="3930"/>
                  </a:lnTo>
                  <a:lnTo>
                    <a:pt x="6037" y="5140"/>
                  </a:lnTo>
                  <a:lnTo>
                    <a:pt x="4390" y="7256"/>
                  </a:lnTo>
                  <a:lnTo>
                    <a:pt x="2469" y="7256"/>
                  </a:lnTo>
                  <a:lnTo>
                    <a:pt x="548" y="5744"/>
                  </a:lnTo>
                  <a:lnTo>
                    <a:pt x="274" y="453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94" name="Google Shape;2294;p25"/>
            <p:cNvSpPr/>
            <p:nvPr/>
          </p:nvSpPr>
          <p:spPr>
            <a:xfrm>
              <a:off x="596322" y="6877454"/>
              <a:ext cx="6037" cy="7256"/>
            </a:xfrm>
            <a:custGeom>
              <a:avLst/>
              <a:gdLst/>
              <a:ahLst/>
              <a:cxnLst/>
              <a:rect l="l" t="t" r="r" b="b"/>
              <a:pathLst>
                <a:path w="6037" h="7256" extrusionOk="0">
                  <a:moveTo>
                    <a:pt x="2299" y="302"/>
                  </a:moveTo>
                  <a:lnTo>
                    <a:pt x="3449" y="302"/>
                  </a:lnTo>
                  <a:lnTo>
                    <a:pt x="6037" y="0"/>
                  </a:lnTo>
                  <a:lnTo>
                    <a:pt x="5749" y="2721"/>
                  </a:lnTo>
                  <a:lnTo>
                    <a:pt x="5749" y="3930"/>
                  </a:lnTo>
                  <a:lnTo>
                    <a:pt x="5462" y="5140"/>
                  </a:lnTo>
                  <a:lnTo>
                    <a:pt x="3737" y="5744"/>
                  </a:lnTo>
                  <a:lnTo>
                    <a:pt x="2012" y="7256"/>
                  </a:lnTo>
                  <a:lnTo>
                    <a:pt x="1150" y="5140"/>
                  </a:lnTo>
                  <a:lnTo>
                    <a:pt x="287" y="3930"/>
                  </a:lnTo>
                  <a:lnTo>
                    <a:pt x="0" y="2418"/>
                  </a:lnTo>
                  <a:lnTo>
                    <a:pt x="0" y="0"/>
                  </a:lnTo>
                  <a:lnTo>
                    <a:pt x="2299" y="30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95" name="Google Shape;2295;p25"/>
            <p:cNvSpPr/>
            <p:nvPr/>
          </p:nvSpPr>
          <p:spPr>
            <a:xfrm>
              <a:off x="735699" y="7073431"/>
              <a:ext cx="56235" cy="73846"/>
            </a:xfrm>
            <a:custGeom>
              <a:avLst/>
              <a:gdLst/>
              <a:ahLst/>
              <a:cxnLst/>
              <a:rect l="l" t="t" r="r" b="b"/>
              <a:pathLst>
                <a:path w="56235" h="73846" extrusionOk="0">
                  <a:moveTo>
                    <a:pt x="54691" y="22414"/>
                  </a:moveTo>
                  <a:lnTo>
                    <a:pt x="54787" y="22914"/>
                  </a:lnTo>
                  <a:lnTo>
                    <a:pt x="55655" y="27541"/>
                  </a:lnTo>
                  <a:lnTo>
                    <a:pt x="55945" y="32458"/>
                  </a:lnTo>
                  <a:lnTo>
                    <a:pt x="56235" y="36796"/>
                  </a:lnTo>
                  <a:lnTo>
                    <a:pt x="55945" y="42001"/>
                  </a:lnTo>
                  <a:lnTo>
                    <a:pt x="55366" y="46628"/>
                  </a:lnTo>
                  <a:lnTo>
                    <a:pt x="55076" y="51256"/>
                  </a:lnTo>
                  <a:lnTo>
                    <a:pt x="50247" y="63609"/>
                  </a:lnTo>
                  <a:lnTo>
                    <a:pt x="39664" y="71452"/>
                  </a:lnTo>
                  <a:lnTo>
                    <a:pt x="38862" y="71789"/>
                  </a:lnTo>
                  <a:lnTo>
                    <a:pt x="26844" y="73846"/>
                  </a:lnTo>
                  <a:lnTo>
                    <a:pt x="14768" y="70966"/>
                  </a:lnTo>
                  <a:lnTo>
                    <a:pt x="6722" y="65427"/>
                  </a:lnTo>
                  <a:lnTo>
                    <a:pt x="2958" y="61667"/>
                  </a:lnTo>
                  <a:lnTo>
                    <a:pt x="931" y="56751"/>
                  </a:lnTo>
                  <a:lnTo>
                    <a:pt x="642" y="51545"/>
                  </a:lnTo>
                  <a:lnTo>
                    <a:pt x="0" y="38897"/>
                  </a:lnTo>
                  <a:lnTo>
                    <a:pt x="515" y="26233"/>
                  </a:lnTo>
                  <a:lnTo>
                    <a:pt x="642" y="25228"/>
                  </a:lnTo>
                  <a:lnTo>
                    <a:pt x="5387" y="11187"/>
                  </a:lnTo>
                  <a:lnTo>
                    <a:pt x="14309" y="2971"/>
                  </a:lnTo>
                  <a:lnTo>
                    <a:pt x="25792" y="0"/>
                  </a:lnTo>
                  <a:lnTo>
                    <a:pt x="38222" y="1693"/>
                  </a:lnTo>
                  <a:lnTo>
                    <a:pt x="39441" y="2091"/>
                  </a:lnTo>
                  <a:lnTo>
                    <a:pt x="49913" y="10028"/>
                  </a:lnTo>
                  <a:lnTo>
                    <a:pt x="54691" y="22414"/>
                  </a:lnTo>
                  <a:close/>
                </a:path>
              </a:pathLst>
            </a:custGeom>
            <a:solidFill>
              <a:srgbClr val="CECFC8"/>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96" name="Google Shape;2296;p25"/>
            <p:cNvSpPr/>
            <p:nvPr/>
          </p:nvSpPr>
          <p:spPr>
            <a:xfrm>
              <a:off x="701361" y="7051578"/>
              <a:ext cx="125007" cy="120254"/>
            </a:xfrm>
            <a:custGeom>
              <a:avLst/>
              <a:gdLst/>
              <a:ahLst/>
              <a:cxnLst/>
              <a:rect l="l" t="t" r="r" b="b"/>
              <a:pathLst>
                <a:path w="125007" h="120254" extrusionOk="0">
                  <a:moveTo>
                    <a:pt x="4610" y="83141"/>
                  </a:moveTo>
                  <a:lnTo>
                    <a:pt x="1440" y="75045"/>
                  </a:lnTo>
                  <a:lnTo>
                    <a:pt x="0" y="66660"/>
                  </a:lnTo>
                  <a:lnTo>
                    <a:pt x="288" y="59431"/>
                  </a:lnTo>
                  <a:lnTo>
                    <a:pt x="1277" y="45907"/>
                  </a:lnTo>
                  <a:lnTo>
                    <a:pt x="4783" y="33805"/>
                  </a:lnTo>
                  <a:lnTo>
                    <a:pt x="10806" y="22861"/>
                  </a:lnTo>
                  <a:lnTo>
                    <a:pt x="21608" y="11275"/>
                  </a:lnTo>
                  <a:lnTo>
                    <a:pt x="32290" y="4363"/>
                  </a:lnTo>
                  <a:lnTo>
                    <a:pt x="44437" y="0"/>
                  </a:lnTo>
                  <a:lnTo>
                    <a:pt x="50028" y="24545"/>
                  </a:lnTo>
                  <a:lnTo>
                    <a:pt x="40822" y="32275"/>
                  </a:lnTo>
                  <a:lnTo>
                    <a:pt x="35650" y="45806"/>
                  </a:lnTo>
                  <a:lnTo>
                    <a:pt x="35443" y="47287"/>
                  </a:lnTo>
                  <a:lnTo>
                    <a:pt x="34787" y="59936"/>
                  </a:lnTo>
                  <a:lnTo>
                    <a:pt x="35377" y="72600"/>
                  </a:lnTo>
                  <a:lnTo>
                    <a:pt x="35443" y="73599"/>
                  </a:lnTo>
                  <a:lnTo>
                    <a:pt x="35731" y="78804"/>
                  </a:lnTo>
                  <a:lnTo>
                    <a:pt x="37748" y="83719"/>
                  </a:lnTo>
                  <a:lnTo>
                    <a:pt x="41494" y="87478"/>
                  </a:lnTo>
                  <a:lnTo>
                    <a:pt x="51911" y="94011"/>
                  </a:lnTo>
                  <a:lnTo>
                    <a:pt x="64164" y="95884"/>
                  </a:lnTo>
                  <a:lnTo>
                    <a:pt x="73479" y="93839"/>
                  </a:lnTo>
                  <a:lnTo>
                    <a:pt x="84347" y="86236"/>
                  </a:lnTo>
                  <a:lnTo>
                    <a:pt x="89512" y="74130"/>
                  </a:lnTo>
                  <a:lnTo>
                    <a:pt x="89616" y="73310"/>
                  </a:lnTo>
                  <a:lnTo>
                    <a:pt x="89904" y="68684"/>
                  </a:lnTo>
                  <a:lnTo>
                    <a:pt x="90481" y="64057"/>
                  </a:lnTo>
                  <a:lnTo>
                    <a:pt x="90769" y="58853"/>
                  </a:lnTo>
                  <a:lnTo>
                    <a:pt x="90481" y="54516"/>
                  </a:lnTo>
                  <a:lnTo>
                    <a:pt x="90192" y="49600"/>
                  </a:lnTo>
                  <a:lnTo>
                    <a:pt x="89328" y="44974"/>
                  </a:lnTo>
                  <a:lnTo>
                    <a:pt x="84726" y="32466"/>
                  </a:lnTo>
                  <a:lnTo>
                    <a:pt x="74515" y="24315"/>
                  </a:lnTo>
                  <a:lnTo>
                    <a:pt x="85190" y="1099"/>
                  </a:lnTo>
                  <a:lnTo>
                    <a:pt x="92210" y="3915"/>
                  </a:lnTo>
                  <a:lnTo>
                    <a:pt x="103500" y="10795"/>
                  </a:lnTo>
                  <a:lnTo>
                    <a:pt x="112452" y="19880"/>
                  </a:lnTo>
                  <a:lnTo>
                    <a:pt x="119066" y="31029"/>
                  </a:lnTo>
                  <a:lnTo>
                    <a:pt x="120737" y="35143"/>
                  </a:lnTo>
                  <a:lnTo>
                    <a:pt x="123967" y="47531"/>
                  </a:lnTo>
                  <a:lnTo>
                    <a:pt x="125007" y="59925"/>
                  </a:lnTo>
                  <a:lnTo>
                    <a:pt x="123812" y="72230"/>
                  </a:lnTo>
                  <a:lnTo>
                    <a:pt x="120334" y="84355"/>
                  </a:lnTo>
                  <a:lnTo>
                    <a:pt x="112500" y="98378"/>
                  </a:lnTo>
                  <a:lnTo>
                    <a:pt x="103466" y="107438"/>
                  </a:lnTo>
                  <a:lnTo>
                    <a:pt x="92365" y="114080"/>
                  </a:lnTo>
                  <a:lnTo>
                    <a:pt x="83565" y="117260"/>
                  </a:lnTo>
                  <a:lnTo>
                    <a:pt x="71015" y="119731"/>
                  </a:lnTo>
                  <a:lnTo>
                    <a:pt x="58646" y="120254"/>
                  </a:lnTo>
                  <a:lnTo>
                    <a:pt x="46457" y="118601"/>
                  </a:lnTo>
                  <a:lnTo>
                    <a:pt x="34449" y="114545"/>
                  </a:lnTo>
                  <a:lnTo>
                    <a:pt x="29968" y="112345"/>
                  </a:lnTo>
                  <a:lnTo>
                    <a:pt x="19247" y="104903"/>
                  </a:lnTo>
                  <a:lnTo>
                    <a:pt x="10889" y="95276"/>
                  </a:lnTo>
                  <a:lnTo>
                    <a:pt x="4831" y="83708"/>
                  </a:lnTo>
                  <a:lnTo>
                    <a:pt x="4610" y="83141"/>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97" name="Google Shape;2297;p25"/>
            <p:cNvSpPr/>
            <p:nvPr/>
          </p:nvSpPr>
          <p:spPr>
            <a:xfrm>
              <a:off x="745798" y="7049369"/>
              <a:ext cx="40753" cy="26753"/>
            </a:xfrm>
            <a:custGeom>
              <a:avLst/>
              <a:gdLst/>
              <a:ahLst/>
              <a:cxnLst/>
              <a:rect l="l" t="t" r="r" b="b"/>
              <a:pathLst>
                <a:path w="40753" h="26753" extrusionOk="0">
                  <a:moveTo>
                    <a:pt x="0" y="2208"/>
                  </a:moveTo>
                  <a:lnTo>
                    <a:pt x="3396" y="1497"/>
                  </a:lnTo>
                  <a:lnTo>
                    <a:pt x="16083" y="0"/>
                  </a:lnTo>
                  <a:lnTo>
                    <a:pt x="28560" y="515"/>
                  </a:lnTo>
                  <a:lnTo>
                    <a:pt x="40753" y="3308"/>
                  </a:lnTo>
                  <a:lnTo>
                    <a:pt x="30078" y="26523"/>
                  </a:lnTo>
                  <a:lnTo>
                    <a:pt x="29619" y="26364"/>
                  </a:lnTo>
                  <a:lnTo>
                    <a:pt x="17208" y="24242"/>
                  </a:lnTo>
                  <a:lnTo>
                    <a:pt x="5591" y="26753"/>
                  </a:lnTo>
                  <a:lnTo>
                    <a:pt x="0" y="2208"/>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98" name="Google Shape;2298;p25"/>
            <p:cNvSpPr/>
            <p:nvPr/>
          </p:nvSpPr>
          <p:spPr>
            <a:xfrm>
              <a:off x="590856" y="7050977"/>
              <a:ext cx="106379" cy="119178"/>
            </a:xfrm>
            <a:custGeom>
              <a:avLst/>
              <a:gdLst/>
              <a:ahLst/>
              <a:cxnLst/>
              <a:rect l="l" t="t" r="r" b="b"/>
              <a:pathLst>
                <a:path w="106379" h="119178" extrusionOk="0">
                  <a:moveTo>
                    <a:pt x="80573" y="2221"/>
                  </a:moveTo>
                  <a:lnTo>
                    <a:pt x="102651" y="2221"/>
                  </a:lnTo>
                  <a:lnTo>
                    <a:pt x="103512" y="2793"/>
                  </a:lnTo>
                  <a:lnTo>
                    <a:pt x="103512" y="38265"/>
                  </a:lnTo>
                  <a:lnTo>
                    <a:pt x="102651" y="39124"/>
                  </a:lnTo>
                  <a:lnTo>
                    <a:pt x="100644" y="39124"/>
                  </a:lnTo>
                  <a:lnTo>
                    <a:pt x="94623" y="38838"/>
                  </a:lnTo>
                  <a:lnTo>
                    <a:pt x="88888" y="38838"/>
                  </a:lnTo>
                  <a:lnTo>
                    <a:pt x="83153" y="39124"/>
                  </a:lnTo>
                  <a:lnTo>
                    <a:pt x="81146" y="39124"/>
                  </a:lnTo>
                  <a:lnTo>
                    <a:pt x="79712" y="38265"/>
                  </a:lnTo>
                  <a:lnTo>
                    <a:pt x="78852" y="36549"/>
                  </a:lnTo>
                  <a:lnTo>
                    <a:pt x="75698" y="31400"/>
                  </a:lnTo>
                  <a:lnTo>
                    <a:pt x="72257" y="26537"/>
                  </a:lnTo>
                  <a:lnTo>
                    <a:pt x="67096" y="23390"/>
                  </a:lnTo>
                  <a:lnTo>
                    <a:pt x="60788" y="19099"/>
                  </a:lnTo>
                  <a:lnTo>
                    <a:pt x="53619" y="17668"/>
                  </a:lnTo>
                  <a:lnTo>
                    <a:pt x="46164" y="18527"/>
                  </a:lnTo>
                  <a:lnTo>
                    <a:pt x="43297" y="18813"/>
                  </a:lnTo>
                  <a:lnTo>
                    <a:pt x="40716" y="19099"/>
                  </a:lnTo>
                  <a:lnTo>
                    <a:pt x="38136" y="19671"/>
                  </a:lnTo>
                  <a:lnTo>
                    <a:pt x="34121" y="20815"/>
                  </a:lnTo>
                  <a:lnTo>
                    <a:pt x="30967" y="22818"/>
                  </a:lnTo>
                  <a:lnTo>
                    <a:pt x="30394" y="27109"/>
                  </a:lnTo>
                  <a:lnTo>
                    <a:pt x="29533" y="32544"/>
                  </a:lnTo>
                  <a:lnTo>
                    <a:pt x="31541" y="36835"/>
                  </a:lnTo>
                  <a:lnTo>
                    <a:pt x="35842" y="39410"/>
                  </a:lnTo>
                  <a:lnTo>
                    <a:pt x="41290" y="42270"/>
                  </a:lnTo>
                  <a:lnTo>
                    <a:pt x="47311" y="43415"/>
                  </a:lnTo>
                  <a:lnTo>
                    <a:pt x="53333" y="43987"/>
                  </a:lnTo>
                  <a:lnTo>
                    <a:pt x="66019" y="45516"/>
                  </a:lnTo>
                  <a:lnTo>
                    <a:pt x="78335" y="48567"/>
                  </a:lnTo>
                  <a:lnTo>
                    <a:pt x="84874" y="51139"/>
                  </a:lnTo>
                  <a:lnTo>
                    <a:pt x="96093" y="58274"/>
                  </a:lnTo>
                  <a:lnTo>
                    <a:pt x="103885" y="68412"/>
                  </a:lnTo>
                  <a:lnTo>
                    <a:pt x="106379" y="76599"/>
                  </a:lnTo>
                  <a:lnTo>
                    <a:pt x="106275" y="89243"/>
                  </a:lnTo>
                  <a:lnTo>
                    <a:pt x="101285" y="100537"/>
                  </a:lnTo>
                  <a:lnTo>
                    <a:pt x="99211" y="103203"/>
                  </a:lnTo>
                  <a:lnTo>
                    <a:pt x="89276" y="112122"/>
                  </a:lnTo>
                  <a:lnTo>
                    <a:pt x="77925" y="117262"/>
                  </a:lnTo>
                  <a:lnTo>
                    <a:pt x="65399" y="119178"/>
                  </a:lnTo>
                  <a:lnTo>
                    <a:pt x="56487" y="118937"/>
                  </a:lnTo>
                  <a:lnTo>
                    <a:pt x="43793" y="116069"/>
                  </a:lnTo>
                  <a:lnTo>
                    <a:pt x="32497" y="110196"/>
                  </a:lnTo>
                  <a:lnTo>
                    <a:pt x="26666" y="105492"/>
                  </a:lnTo>
                  <a:lnTo>
                    <a:pt x="26379" y="105206"/>
                  </a:lnTo>
                  <a:lnTo>
                    <a:pt x="25806" y="104920"/>
                  </a:lnTo>
                  <a:lnTo>
                    <a:pt x="24659" y="104348"/>
                  </a:lnTo>
                  <a:lnTo>
                    <a:pt x="24659" y="110927"/>
                  </a:lnTo>
                  <a:lnTo>
                    <a:pt x="24946" y="113788"/>
                  </a:lnTo>
                  <a:lnTo>
                    <a:pt x="24946" y="116076"/>
                  </a:lnTo>
                  <a:lnTo>
                    <a:pt x="24085" y="116935"/>
                  </a:lnTo>
                  <a:lnTo>
                    <a:pt x="860" y="116935"/>
                  </a:lnTo>
                  <a:lnTo>
                    <a:pt x="0" y="116362"/>
                  </a:lnTo>
                  <a:lnTo>
                    <a:pt x="0" y="77171"/>
                  </a:lnTo>
                  <a:lnTo>
                    <a:pt x="860" y="76313"/>
                  </a:lnTo>
                  <a:lnTo>
                    <a:pt x="23799" y="76313"/>
                  </a:lnTo>
                  <a:lnTo>
                    <a:pt x="24946" y="77171"/>
                  </a:lnTo>
                  <a:lnTo>
                    <a:pt x="25806" y="78887"/>
                  </a:lnTo>
                  <a:lnTo>
                    <a:pt x="33789" y="89515"/>
                  </a:lnTo>
                  <a:lnTo>
                    <a:pt x="44852" y="95939"/>
                  </a:lnTo>
                  <a:lnTo>
                    <a:pt x="51899" y="97482"/>
                  </a:lnTo>
                  <a:lnTo>
                    <a:pt x="59354" y="98340"/>
                  </a:lnTo>
                  <a:lnTo>
                    <a:pt x="66809" y="98054"/>
                  </a:lnTo>
                  <a:lnTo>
                    <a:pt x="73978" y="94049"/>
                  </a:lnTo>
                  <a:lnTo>
                    <a:pt x="80438" y="84554"/>
                  </a:lnTo>
                  <a:lnTo>
                    <a:pt x="75363" y="74674"/>
                  </a:lnTo>
                  <a:lnTo>
                    <a:pt x="74264" y="74024"/>
                  </a:lnTo>
                  <a:lnTo>
                    <a:pt x="69677" y="71736"/>
                  </a:lnTo>
                  <a:lnTo>
                    <a:pt x="64515" y="70877"/>
                  </a:lnTo>
                  <a:lnTo>
                    <a:pt x="59354" y="69733"/>
                  </a:lnTo>
                  <a:lnTo>
                    <a:pt x="51325" y="68303"/>
                  </a:lnTo>
                  <a:lnTo>
                    <a:pt x="43297" y="67731"/>
                  </a:lnTo>
                  <a:lnTo>
                    <a:pt x="35268" y="66300"/>
                  </a:lnTo>
                  <a:lnTo>
                    <a:pt x="22733" y="62086"/>
                  </a:lnTo>
                  <a:lnTo>
                    <a:pt x="12330" y="54736"/>
                  </a:lnTo>
                  <a:lnTo>
                    <a:pt x="5734" y="46275"/>
                  </a:lnTo>
                  <a:lnTo>
                    <a:pt x="1916" y="34564"/>
                  </a:lnTo>
                  <a:lnTo>
                    <a:pt x="3817" y="22939"/>
                  </a:lnTo>
                  <a:lnTo>
                    <a:pt x="9462" y="14522"/>
                  </a:lnTo>
                  <a:lnTo>
                    <a:pt x="19700" y="6331"/>
                  </a:lnTo>
                  <a:lnTo>
                    <a:pt x="31067" y="1611"/>
                  </a:lnTo>
                  <a:lnTo>
                    <a:pt x="43413" y="0"/>
                  </a:lnTo>
                  <a:lnTo>
                    <a:pt x="54480" y="790"/>
                  </a:lnTo>
                  <a:lnTo>
                    <a:pt x="62508" y="1935"/>
                  </a:lnTo>
                  <a:lnTo>
                    <a:pt x="69963" y="5081"/>
                  </a:lnTo>
                  <a:lnTo>
                    <a:pt x="76272" y="10803"/>
                  </a:lnTo>
                  <a:lnTo>
                    <a:pt x="77132" y="11661"/>
                  </a:lnTo>
                  <a:lnTo>
                    <a:pt x="78279" y="12233"/>
                  </a:lnTo>
                  <a:lnTo>
                    <a:pt x="79999" y="13663"/>
                  </a:lnTo>
                  <a:lnTo>
                    <a:pt x="79999" y="5367"/>
                  </a:lnTo>
                  <a:lnTo>
                    <a:pt x="79712" y="3079"/>
                  </a:lnTo>
                  <a:lnTo>
                    <a:pt x="80573" y="2221"/>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99" name="Google Shape;2299;p25"/>
            <p:cNvSpPr/>
            <p:nvPr/>
          </p:nvSpPr>
          <p:spPr>
            <a:xfrm>
              <a:off x="511796" y="7052802"/>
              <a:ext cx="70033" cy="114890"/>
            </a:xfrm>
            <a:custGeom>
              <a:avLst/>
              <a:gdLst/>
              <a:ahLst/>
              <a:cxnLst/>
              <a:rect l="l" t="t" r="r" b="b"/>
              <a:pathLst>
                <a:path w="70033" h="114890" extrusionOk="0">
                  <a:moveTo>
                    <a:pt x="864" y="22634"/>
                  </a:moveTo>
                  <a:lnTo>
                    <a:pt x="0" y="21774"/>
                  </a:lnTo>
                  <a:lnTo>
                    <a:pt x="288" y="19482"/>
                  </a:lnTo>
                  <a:lnTo>
                    <a:pt x="288" y="2865"/>
                  </a:lnTo>
                  <a:lnTo>
                    <a:pt x="0" y="573"/>
                  </a:lnTo>
                  <a:lnTo>
                    <a:pt x="864" y="0"/>
                  </a:lnTo>
                  <a:lnTo>
                    <a:pt x="68592" y="0"/>
                  </a:lnTo>
                  <a:lnTo>
                    <a:pt x="69457" y="859"/>
                  </a:lnTo>
                  <a:lnTo>
                    <a:pt x="69457" y="2865"/>
                  </a:lnTo>
                  <a:lnTo>
                    <a:pt x="69169" y="8308"/>
                  </a:lnTo>
                  <a:lnTo>
                    <a:pt x="69169" y="13752"/>
                  </a:lnTo>
                  <a:lnTo>
                    <a:pt x="69457" y="19482"/>
                  </a:lnTo>
                  <a:lnTo>
                    <a:pt x="69457" y="21774"/>
                  </a:lnTo>
                  <a:lnTo>
                    <a:pt x="68304" y="22634"/>
                  </a:lnTo>
                  <a:lnTo>
                    <a:pt x="65999" y="22634"/>
                  </a:lnTo>
                  <a:lnTo>
                    <a:pt x="61387" y="22347"/>
                  </a:lnTo>
                  <a:lnTo>
                    <a:pt x="51876" y="22347"/>
                  </a:lnTo>
                  <a:lnTo>
                    <a:pt x="48418" y="22634"/>
                  </a:lnTo>
                  <a:lnTo>
                    <a:pt x="48418" y="26072"/>
                  </a:lnTo>
                  <a:lnTo>
                    <a:pt x="48294" y="38757"/>
                  </a:lnTo>
                  <a:lnTo>
                    <a:pt x="48393" y="51495"/>
                  </a:lnTo>
                  <a:lnTo>
                    <a:pt x="48418" y="57302"/>
                  </a:lnTo>
                  <a:lnTo>
                    <a:pt x="48334" y="70013"/>
                  </a:lnTo>
                  <a:lnTo>
                    <a:pt x="48309" y="82670"/>
                  </a:lnTo>
                  <a:lnTo>
                    <a:pt x="48418" y="88818"/>
                  </a:lnTo>
                  <a:lnTo>
                    <a:pt x="48418" y="92256"/>
                  </a:lnTo>
                  <a:lnTo>
                    <a:pt x="56776" y="92256"/>
                  </a:lnTo>
                  <a:lnTo>
                    <a:pt x="61675" y="92543"/>
                  </a:lnTo>
                  <a:lnTo>
                    <a:pt x="66863" y="92256"/>
                  </a:lnTo>
                  <a:lnTo>
                    <a:pt x="69169" y="92256"/>
                  </a:lnTo>
                  <a:lnTo>
                    <a:pt x="70033" y="93116"/>
                  </a:lnTo>
                  <a:lnTo>
                    <a:pt x="69745" y="95408"/>
                  </a:lnTo>
                  <a:lnTo>
                    <a:pt x="69745" y="112025"/>
                  </a:lnTo>
                  <a:lnTo>
                    <a:pt x="70033" y="114031"/>
                  </a:lnTo>
                  <a:lnTo>
                    <a:pt x="68881" y="114890"/>
                  </a:lnTo>
                  <a:lnTo>
                    <a:pt x="864" y="114890"/>
                  </a:lnTo>
                  <a:lnTo>
                    <a:pt x="0" y="114031"/>
                  </a:lnTo>
                  <a:lnTo>
                    <a:pt x="0" y="111739"/>
                  </a:lnTo>
                  <a:lnTo>
                    <a:pt x="288" y="106295"/>
                  </a:lnTo>
                  <a:lnTo>
                    <a:pt x="288" y="101138"/>
                  </a:lnTo>
                  <a:lnTo>
                    <a:pt x="0" y="95694"/>
                  </a:lnTo>
                  <a:lnTo>
                    <a:pt x="0" y="93116"/>
                  </a:lnTo>
                  <a:lnTo>
                    <a:pt x="1152" y="92256"/>
                  </a:lnTo>
                  <a:lnTo>
                    <a:pt x="3458" y="92256"/>
                  </a:lnTo>
                  <a:lnTo>
                    <a:pt x="8646" y="92543"/>
                  </a:lnTo>
                  <a:lnTo>
                    <a:pt x="13545" y="92256"/>
                  </a:lnTo>
                  <a:lnTo>
                    <a:pt x="18445" y="92256"/>
                  </a:lnTo>
                  <a:lnTo>
                    <a:pt x="20750" y="92543"/>
                  </a:lnTo>
                  <a:lnTo>
                    <a:pt x="21903" y="91683"/>
                  </a:lnTo>
                  <a:lnTo>
                    <a:pt x="21903" y="89104"/>
                  </a:lnTo>
                  <a:lnTo>
                    <a:pt x="21764" y="76377"/>
                  </a:lnTo>
                  <a:lnTo>
                    <a:pt x="21695" y="63692"/>
                  </a:lnTo>
                  <a:lnTo>
                    <a:pt x="21696" y="51020"/>
                  </a:lnTo>
                  <a:lnTo>
                    <a:pt x="21766" y="38334"/>
                  </a:lnTo>
                  <a:lnTo>
                    <a:pt x="21903" y="25785"/>
                  </a:lnTo>
                  <a:lnTo>
                    <a:pt x="21903" y="23207"/>
                  </a:lnTo>
                  <a:lnTo>
                    <a:pt x="20750" y="22347"/>
                  </a:lnTo>
                  <a:lnTo>
                    <a:pt x="18445" y="22347"/>
                  </a:lnTo>
                  <a:lnTo>
                    <a:pt x="13257" y="22634"/>
                  </a:lnTo>
                  <a:lnTo>
                    <a:pt x="8069" y="22347"/>
                  </a:lnTo>
                  <a:lnTo>
                    <a:pt x="3170" y="22634"/>
                  </a:lnTo>
                  <a:lnTo>
                    <a:pt x="864" y="22634"/>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00" name="Google Shape;2300;p25"/>
            <p:cNvSpPr/>
            <p:nvPr/>
          </p:nvSpPr>
          <p:spPr>
            <a:xfrm>
              <a:off x="627912" y="7187388"/>
              <a:ext cx="14982" cy="31637"/>
            </a:xfrm>
            <a:custGeom>
              <a:avLst/>
              <a:gdLst/>
              <a:ahLst/>
              <a:cxnLst/>
              <a:rect l="l" t="t" r="r" b="b"/>
              <a:pathLst>
                <a:path w="14982" h="31637" extrusionOk="0">
                  <a:moveTo>
                    <a:pt x="3457" y="8997"/>
                  </a:moveTo>
                  <a:lnTo>
                    <a:pt x="5186" y="11319"/>
                  </a:lnTo>
                  <a:lnTo>
                    <a:pt x="8643" y="16834"/>
                  </a:lnTo>
                  <a:lnTo>
                    <a:pt x="14982" y="31637"/>
                  </a:lnTo>
                  <a:lnTo>
                    <a:pt x="6757" y="22018"/>
                  </a:lnTo>
                  <a:lnTo>
                    <a:pt x="37" y="11102"/>
                  </a:lnTo>
                  <a:lnTo>
                    <a:pt x="0" y="0"/>
                  </a:lnTo>
                  <a:lnTo>
                    <a:pt x="864" y="2322"/>
                  </a:lnTo>
                  <a:lnTo>
                    <a:pt x="1440" y="4063"/>
                  </a:lnTo>
                  <a:lnTo>
                    <a:pt x="2304" y="4353"/>
                  </a:lnTo>
                  <a:lnTo>
                    <a:pt x="4033" y="4063"/>
                  </a:lnTo>
                  <a:lnTo>
                    <a:pt x="3745" y="8127"/>
                  </a:lnTo>
                  <a:lnTo>
                    <a:pt x="3457" y="8997"/>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01" name="Google Shape;2301;p25"/>
            <p:cNvSpPr/>
            <p:nvPr/>
          </p:nvSpPr>
          <p:spPr>
            <a:xfrm>
              <a:off x="665655" y="7181003"/>
              <a:ext cx="105740" cy="50676"/>
            </a:xfrm>
            <a:custGeom>
              <a:avLst/>
              <a:gdLst/>
              <a:ahLst/>
              <a:cxnLst/>
              <a:rect l="l" t="t" r="r" b="b"/>
              <a:pathLst>
                <a:path w="105740" h="50676" extrusionOk="0">
                  <a:moveTo>
                    <a:pt x="89858" y="20691"/>
                  </a:moveTo>
                  <a:lnTo>
                    <a:pt x="88453" y="22059"/>
                  </a:lnTo>
                  <a:lnTo>
                    <a:pt x="78649" y="30949"/>
                  </a:lnTo>
                  <a:lnTo>
                    <a:pt x="68263" y="38702"/>
                  </a:lnTo>
                  <a:lnTo>
                    <a:pt x="57299" y="45287"/>
                  </a:lnTo>
                  <a:lnTo>
                    <a:pt x="45765" y="50676"/>
                  </a:lnTo>
                  <a:lnTo>
                    <a:pt x="36879" y="49052"/>
                  </a:lnTo>
                  <a:lnTo>
                    <a:pt x="40913" y="47311"/>
                  </a:lnTo>
                  <a:lnTo>
                    <a:pt x="46675" y="44989"/>
                  </a:lnTo>
                  <a:lnTo>
                    <a:pt x="52149" y="42667"/>
                  </a:lnTo>
                  <a:lnTo>
                    <a:pt x="57336" y="39764"/>
                  </a:lnTo>
                  <a:lnTo>
                    <a:pt x="61657" y="37732"/>
                  </a:lnTo>
                  <a:lnTo>
                    <a:pt x="65691" y="34830"/>
                  </a:lnTo>
                  <a:lnTo>
                    <a:pt x="69725" y="32508"/>
                  </a:lnTo>
                  <a:lnTo>
                    <a:pt x="69725" y="31347"/>
                  </a:lnTo>
                  <a:lnTo>
                    <a:pt x="67132" y="29605"/>
                  </a:lnTo>
                  <a:lnTo>
                    <a:pt x="64250" y="28154"/>
                  </a:lnTo>
                  <a:lnTo>
                    <a:pt x="61369" y="26413"/>
                  </a:lnTo>
                  <a:lnTo>
                    <a:pt x="59352" y="24961"/>
                  </a:lnTo>
                  <a:lnTo>
                    <a:pt x="58200" y="25542"/>
                  </a:lnTo>
                  <a:lnTo>
                    <a:pt x="56471" y="26993"/>
                  </a:lnTo>
                  <a:lnTo>
                    <a:pt x="50421" y="32218"/>
                  </a:lnTo>
                  <a:lnTo>
                    <a:pt x="44082" y="36862"/>
                  </a:lnTo>
                  <a:lnTo>
                    <a:pt x="37743" y="41796"/>
                  </a:lnTo>
                  <a:lnTo>
                    <a:pt x="36303" y="42957"/>
                  </a:lnTo>
                  <a:lnTo>
                    <a:pt x="34862" y="43538"/>
                  </a:lnTo>
                  <a:lnTo>
                    <a:pt x="33422" y="44408"/>
                  </a:lnTo>
                  <a:lnTo>
                    <a:pt x="31693" y="49923"/>
                  </a:lnTo>
                  <a:lnTo>
                    <a:pt x="31693" y="49343"/>
                  </a:lnTo>
                  <a:lnTo>
                    <a:pt x="30828" y="48762"/>
                  </a:lnTo>
                  <a:lnTo>
                    <a:pt x="29964" y="47891"/>
                  </a:lnTo>
                  <a:lnTo>
                    <a:pt x="28812" y="47601"/>
                  </a:lnTo>
                  <a:lnTo>
                    <a:pt x="25354" y="46150"/>
                  </a:lnTo>
                  <a:lnTo>
                    <a:pt x="21897" y="44699"/>
                  </a:lnTo>
                  <a:lnTo>
                    <a:pt x="18439" y="43828"/>
                  </a:lnTo>
                  <a:lnTo>
                    <a:pt x="5873" y="41894"/>
                  </a:lnTo>
                  <a:lnTo>
                    <a:pt x="0" y="38603"/>
                  </a:lnTo>
                  <a:lnTo>
                    <a:pt x="0" y="36753"/>
                  </a:lnTo>
                  <a:lnTo>
                    <a:pt x="7779" y="37732"/>
                  </a:lnTo>
                  <a:lnTo>
                    <a:pt x="10372" y="38023"/>
                  </a:lnTo>
                  <a:lnTo>
                    <a:pt x="12965" y="37732"/>
                  </a:lnTo>
                  <a:lnTo>
                    <a:pt x="15270" y="35701"/>
                  </a:lnTo>
                  <a:lnTo>
                    <a:pt x="18439" y="38893"/>
                  </a:lnTo>
                  <a:lnTo>
                    <a:pt x="21032" y="39764"/>
                  </a:lnTo>
                  <a:lnTo>
                    <a:pt x="23337" y="40635"/>
                  </a:lnTo>
                  <a:lnTo>
                    <a:pt x="25642" y="41216"/>
                  </a:lnTo>
                  <a:lnTo>
                    <a:pt x="27083" y="41506"/>
                  </a:lnTo>
                  <a:lnTo>
                    <a:pt x="29388" y="41506"/>
                  </a:lnTo>
                  <a:lnTo>
                    <a:pt x="30828" y="40635"/>
                  </a:lnTo>
                  <a:lnTo>
                    <a:pt x="34862" y="38603"/>
                  </a:lnTo>
                  <a:lnTo>
                    <a:pt x="39184" y="35991"/>
                  </a:lnTo>
                  <a:lnTo>
                    <a:pt x="43218" y="33088"/>
                  </a:lnTo>
                  <a:lnTo>
                    <a:pt x="47251" y="30186"/>
                  </a:lnTo>
                  <a:lnTo>
                    <a:pt x="50709" y="26703"/>
                  </a:lnTo>
                  <a:lnTo>
                    <a:pt x="54742" y="23220"/>
                  </a:lnTo>
                  <a:lnTo>
                    <a:pt x="53302" y="22349"/>
                  </a:lnTo>
                  <a:lnTo>
                    <a:pt x="52726" y="22059"/>
                  </a:lnTo>
                  <a:lnTo>
                    <a:pt x="51861" y="21769"/>
                  </a:lnTo>
                  <a:lnTo>
                    <a:pt x="47251" y="20027"/>
                  </a:lnTo>
                  <a:lnTo>
                    <a:pt x="42353" y="18285"/>
                  </a:lnTo>
                  <a:lnTo>
                    <a:pt x="37455" y="16544"/>
                  </a:lnTo>
                  <a:lnTo>
                    <a:pt x="35438" y="15673"/>
                  </a:lnTo>
                  <a:lnTo>
                    <a:pt x="34286" y="16544"/>
                  </a:lnTo>
                  <a:lnTo>
                    <a:pt x="33133" y="18285"/>
                  </a:lnTo>
                  <a:lnTo>
                    <a:pt x="32557" y="10158"/>
                  </a:lnTo>
                  <a:lnTo>
                    <a:pt x="33133" y="8127"/>
                  </a:lnTo>
                  <a:lnTo>
                    <a:pt x="33710" y="6385"/>
                  </a:lnTo>
                  <a:lnTo>
                    <a:pt x="34574" y="4644"/>
                  </a:lnTo>
                  <a:lnTo>
                    <a:pt x="35438" y="2902"/>
                  </a:lnTo>
                  <a:lnTo>
                    <a:pt x="36303" y="290"/>
                  </a:lnTo>
                  <a:lnTo>
                    <a:pt x="38031" y="0"/>
                  </a:lnTo>
                  <a:lnTo>
                    <a:pt x="40625" y="870"/>
                  </a:lnTo>
                  <a:lnTo>
                    <a:pt x="39472" y="3483"/>
                  </a:lnTo>
                  <a:lnTo>
                    <a:pt x="38608" y="6095"/>
                  </a:lnTo>
                  <a:lnTo>
                    <a:pt x="37743" y="8417"/>
                  </a:lnTo>
                  <a:lnTo>
                    <a:pt x="36303" y="11900"/>
                  </a:lnTo>
                  <a:lnTo>
                    <a:pt x="36591" y="11610"/>
                  </a:lnTo>
                  <a:lnTo>
                    <a:pt x="39760" y="12771"/>
                  </a:lnTo>
                  <a:lnTo>
                    <a:pt x="44658" y="14512"/>
                  </a:lnTo>
                  <a:lnTo>
                    <a:pt x="49844" y="16254"/>
                  </a:lnTo>
                  <a:lnTo>
                    <a:pt x="54454" y="18285"/>
                  </a:lnTo>
                  <a:lnTo>
                    <a:pt x="57047" y="19446"/>
                  </a:lnTo>
                  <a:lnTo>
                    <a:pt x="58776" y="18866"/>
                  </a:lnTo>
                  <a:lnTo>
                    <a:pt x="60217" y="16834"/>
                  </a:lnTo>
                  <a:lnTo>
                    <a:pt x="63386" y="12190"/>
                  </a:lnTo>
                  <a:lnTo>
                    <a:pt x="66555" y="7836"/>
                  </a:lnTo>
                  <a:lnTo>
                    <a:pt x="69725" y="2902"/>
                  </a:lnTo>
                  <a:lnTo>
                    <a:pt x="71165" y="580"/>
                  </a:lnTo>
                  <a:lnTo>
                    <a:pt x="72894" y="0"/>
                  </a:lnTo>
                  <a:lnTo>
                    <a:pt x="76063" y="870"/>
                  </a:lnTo>
                  <a:lnTo>
                    <a:pt x="73758" y="4644"/>
                  </a:lnTo>
                  <a:lnTo>
                    <a:pt x="71742" y="8127"/>
                  </a:lnTo>
                  <a:lnTo>
                    <a:pt x="69437" y="11319"/>
                  </a:lnTo>
                  <a:lnTo>
                    <a:pt x="67132" y="14802"/>
                  </a:lnTo>
                  <a:lnTo>
                    <a:pt x="64539" y="17995"/>
                  </a:lnTo>
                  <a:lnTo>
                    <a:pt x="61945" y="21478"/>
                  </a:lnTo>
                  <a:lnTo>
                    <a:pt x="65979" y="23800"/>
                  </a:lnTo>
                  <a:lnTo>
                    <a:pt x="69437" y="26122"/>
                  </a:lnTo>
                  <a:lnTo>
                    <a:pt x="73182" y="28154"/>
                  </a:lnTo>
                  <a:lnTo>
                    <a:pt x="73758" y="28444"/>
                  </a:lnTo>
                  <a:lnTo>
                    <a:pt x="75487" y="27864"/>
                  </a:lnTo>
                  <a:lnTo>
                    <a:pt x="76352" y="26993"/>
                  </a:lnTo>
                  <a:lnTo>
                    <a:pt x="86001" y="18696"/>
                  </a:lnTo>
                  <a:lnTo>
                    <a:pt x="94478" y="9218"/>
                  </a:lnTo>
                  <a:lnTo>
                    <a:pt x="99113" y="2902"/>
                  </a:lnTo>
                  <a:lnTo>
                    <a:pt x="100842" y="580"/>
                  </a:lnTo>
                  <a:lnTo>
                    <a:pt x="102570" y="0"/>
                  </a:lnTo>
                  <a:lnTo>
                    <a:pt x="105740" y="870"/>
                  </a:lnTo>
                  <a:lnTo>
                    <a:pt x="98471" y="11371"/>
                  </a:lnTo>
                  <a:lnTo>
                    <a:pt x="89858" y="20691"/>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02" name="Google Shape;2302;p25"/>
            <p:cNvSpPr/>
            <p:nvPr/>
          </p:nvSpPr>
          <p:spPr>
            <a:xfrm>
              <a:off x="556458" y="7181003"/>
              <a:ext cx="154962" cy="59703"/>
            </a:xfrm>
            <a:custGeom>
              <a:avLst/>
              <a:gdLst/>
              <a:ahLst/>
              <a:cxnLst/>
              <a:rect l="l" t="t" r="r" b="b"/>
              <a:pathLst>
                <a:path w="154962" h="59703" extrusionOk="0">
                  <a:moveTo>
                    <a:pt x="142862" y="54837"/>
                  </a:moveTo>
                  <a:lnTo>
                    <a:pt x="130203" y="57742"/>
                  </a:lnTo>
                  <a:lnTo>
                    <a:pt x="121875" y="58921"/>
                  </a:lnTo>
                  <a:lnTo>
                    <a:pt x="105828" y="59703"/>
                  </a:lnTo>
                  <a:lnTo>
                    <a:pt x="90748" y="58721"/>
                  </a:lnTo>
                  <a:lnTo>
                    <a:pt x="76648" y="56164"/>
                  </a:lnTo>
                  <a:lnTo>
                    <a:pt x="69725" y="48472"/>
                  </a:lnTo>
                  <a:lnTo>
                    <a:pt x="72030" y="44408"/>
                  </a:lnTo>
                  <a:lnTo>
                    <a:pt x="61142" y="37670"/>
                  </a:lnTo>
                  <a:lnTo>
                    <a:pt x="51259" y="29693"/>
                  </a:lnTo>
                  <a:lnTo>
                    <a:pt x="47539" y="26413"/>
                  </a:lnTo>
                  <a:lnTo>
                    <a:pt x="46963" y="25832"/>
                  </a:lnTo>
                  <a:lnTo>
                    <a:pt x="45523" y="25832"/>
                  </a:lnTo>
                  <a:lnTo>
                    <a:pt x="44658" y="26122"/>
                  </a:lnTo>
                  <a:lnTo>
                    <a:pt x="42353" y="27283"/>
                  </a:lnTo>
                  <a:lnTo>
                    <a:pt x="40048" y="28735"/>
                  </a:lnTo>
                  <a:lnTo>
                    <a:pt x="37743" y="30186"/>
                  </a:lnTo>
                  <a:lnTo>
                    <a:pt x="35150" y="31637"/>
                  </a:lnTo>
                  <a:lnTo>
                    <a:pt x="35150" y="32508"/>
                  </a:lnTo>
                  <a:lnTo>
                    <a:pt x="37743" y="33669"/>
                  </a:lnTo>
                  <a:lnTo>
                    <a:pt x="48972" y="39698"/>
                  </a:lnTo>
                  <a:lnTo>
                    <a:pt x="60240" y="45536"/>
                  </a:lnTo>
                  <a:lnTo>
                    <a:pt x="63538" y="52223"/>
                  </a:lnTo>
                  <a:lnTo>
                    <a:pt x="51430" y="47089"/>
                  </a:lnTo>
                  <a:lnTo>
                    <a:pt x="40336" y="40952"/>
                  </a:lnTo>
                  <a:lnTo>
                    <a:pt x="30266" y="34002"/>
                  </a:lnTo>
                  <a:lnTo>
                    <a:pt x="21232" y="26430"/>
                  </a:lnTo>
                  <a:lnTo>
                    <a:pt x="13246" y="18426"/>
                  </a:lnTo>
                  <a:lnTo>
                    <a:pt x="6318" y="10181"/>
                  </a:lnTo>
                  <a:lnTo>
                    <a:pt x="461" y="1884"/>
                  </a:lnTo>
                  <a:lnTo>
                    <a:pt x="0" y="1160"/>
                  </a:lnTo>
                  <a:lnTo>
                    <a:pt x="2016" y="0"/>
                  </a:lnTo>
                  <a:lnTo>
                    <a:pt x="3745" y="0"/>
                  </a:lnTo>
                  <a:lnTo>
                    <a:pt x="5186" y="2031"/>
                  </a:lnTo>
                  <a:lnTo>
                    <a:pt x="9219" y="6966"/>
                  </a:lnTo>
                  <a:lnTo>
                    <a:pt x="13253" y="12190"/>
                  </a:lnTo>
                  <a:lnTo>
                    <a:pt x="17575" y="16834"/>
                  </a:lnTo>
                  <a:lnTo>
                    <a:pt x="21608" y="20898"/>
                  </a:lnTo>
                  <a:lnTo>
                    <a:pt x="25930" y="24381"/>
                  </a:lnTo>
                  <a:lnTo>
                    <a:pt x="30252" y="28154"/>
                  </a:lnTo>
                  <a:lnTo>
                    <a:pt x="30828" y="28735"/>
                  </a:lnTo>
                  <a:lnTo>
                    <a:pt x="32269" y="28444"/>
                  </a:lnTo>
                  <a:lnTo>
                    <a:pt x="33133" y="27864"/>
                  </a:lnTo>
                  <a:lnTo>
                    <a:pt x="35726" y="26703"/>
                  </a:lnTo>
                  <a:lnTo>
                    <a:pt x="38031" y="24961"/>
                  </a:lnTo>
                  <a:lnTo>
                    <a:pt x="40625" y="23510"/>
                  </a:lnTo>
                  <a:lnTo>
                    <a:pt x="43218" y="21769"/>
                  </a:lnTo>
                  <a:lnTo>
                    <a:pt x="43218" y="21478"/>
                  </a:lnTo>
                  <a:lnTo>
                    <a:pt x="41489" y="19156"/>
                  </a:lnTo>
                  <a:lnTo>
                    <a:pt x="38031" y="13932"/>
                  </a:lnTo>
                  <a:lnTo>
                    <a:pt x="34574" y="8707"/>
                  </a:lnTo>
                  <a:lnTo>
                    <a:pt x="30828" y="3773"/>
                  </a:lnTo>
                  <a:lnTo>
                    <a:pt x="30540" y="2902"/>
                  </a:lnTo>
                  <a:lnTo>
                    <a:pt x="30252" y="2031"/>
                  </a:lnTo>
                  <a:lnTo>
                    <a:pt x="29676" y="870"/>
                  </a:lnTo>
                  <a:lnTo>
                    <a:pt x="32269" y="0"/>
                  </a:lnTo>
                  <a:lnTo>
                    <a:pt x="33998" y="580"/>
                  </a:lnTo>
                  <a:lnTo>
                    <a:pt x="35438" y="2612"/>
                  </a:lnTo>
                  <a:lnTo>
                    <a:pt x="38608" y="7546"/>
                  </a:lnTo>
                  <a:lnTo>
                    <a:pt x="42065" y="12190"/>
                  </a:lnTo>
                  <a:lnTo>
                    <a:pt x="45234" y="17124"/>
                  </a:lnTo>
                  <a:lnTo>
                    <a:pt x="46675" y="19156"/>
                  </a:lnTo>
                  <a:lnTo>
                    <a:pt x="48116" y="19446"/>
                  </a:lnTo>
                  <a:lnTo>
                    <a:pt x="50709" y="18576"/>
                  </a:lnTo>
                  <a:lnTo>
                    <a:pt x="55895" y="16254"/>
                  </a:lnTo>
                  <a:lnTo>
                    <a:pt x="61081" y="14512"/>
                  </a:lnTo>
                  <a:lnTo>
                    <a:pt x="66267" y="12771"/>
                  </a:lnTo>
                  <a:lnTo>
                    <a:pt x="68284" y="12190"/>
                  </a:lnTo>
                  <a:lnTo>
                    <a:pt x="68572" y="11319"/>
                  </a:lnTo>
                  <a:lnTo>
                    <a:pt x="67996" y="9288"/>
                  </a:lnTo>
                  <a:lnTo>
                    <a:pt x="67132" y="7546"/>
                  </a:lnTo>
                  <a:lnTo>
                    <a:pt x="66267" y="5514"/>
                  </a:lnTo>
                  <a:lnTo>
                    <a:pt x="65691" y="3773"/>
                  </a:lnTo>
                  <a:lnTo>
                    <a:pt x="65403" y="2612"/>
                  </a:lnTo>
                  <a:lnTo>
                    <a:pt x="65403" y="870"/>
                  </a:lnTo>
                  <a:lnTo>
                    <a:pt x="65979" y="580"/>
                  </a:lnTo>
                  <a:lnTo>
                    <a:pt x="67420" y="0"/>
                  </a:lnTo>
                  <a:lnTo>
                    <a:pt x="68860" y="290"/>
                  </a:lnTo>
                  <a:lnTo>
                    <a:pt x="69725" y="2031"/>
                  </a:lnTo>
                  <a:lnTo>
                    <a:pt x="70301" y="4353"/>
                  </a:lnTo>
                  <a:lnTo>
                    <a:pt x="71453" y="6385"/>
                  </a:lnTo>
                  <a:lnTo>
                    <a:pt x="71453" y="17415"/>
                  </a:lnTo>
                  <a:lnTo>
                    <a:pt x="71165" y="16834"/>
                  </a:lnTo>
                  <a:lnTo>
                    <a:pt x="69437" y="16254"/>
                  </a:lnTo>
                  <a:lnTo>
                    <a:pt x="68572" y="16544"/>
                  </a:lnTo>
                  <a:lnTo>
                    <a:pt x="64250" y="17705"/>
                  </a:lnTo>
                  <a:lnTo>
                    <a:pt x="60217" y="19446"/>
                  </a:lnTo>
                  <a:lnTo>
                    <a:pt x="55895" y="20898"/>
                  </a:lnTo>
                  <a:lnTo>
                    <a:pt x="54454" y="21478"/>
                  </a:lnTo>
                  <a:lnTo>
                    <a:pt x="52726" y="22059"/>
                  </a:lnTo>
                  <a:lnTo>
                    <a:pt x="50709" y="22930"/>
                  </a:lnTo>
                  <a:lnTo>
                    <a:pt x="52437" y="24671"/>
                  </a:lnTo>
                  <a:lnTo>
                    <a:pt x="53302" y="26122"/>
                  </a:lnTo>
                  <a:lnTo>
                    <a:pt x="54454" y="26993"/>
                  </a:lnTo>
                  <a:lnTo>
                    <a:pt x="60217" y="31057"/>
                  </a:lnTo>
                  <a:lnTo>
                    <a:pt x="65979" y="35120"/>
                  </a:lnTo>
                  <a:lnTo>
                    <a:pt x="71453" y="39474"/>
                  </a:lnTo>
                  <a:lnTo>
                    <a:pt x="76928" y="43538"/>
                  </a:lnTo>
                  <a:lnTo>
                    <a:pt x="81538" y="40345"/>
                  </a:lnTo>
                  <a:lnTo>
                    <a:pt x="86724" y="38893"/>
                  </a:lnTo>
                  <a:lnTo>
                    <a:pt x="86436" y="38313"/>
                  </a:lnTo>
                  <a:lnTo>
                    <a:pt x="86436" y="38023"/>
                  </a:lnTo>
                  <a:lnTo>
                    <a:pt x="80097" y="23220"/>
                  </a:lnTo>
                  <a:lnTo>
                    <a:pt x="83843" y="28444"/>
                  </a:lnTo>
                  <a:lnTo>
                    <a:pt x="87876" y="33379"/>
                  </a:lnTo>
                  <a:lnTo>
                    <a:pt x="89893" y="35701"/>
                  </a:lnTo>
                  <a:lnTo>
                    <a:pt x="92198" y="39184"/>
                  </a:lnTo>
                  <a:lnTo>
                    <a:pt x="95367" y="38023"/>
                  </a:lnTo>
                  <a:lnTo>
                    <a:pt x="98537" y="37732"/>
                  </a:lnTo>
                  <a:lnTo>
                    <a:pt x="100842" y="37442"/>
                  </a:lnTo>
                  <a:lnTo>
                    <a:pt x="103147" y="37152"/>
                  </a:lnTo>
                  <a:lnTo>
                    <a:pt x="103723" y="36862"/>
                  </a:lnTo>
                  <a:lnTo>
                    <a:pt x="105164" y="35991"/>
                  </a:lnTo>
                  <a:lnTo>
                    <a:pt x="105164" y="12480"/>
                  </a:lnTo>
                  <a:lnTo>
                    <a:pt x="103723" y="11319"/>
                  </a:lnTo>
                  <a:lnTo>
                    <a:pt x="103147" y="11319"/>
                  </a:lnTo>
                  <a:lnTo>
                    <a:pt x="94791" y="12190"/>
                  </a:lnTo>
                  <a:lnTo>
                    <a:pt x="86436" y="13061"/>
                  </a:lnTo>
                  <a:lnTo>
                    <a:pt x="78368" y="14222"/>
                  </a:lnTo>
                  <a:lnTo>
                    <a:pt x="75199" y="14512"/>
                  </a:lnTo>
                  <a:lnTo>
                    <a:pt x="75487" y="10449"/>
                  </a:lnTo>
                  <a:lnTo>
                    <a:pt x="88098" y="8840"/>
                  </a:lnTo>
                  <a:lnTo>
                    <a:pt x="100709" y="7412"/>
                  </a:lnTo>
                  <a:lnTo>
                    <a:pt x="102282" y="7256"/>
                  </a:lnTo>
                  <a:lnTo>
                    <a:pt x="104587" y="6966"/>
                  </a:lnTo>
                  <a:lnTo>
                    <a:pt x="105452" y="6095"/>
                  </a:lnTo>
                  <a:lnTo>
                    <a:pt x="105164" y="4063"/>
                  </a:lnTo>
                  <a:lnTo>
                    <a:pt x="105164" y="2612"/>
                  </a:lnTo>
                  <a:lnTo>
                    <a:pt x="105740" y="2031"/>
                  </a:lnTo>
                  <a:lnTo>
                    <a:pt x="106604" y="1160"/>
                  </a:lnTo>
                  <a:lnTo>
                    <a:pt x="107180" y="580"/>
                  </a:lnTo>
                  <a:lnTo>
                    <a:pt x="107757" y="1160"/>
                  </a:lnTo>
                  <a:lnTo>
                    <a:pt x="108909" y="1741"/>
                  </a:lnTo>
                  <a:lnTo>
                    <a:pt x="108909" y="2612"/>
                  </a:lnTo>
                  <a:lnTo>
                    <a:pt x="109773" y="6966"/>
                  </a:lnTo>
                  <a:lnTo>
                    <a:pt x="109773" y="6675"/>
                  </a:lnTo>
                  <a:lnTo>
                    <a:pt x="114095" y="7256"/>
                  </a:lnTo>
                  <a:lnTo>
                    <a:pt x="122451" y="7836"/>
                  </a:lnTo>
                  <a:lnTo>
                    <a:pt x="130518" y="8997"/>
                  </a:lnTo>
                  <a:lnTo>
                    <a:pt x="138586" y="10158"/>
                  </a:lnTo>
                  <a:lnTo>
                    <a:pt x="140602" y="10449"/>
                  </a:lnTo>
                  <a:lnTo>
                    <a:pt x="141755" y="10158"/>
                  </a:lnTo>
                  <a:lnTo>
                    <a:pt x="142331" y="18285"/>
                  </a:lnTo>
                  <a:lnTo>
                    <a:pt x="138586" y="25252"/>
                  </a:lnTo>
                  <a:lnTo>
                    <a:pt x="134552" y="31927"/>
                  </a:lnTo>
                  <a:lnTo>
                    <a:pt x="128789" y="37152"/>
                  </a:lnTo>
                  <a:lnTo>
                    <a:pt x="128501" y="37442"/>
                  </a:lnTo>
                  <a:lnTo>
                    <a:pt x="128213" y="38313"/>
                  </a:lnTo>
                  <a:lnTo>
                    <a:pt x="127637" y="38893"/>
                  </a:lnTo>
                  <a:lnTo>
                    <a:pt x="124468" y="35701"/>
                  </a:lnTo>
                  <a:lnTo>
                    <a:pt x="129942" y="30766"/>
                  </a:lnTo>
                  <a:lnTo>
                    <a:pt x="134264" y="24671"/>
                  </a:lnTo>
                  <a:lnTo>
                    <a:pt x="137721" y="17995"/>
                  </a:lnTo>
                  <a:lnTo>
                    <a:pt x="139450" y="14802"/>
                  </a:lnTo>
                  <a:lnTo>
                    <a:pt x="139162" y="14512"/>
                  </a:lnTo>
                  <a:lnTo>
                    <a:pt x="135992" y="13932"/>
                  </a:lnTo>
                  <a:lnTo>
                    <a:pt x="127637" y="13061"/>
                  </a:lnTo>
                  <a:lnTo>
                    <a:pt x="119570" y="12190"/>
                  </a:lnTo>
                  <a:lnTo>
                    <a:pt x="111214" y="11029"/>
                  </a:lnTo>
                  <a:lnTo>
                    <a:pt x="109485" y="11029"/>
                  </a:lnTo>
                  <a:lnTo>
                    <a:pt x="109197" y="12190"/>
                  </a:lnTo>
                  <a:lnTo>
                    <a:pt x="109197" y="36753"/>
                  </a:lnTo>
                  <a:lnTo>
                    <a:pt x="107757" y="36572"/>
                  </a:lnTo>
                  <a:lnTo>
                    <a:pt x="109197" y="38603"/>
                  </a:lnTo>
                  <a:lnTo>
                    <a:pt x="115071" y="41894"/>
                  </a:lnTo>
                  <a:lnTo>
                    <a:pt x="102450" y="41749"/>
                  </a:lnTo>
                  <a:lnTo>
                    <a:pt x="96232" y="42377"/>
                  </a:lnTo>
                  <a:lnTo>
                    <a:pt x="89029" y="42957"/>
                  </a:lnTo>
                  <a:lnTo>
                    <a:pt x="82402" y="44408"/>
                  </a:lnTo>
                  <a:lnTo>
                    <a:pt x="76063" y="47601"/>
                  </a:lnTo>
                  <a:lnTo>
                    <a:pt x="74911" y="48182"/>
                  </a:lnTo>
                  <a:lnTo>
                    <a:pt x="74335" y="49052"/>
                  </a:lnTo>
                  <a:lnTo>
                    <a:pt x="73470" y="49633"/>
                  </a:lnTo>
                  <a:lnTo>
                    <a:pt x="73470" y="50213"/>
                  </a:lnTo>
                  <a:lnTo>
                    <a:pt x="73758" y="50504"/>
                  </a:lnTo>
                  <a:lnTo>
                    <a:pt x="86225" y="53283"/>
                  </a:lnTo>
                  <a:lnTo>
                    <a:pt x="98729" y="54784"/>
                  </a:lnTo>
                  <a:lnTo>
                    <a:pt x="111249" y="55008"/>
                  </a:lnTo>
                  <a:lnTo>
                    <a:pt x="123761" y="53954"/>
                  </a:lnTo>
                  <a:lnTo>
                    <a:pt x="136243" y="51622"/>
                  </a:lnTo>
                  <a:lnTo>
                    <a:pt x="140602" y="50504"/>
                  </a:lnTo>
                  <a:lnTo>
                    <a:pt x="140602" y="50213"/>
                  </a:lnTo>
                  <a:lnTo>
                    <a:pt x="140890" y="49923"/>
                  </a:lnTo>
                  <a:lnTo>
                    <a:pt x="142619" y="44408"/>
                  </a:lnTo>
                  <a:lnTo>
                    <a:pt x="145789" y="48762"/>
                  </a:lnTo>
                  <a:lnTo>
                    <a:pt x="146077" y="49052"/>
                  </a:lnTo>
                  <a:lnTo>
                    <a:pt x="154962" y="50676"/>
                  </a:lnTo>
                  <a:lnTo>
                    <a:pt x="142862" y="54837"/>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03" name="Google Shape;2303;p25"/>
            <p:cNvSpPr/>
            <p:nvPr/>
          </p:nvSpPr>
          <p:spPr>
            <a:xfrm>
              <a:off x="616698" y="7226540"/>
              <a:ext cx="16407" cy="10627"/>
            </a:xfrm>
            <a:custGeom>
              <a:avLst/>
              <a:gdLst/>
              <a:ahLst/>
              <a:cxnLst/>
              <a:rect l="l" t="t" r="r" b="b"/>
              <a:pathLst>
                <a:path w="16407" h="10627" extrusionOk="0">
                  <a:moveTo>
                    <a:pt x="0" y="0"/>
                  </a:moveTo>
                  <a:lnTo>
                    <a:pt x="2857" y="1484"/>
                  </a:lnTo>
                  <a:lnTo>
                    <a:pt x="6603" y="3515"/>
                  </a:lnTo>
                  <a:lnTo>
                    <a:pt x="9484" y="2935"/>
                  </a:lnTo>
                  <a:lnTo>
                    <a:pt x="16407" y="10627"/>
                  </a:lnTo>
                  <a:lnTo>
                    <a:pt x="3298" y="6686"/>
                  </a:lnTo>
                  <a:lnTo>
                    <a:pt x="0"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04" name="Google Shape;2304;p25"/>
            <p:cNvSpPr/>
            <p:nvPr/>
          </p:nvSpPr>
          <p:spPr>
            <a:xfrm>
              <a:off x="708005" y="6993576"/>
              <a:ext cx="32987" cy="15502"/>
            </a:xfrm>
            <a:custGeom>
              <a:avLst/>
              <a:gdLst/>
              <a:ahLst/>
              <a:cxnLst/>
              <a:rect l="l" t="t" r="r" b="b"/>
              <a:pathLst>
                <a:path w="32987" h="15502" extrusionOk="0">
                  <a:moveTo>
                    <a:pt x="27948" y="15502"/>
                  </a:moveTo>
                  <a:lnTo>
                    <a:pt x="27948" y="14631"/>
                  </a:lnTo>
                  <a:lnTo>
                    <a:pt x="25643" y="13470"/>
                  </a:lnTo>
                  <a:lnTo>
                    <a:pt x="14369" y="7493"/>
                  </a:lnTo>
                  <a:lnTo>
                    <a:pt x="3137" y="1705"/>
                  </a:lnTo>
                  <a:lnTo>
                    <a:pt x="0" y="118"/>
                  </a:lnTo>
                  <a:lnTo>
                    <a:pt x="11804" y="0"/>
                  </a:lnTo>
                  <a:lnTo>
                    <a:pt x="22909" y="6117"/>
                  </a:lnTo>
                  <a:lnTo>
                    <a:pt x="32987" y="13046"/>
                  </a:lnTo>
                  <a:lnTo>
                    <a:pt x="27948" y="1550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05" name="Google Shape;2305;p25"/>
            <p:cNvSpPr/>
            <p:nvPr/>
          </p:nvSpPr>
          <p:spPr>
            <a:xfrm>
              <a:off x="607161" y="6992824"/>
              <a:ext cx="88166" cy="47601"/>
            </a:xfrm>
            <a:custGeom>
              <a:avLst/>
              <a:gdLst/>
              <a:ahLst/>
              <a:cxnLst/>
              <a:rect l="l" t="t" r="r" b="b"/>
              <a:pathLst>
                <a:path w="88166" h="47601" extrusionOk="0">
                  <a:moveTo>
                    <a:pt x="5186" y="31637"/>
                  </a:moveTo>
                  <a:lnTo>
                    <a:pt x="288" y="29606"/>
                  </a:lnTo>
                  <a:lnTo>
                    <a:pt x="0" y="24671"/>
                  </a:lnTo>
                  <a:lnTo>
                    <a:pt x="1440" y="25542"/>
                  </a:lnTo>
                  <a:lnTo>
                    <a:pt x="2016" y="25832"/>
                  </a:lnTo>
                  <a:lnTo>
                    <a:pt x="2881" y="26122"/>
                  </a:lnTo>
                  <a:lnTo>
                    <a:pt x="17575" y="31347"/>
                  </a:lnTo>
                  <a:lnTo>
                    <a:pt x="19592" y="32218"/>
                  </a:lnTo>
                  <a:lnTo>
                    <a:pt x="20456" y="31347"/>
                  </a:lnTo>
                  <a:lnTo>
                    <a:pt x="21609" y="29606"/>
                  </a:lnTo>
                  <a:lnTo>
                    <a:pt x="25354" y="22639"/>
                  </a:lnTo>
                  <a:lnTo>
                    <a:pt x="29388" y="15964"/>
                  </a:lnTo>
                  <a:lnTo>
                    <a:pt x="35151" y="10739"/>
                  </a:lnTo>
                  <a:lnTo>
                    <a:pt x="35727" y="10449"/>
                  </a:lnTo>
                  <a:lnTo>
                    <a:pt x="36015" y="9578"/>
                  </a:lnTo>
                  <a:lnTo>
                    <a:pt x="36591" y="8997"/>
                  </a:lnTo>
                  <a:lnTo>
                    <a:pt x="33998" y="8127"/>
                  </a:lnTo>
                  <a:lnTo>
                    <a:pt x="31693" y="7256"/>
                  </a:lnTo>
                  <a:lnTo>
                    <a:pt x="29388" y="6675"/>
                  </a:lnTo>
                  <a:lnTo>
                    <a:pt x="32846" y="3192"/>
                  </a:lnTo>
                  <a:lnTo>
                    <a:pt x="36303" y="4063"/>
                  </a:lnTo>
                  <a:lnTo>
                    <a:pt x="48899" y="5987"/>
                  </a:lnTo>
                  <a:lnTo>
                    <a:pt x="61439" y="6155"/>
                  </a:lnTo>
                  <a:lnTo>
                    <a:pt x="67997" y="5514"/>
                  </a:lnTo>
                  <a:lnTo>
                    <a:pt x="74912" y="4934"/>
                  </a:lnTo>
                  <a:lnTo>
                    <a:pt x="81827" y="3483"/>
                  </a:lnTo>
                  <a:lnTo>
                    <a:pt x="88166" y="0"/>
                  </a:lnTo>
                  <a:lnTo>
                    <a:pt x="87013" y="4353"/>
                  </a:lnTo>
                  <a:lnTo>
                    <a:pt x="82403" y="7256"/>
                  </a:lnTo>
                  <a:lnTo>
                    <a:pt x="77505" y="8997"/>
                  </a:lnTo>
                  <a:lnTo>
                    <a:pt x="77505" y="9578"/>
                  </a:lnTo>
                  <a:lnTo>
                    <a:pt x="80386" y="19156"/>
                  </a:lnTo>
                  <a:lnTo>
                    <a:pt x="76352" y="14222"/>
                  </a:lnTo>
                  <a:lnTo>
                    <a:pt x="74336" y="12190"/>
                  </a:lnTo>
                  <a:lnTo>
                    <a:pt x="72031" y="8707"/>
                  </a:lnTo>
                  <a:lnTo>
                    <a:pt x="68573" y="9868"/>
                  </a:lnTo>
                  <a:lnTo>
                    <a:pt x="65692" y="10158"/>
                  </a:lnTo>
                  <a:lnTo>
                    <a:pt x="63387" y="10449"/>
                  </a:lnTo>
                  <a:lnTo>
                    <a:pt x="61082" y="10739"/>
                  </a:lnTo>
                  <a:lnTo>
                    <a:pt x="60217" y="11029"/>
                  </a:lnTo>
                  <a:lnTo>
                    <a:pt x="59065" y="11900"/>
                  </a:lnTo>
                  <a:lnTo>
                    <a:pt x="59065" y="12771"/>
                  </a:lnTo>
                  <a:lnTo>
                    <a:pt x="58777" y="20027"/>
                  </a:lnTo>
                  <a:lnTo>
                    <a:pt x="58777" y="27284"/>
                  </a:lnTo>
                  <a:lnTo>
                    <a:pt x="59065" y="34540"/>
                  </a:lnTo>
                  <a:lnTo>
                    <a:pt x="59065" y="35411"/>
                  </a:lnTo>
                  <a:lnTo>
                    <a:pt x="60217" y="36572"/>
                  </a:lnTo>
                  <a:lnTo>
                    <a:pt x="59641" y="40926"/>
                  </a:lnTo>
                  <a:lnTo>
                    <a:pt x="58777" y="41506"/>
                  </a:lnTo>
                  <a:lnTo>
                    <a:pt x="58777" y="44118"/>
                  </a:lnTo>
                  <a:lnTo>
                    <a:pt x="59065" y="44699"/>
                  </a:lnTo>
                  <a:lnTo>
                    <a:pt x="58777" y="45279"/>
                  </a:lnTo>
                  <a:lnTo>
                    <a:pt x="58201" y="45860"/>
                  </a:lnTo>
                  <a:lnTo>
                    <a:pt x="57624" y="46731"/>
                  </a:lnTo>
                  <a:lnTo>
                    <a:pt x="57048" y="47311"/>
                  </a:lnTo>
                  <a:lnTo>
                    <a:pt x="56472" y="11319"/>
                  </a:lnTo>
                  <a:lnTo>
                    <a:pt x="54743" y="9288"/>
                  </a:lnTo>
                  <a:lnTo>
                    <a:pt x="54803" y="11109"/>
                  </a:lnTo>
                  <a:lnTo>
                    <a:pt x="47252" y="10158"/>
                  </a:lnTo>
                  <a:lnTo>
                    <a:pt x="44371" y="9868"/>
                  </a:lnTo>
                  <a:lnTo>
                    <a:pt x="42066" y="10158"/>
                  </a:lnTo>
                  <a:lnTo>
                    <a:pt x="39761" y="12190"/>
                  </a:lnTo>
                  <a:lnTo>
                    <a:pt x="33998" y="17125"/>
                  </a:lnTo>
                  <a:lnTo>
                    <a:pt x="29964" y="23220"/>
                  </a:lnTo>
                  <a:lnTo>
                    <a:pt x="26219" y="29896"/>
                  </a:lnTo>
                  <a:lnTo>
                    <a:pt x="24778" y="33089"/>
                  </a:lnTo>
                  <a:lnTo>
                    <a:pt x="24778" y="33379"/>
                  </a:lnTo>
                  <a:lnTo>
                    <a:pt x="28236" y="33959"/>
                  </a:lnTo>
                  <a:lnTo>
                    <a:pt x="36303" y="34830"/>
                  </a:lnTo>
                  <a:lnTo>
                    <a:pt x="44659" y="35701"/>
                  </a:lnTo>
                  <a:lnTo>
                    <a:pt x="52726" y="36572"/>
                  </a:lnTo>
                  <a:lnTo>
                    <a:pt x="54455" y="40926"/>
                  </a:lnTo>
                  <a:lnTo>
                    <a:pt x="54455" y="41216"/>
                  </a:lnTo>
                  <a:lnTo>
                    <a:pt x="50133" y="40635"/>
                  </a:lnTo>
                  <a:lnTo>
                    <a:pt x="41778" y="40055"/>
                  </a:lnTo>
                  <a:lnTo>
                    <a:pt x="33422" y="38894"/>
                  </a:lnTo>
                  <a:lnTo>
                    <a:pt x="25354" y="37733"/>
                  </a:lnTo>
                  <a:lnTo>
                    <a:pt x="23338" y="37152"/>
                  </a:lnTo>
                  <a:lnTo>
                    <a:pt x="22185" y="37733"/>
                  </a:lnTo>
                  <a:lnTo>
                    <a:pt x="21609" y="39765"/>
                  </a:lnTo>
                  <a:lnTo>
                    <a:pt x="21033" y="41506"/>
                  </a:lnTo>
                  <a:lnTo>
                    <a:pt x="20168" y="43248"/>
                  </a:lnTo>
                  <a:lnTo>
                    <a:pt x="19592" y="44989"/>
                  </a:lnTo>
                  <a:lnTo>
                    <a:pt x="18728" y="47601"/>
                  </a:lnTo>
                  <a:lnTo>
                    <a:pt x="18439" y="36281"/>
                  </a:lnTo>
                  <a:lnTo>
                    <a:pt x="18439" y="35991"/>
                  </a:lnTo>
                  <a:lnTo>
                    <a:pt x="18354" y="36250"/>
                  </a:lnTo>
                  <a:lnTo>
                    <a:pt x="15270" y="35120"/>
                  </a:lnTo>
                  <a:lnTo>
                    <a:pt x="10084" y="33379"/>
                  </a:lnTo>
                  <a:lnTo>
                    <a:pt x="5186" y="31637"/>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06" name="Google Shape;2306;p25"/>
            <p:cNvSpPr/>
            <p:nvPr/>
          </p:nvSpPr>
          <p:spPr>
            <a:xfrm>
              <a:off x="659888" y="7003934"/>
              <a:ext cx="4321" cy="36201"/>
            </a:xfrm>
            <a:custGeom>
              <a:avLst/>
              <a:gdLst/>
              <a:ahLst/>
              <a:cxnLst/>
              <a:rect l="l" t="t" r="r" b="b"/>
              <a:pathLst>
                <a:path w="4321" h="36201" extrusionOk="0">
                  <a:moveTo>
                    <a:pt x="2305" y="23140"/>
                  </a:moveTo>
                  <a:lnTo>
                    <a:pt x="2305" y="6885"/>
                  </a:lnTo>
                  <a:lnTo>
                    <a:pt x="2077" y="0"/>
                  </a:lnTo>
                  <a:lnTo>
                    <a:pt x="3745" y="210"/>
                  </a:lnTo>
                  <a:lnTo>
                    <a:pt x="4321" y="36201"/>
                  </a:lnTo>
                  <a:lnTo>
                    <a:pt x="3457" y="35621"/>
                  </a:lnTo>
                  <a:lnTo>
                    <a:pt x="2593" y="35040"/>
                  </a:lnTo>
                  <a:lnTo>
                    <a:pt x="2305" y="34170"/>
                  </a:lnTo>
                  <a:lnTo>
                    <a:pt x="1728" y="29816"/>
                  </a:lnTo>
                  <a:lnTo>
                    <a:pt x="0" y="25462"/>
                  </a:lnTo>
                  <a:lnTo>
                    <a:pt x="2016" y="25752"/>
                  </a:lnTo>
                  <a:lnTo>
                    <a:pt x="2305" y="24591"/>
                  </a:lnTo>
                  <a:lnTo>
                    <a:pt x="2305" y="2314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07" name="Google Shape;2307;p25"/>
            <p:cNvSpPr/>
            <p:nvPr/>
          </p:nvSpPr>
          <p:spPr>
            <a:xfrm>
              <a:off x="556451" y="6981012"/>
              <a:ext cx="214940" cy="59704"/>
            </a:xfrm>
            <a:custGeom>
              <a:avLst/>
              <a:gdLst/>
              <a:ahLst/>
              <a:cxnLst/>
              <a:rect l="l" t="t" r="r" b="b"/>
              <a:pathLst>
                <a:path w="214940" h="59704" extrusionOk="0">
                  <a:moveTo>
                    <a:pt x="126553" y="50863"/>
                  </a:moveTo>
                  <a:lnTo>
                    <a:pt x="113942" y="52291"/>
                  </a:lnTo>
                  <a:lnTo>
                    <a:pt x="112368" y="52447"/>
                  </a:lnTo>
                  <a:lnTo>
                    <a:pt x="110351" y="52737"/>
                  </a:lnTo>
                  <a:lnTo>
                    <a:pt x="110927" y="48384"/>
                  </a:lnTo>
                  <a:lnTo>
                    <a:pt x="111792" y="48384"/>
                  </a:lnTo>
                  <a:lnTo>
                    <a:pt x="119859" y="47513"/>
                  </a:lnTo>
                  <a:lnTo>
                    <a:pt x="128215" y="46642"/>
                  </a:lnTo>
                  <a:lnTo>
                    <a:pt x="136570" y="45481"/>
                  </a:lnTo>
                  <a:lnTo>
                    <a:pt x="139452" y="45191"/>
                  </a:lnTo>
                  <a:lnTo>
                    <a:pt x="139740" y="44320"/>
                  </a:lnTo>
                  <a:lnTo>
                    <a:pt x="138299" y="41998"/>
                  </a:lnTo>
                  <a:lnTo>
                    <a:pt x="134554" y="36483"/>
                  </a:lnTo>
                  <a:lnTo>
                    <a:pt x="131096" y="30968"/>
                  </a:lnTo>
                  <a:lnTo>
                    <a:pt x="128215" y="21390"/>
                  </a:lnTo>
                  <a:lnTo>
                    <a:pt x="128503" y="21680"/>
                  </a:lnTo>
                  <a:lnTo>
                    <a:pt x="134554" y="27776"/>
                  </a:lnTo>
                  <a:lnTo>
                    <a:pt x="139452" y="34451"/>
                  </a:lnTo>
                  <a:lnTo>
                    <a:pt x="143197" y="42288"/>
                  </a:lnTo>
                  <a:lnTo>
                    <a:pt x="143485" y="42869"/>
                  </a:lnTo>
                  <a:lnTo>
                    <a:pt x="145502" y="43449"/>
                  </a:lnTo>
                  <a:lnTo>
                    <a:pt x="146367" y="43159"/>
                  </a:lnTo>
                  <a:lnTo>
                    <a:pt x="150400" y="41998"/>
                  </a:lnTo>
                  <a:lnTo>
                    <a:pt x="154722" y="40256"/>
                  </a:lnTo>
                  <a:lnTo>
                    <a:pt x="158756" y="38805"/>
                  </a:lnTo>
                  <a:lnTo>
                    <a:pt x="160485" y="38225"/>
                  </a:lnTo>
                  <a:lnTo>
                    <a:pt x="161925" y="37644"/>
                  </a:lnTo>
                  <a:lnTo>
                    <a:pt x="163942" y="36483"/>
                  </a:lnTo>
                  <a:lnTo>
                    <a:pt x="162502" y="35032"/>
                  </a:lnTo>
                  <a:lnTo>
                    <a:pt x="161349" y="33581"/>
                  </a:lnTo>
                  <a:lnTo>
                    <a:pt x="160197" y="32710"/>
                  </a:lnTo>
                  <a:lnTo>
                    <a:pt x="154722" y="28646"/>
                  </a:lnTo>
                  <a:lnTo>
                    <a:pt x="148672" y="24583"/>
                  </a:lnTo>
                  <a:lnTo>
                    <a:pt x="143197" y="20229"/>
                  </a:lnTo>
                  <a:lnTo>
                    <a:pt x="137723" y="16165"/>
                  </a:lnTo>
                  <a:lnTo>
                    <a:pt x="138875" y="11811"/>
                  </a:lnTo>
                  <a:lnTo>
                    <a:pt x="139740" y="11521"/>
                  </a:lnTo>
                  <a:lnTo>
                    <a:pt x="140604" y="10650"/>
                  </a:lnTo>
                  <a:lnTo>
                    <a:pt x="141468" y="10070"/>
                  </a:lnTo>
                  <a:lnTo>
                    <a:pt x="141180" y="9780"/>
                  </a:lnTo>
                  <a:lnTo>
                    <a:pt x="141180" y="9199"/>
                  </a:lnTo>
                  <a:lnTo>
                    <a:pt x="128657" y="6429"/>
                  </a:lnTo>
                  <a:lnTo>
                    <a:pt x="116172" y="4926"/>
                  </a:lnTo>
                  <a:lnTo>
                    <a:pt x="103702" y="4690"/>
                  </a:lnTo>
                  <a:lnTo>
                    <a:pt x="91225" y="5721"/>
                  </a:lnTo>
                  <a:lnTo>
                    <a:pt x="78718" y="8019"/>
                  </a:lnTo>
                  <a:lnTo>
                    <a:pt x="74047" y="9199"/>
                  </a:lnTo>
                  <a:lnTo>
                    <a:pt x="74047" y="9780"/>
                  </a:lnTo>
                  <a:lnTo>
                    <a:pt x="73759" y="10070"/>
                  </a:lnTo>
                  <a:lnTo>
                    <a:pt x="74912" y="10941"/>
                  </a:lnTo>
                  <a:lnTo>
                    <a:pt x="75776" y="11811"/>
                  </a:lnTo>
                  <a:lnTo>
                    <a:pt x="76641" y="12102"/>
                  </a:lnTo>
                  <a:lnTo>
                    <a:pt x="80098" y="13553"/>
                  </a:lnTo>
                  <a:lnTo>
                    <a:pt x="83556" y="15004"/>
                  </a:lnTo>
                  <a:lnTo>
                    <a:pt x="80098" y="18487"/>
                  </a:lnTo>
                  <a:lnTo>
                    <a:pt x="78369" y="18197"/>
                  </a:lnTo>
                  <a:lnTo>
                    <a:pt x="76352" y="18197"/>
                  </a:lnTo>
                  <a:lnTo>
                    <a:pt x="74912" y="19068"/>
                  </a:lnTo>
                  <a:lnTo>
                    <a:pt x="70590" y="21100"/>
                  </a:lnTo>
                  <a:lnTo>
                    <a:pt x="66268" y="23712"/>
                  </a:lnTo>
                  <a:lnTo>
                    <a:pt x="67709" y="17907"/>
                  </a:lnTo>
                  <a:lnTo>
                    <a:pt x="69149" y="16746"/>
                  </a:lnTo>
                  <a:lnTo>
                    <a:pt x="70590" y="16165"/>
                  </a:lnTo>
                  <a:lnTo>
                    <a:pt x="72031" y="15295"/>
                  </a:lnTo>
                  <a:lnTo>
                    <a:pt x="69149" y="10941"/>
                  </a:lnTo>
                  <a:lnTo>
                    <a:pt x="68861" y="10650"/>
                  </a:lnTo>
                  <a:lnTo>
                    <a:pt x="64539" y="12392"/>
                  </a:lnTo>
                  <a:lnTo>
                    <a:pt x="59065" y="14714"/>
                  </a:lnTo>
                  <a:lnTo>
                    <a:pt x="53591" y="17036"/>
                  </a:lnTo>
                  <a:lnTo>
                    <a:pt x="48116" y="19648"/>
                  </a:lnTo>
                  <a:lnTo>
                    <a:pt x="43794" y="21970"/>
                  </a:lnTo>
                  <a:lnTo>
                    <a:pt x="40049" y="24873"/>
                  </a:lnTo>
                  <a:lnTo>
                    <a:pt x="35727" y="27195"/>
                  </a:lnTo>
                  <a:lnTo>
                    <a:pt x="35727" y="28356"/>
                  </a:lnTo>
                  <a:lnTo>
                    <a:pt x="38608" y="30098"/>
                  </a:lnTo>
                  <a:lnTo>
                    <a:pt x="41489" y="31549"/>
                  </a:lnTo>
                  <a:lnTo>
                    <a:pt x="44083" y="33290"/>
                  </a:lnTo>
                  <a:lnTo>
                    <a:pt x="46099" y="34742"/>
                  </a:lnTo>
                  <a:lnTo>
                    <a:pt x="47252" y="34161"/>
                  </a:lnTo>
                  <a:lnTo>
                    <a:pt x="48981" y="32710"/>
                  </a:lnTo>
                  <a:lnTo>
                    <a:pt x="50709" y="36483"/>
                  </a:lnTo>
                  <a:lnTo>
                    <a:pt x="50997" y="41418"/>
                  </a:lnTo>
                  <a:lnTo>
                    <a:pt x="48404" y="40256"/>
                  </a:lnTo>
                  <a:lnTo>
                    <a:pt x="46964" y="40837"/>
                  </a:lnTo>
                  <a:lnTo>
                    <a:pt x="45523" y="42869"/>
                  </a:lnTo>
                  <a:lnTo>
                    <a:pt x="42354" y="47513"/>
                  </a:lnTo>
                  <a:lnTo>
                    <a:pt x="38896" y="51867"/>
                  </a:lnTo>
                  <a:lnTo>
                    <a:pt x="36015" y="56511"/>
                  </a:lnTo>
                  <a:lnTo>
                    <a:pt x="34574" y="58833"/>
                  </a:lnTo>
                  <a:lnTo>
                    <a:pt x="32846" y="59704"/>
                  </a:lnTo>
                  <a:lnTo>
                    <a:pt x="29676" y="58833"/>
                  </a:lnTo>
                  <a:lnTo>
                    <a:pt x="31693" y="55060"/>
                  </a:lnTo>
                  <a:lnTo>
                    <a:pt x="33998" y="51576"/>
                  </a:lnTo>
                  <a:lnTo>
                    <a:pt x="36015" y="48384"/>
                  </a:lnTo>
                  <a:lnTo>
                    <a:pt x="38320" y="44901"/>
                  </a:lnTo>
                  <a:lnTo>
                    <a:pt x="40913" y="41708"/>
                  </a:lnTo>
                  <a:lnTo>
                    <a:pt x="43506" y="38225"/>
                  </a:lnTo>
                  <a:lnTo>
                    <a:pt x="39761" y="35903"/>
                  </a:lnTo>
                  <a:lnTo>
                    <a:pt x="36303" y="33581"/>
                  </a:lnTo>
                  <a:lnTo>
                    <a:pt x="32558" y="31549"/>
                  </a:lnTo>
                  <a:lnTo>
                    <a:pt x="29964" y="31839"/>
                  </a:lnTo>
                  <a:lnTo>
                    <a:pt x="29100" y="32420"/>
                  </a:lnTo>
                  <a:lnTo>
                    <a:pt x="19712" y="40882"/>
                  </a:lnTo>
                  <a:lnTo>
                    <a:pt x="11231" y="50354"/>
                  </a:lnTo>
                  <a:lnTo>
                    <a:pt x="6338" y="56801"/>
                  </a:lnTo>
                  <a:lnTo>
                    <a:pt x="4898" y="59123"/>
                  </a:lnTo>
                  <a:lnTo>
                    <a:pt x="2881" y="59704"/>
                  </a:lnTo>
                  <a:lnTo>
                    <a:pt x="7292" y="48267"/>
                  </a:lnTo>
                  <a:lnTo>
                    <a:pt x="15767" y="38893"/>
                  </a:lnTo>
                  <a:lnTo>
                    <a:pt x="26896" y="28754"/>
                  </a:lnTo>
                  <a:lnTo>
                    <a:pt x="37316" y="21001"/>
                  </a:lnTo>
                  <a:lnTo>
                    <a:pt x="48269" y="14416"/>
                  </a:lnTo>
                  <a:lnTo>
                    <a:pt x="59769" y="9027"/>
                  </a:lnTo>
                  <a:lnTo>
                    <a:pt x="71826" y="4866"/>
                  </a:lnTo>
                  <a:lnTo>
                    <a:pt x="84453" y="1961"/>
                  </a:lnTo>
                  <a:lnTo>
                    <a:pt x="92776" y="782"/>
                  </a:lnTo>
                  <a:lnTo>
                    <a:pt x="108866" y="0"/>
                  </a:lnTo>
                  <a:lnTo>
                    <a:pt x="123980" y="976"/>
                  </a:lnTo>
                  <a:lnTo>
                    <a:pt x="138106" y="3522"/>
                  </a:lnTo>
                  <a:lnTo>
                    <a:pt x="151235" y="7447"/>
                  </a:lnTo>
                  <a:lnTo>
                    <a:pt x="163358" y="12563"/>
                  </a:lnTo>
                  <a:lnTo>
                    <a:pt x="151553" y="12682"/>
                  </a:lnTo>
                  <a:lnTo>
                    <a:pt x="148095" y="10650"/>
                  </a:lnTo>
                  <a:lnTo>
                    <a:pt x="145214" y="11231"/>
                  </a:lnTo>
                  <a:lnTo>
                    <a:pt x="142621" y="15295"/>
                  </a:lnTo>
                  <a:lnTo>
                    <a:pt x="153509" y="21944"/>
                  </a:lnTo>
                  <a:lnTo>
                    <a:pt x="163392" y="29910"/>
                  </a:lnTo>
                  <a:lnTo>
                    <a:pt x="167112" y="33290"/>
                  </a:lnTo>
                  <a:lnTo>
                    <a:pt x="167688" y="33871"/>
                  </a:lnTo>
                  <a:lnTo>
                    <a:pt x="169417" y="33871"/>
                  </a:lnTo>
                  <a:lnTo>
                    <a:pt x="169993" y="33581"/>
                  </a:lnTo>
                  <a:lnTo>
                    <a:pt x="172586" y="32420"/>
                  </a:lnTo>
                  <a:lnTo>
                    <a:pt x="174891" y="30968"/>
                  </a:lnTo>
                  <a:lnTo>
                    <a:pt x="177196" y="29517"/>
                  </a:lnTo>
                  <a:lnTo>
                    <a:pt x="179501" y="28066"/>
                  </a:lnTo>
                  <a:lnTo>
                    <a:pt x="184540" y="25610"/>
                  </a:lnTo>
                  <a:lnTo>
                    <a:pt x="193580" y="33161"/>
                  </a:lnTo>
                  <a:lnTo>
                    <a:pt x="201572" y="41146"/>
                  </a:lnTo>
                  <a:lnTo>
                    <a:pt x="208507" y="49375"/>
                  </a:lnTo>
                  <a:lnTo>
                    <a:pt x="214374" y="57658"/>
                  </a:lnTo>
                  <a:lnTo>
                    <a:pt x="214940" y="58543"/>
                  </a:lnTo>
                  <a:lnTo>
                    <a:pt x="212923" y="59704"/>
                  </a:lnTo>
                  <a:lnTo>
                    <a:pt x="210907" y="59704"/>
                  </a:lnTo>
                  <a:lnTo>
                    <a:pt x="209466" y="57672"/>
                  </a:lnTo>
                  <a:lnTo>
                    <a:pt x="205432" y="52737"/>
                  </a:lnTo>
                  <a:lnTo>
                    <a:pt x="201687" y="47513"/>
                  </a:lnTo>
                  <a:lnTo>
                    <a:pt x="197077" y="42869"/>
                  </a:lnTo>
                  <a:lnTo>
                    <a:pt x="193331" y="38805"/>
                  </a:lnTo>
                  <a:lnTo>
                    <a:pt x="189009" y="35032"/>
                  </a:lnTo>
                  <a:lnTo>
                    <a:pt x="184687" y="31549"/>
                  </a:lnTo>
                  <a:lnTo>
                    <a:pt x="184111" y="30968"/>
                  </a:lnTo>
                  <a:lnTo>
                    <a:pt x="182382" y="31259"/>
                  </a:lnTo>
                  <a:lnTo>
                    <a:pt x="181806" y="31839"/>
                  </a:lnTo>
                  <a:lnTo>
                    <a:pt x="179213" y="33000"/>
                  </a:lnTo>
                  <a:lnTo>
                    <a:pt x="176620" y="34742"/>
                  </a:lnTo>
                  <a:lnTo>
                    <a:pt x="174027" y="36193"/>
                  </a:lnTo>
                  <a:lnTo>
                    <a:pt x="171433" y="37934"/>
                  </a:lnTo>
                  <a:lnTo>
                    <a:pt x="171433" y="38225"/>
                  </a:lnTo>
                  <a:lnTo>
                    <a:pt x="173162" y="40547"/>
                  </a:lnTo>
                  <a:lnTo>
                    <a:pt x="176908" y="45771"/>
                  </a:lnTo>
                  <a:lnTo>
                    <a:pt x="180365" y="50706"/>
                  </a:lnTo>
                  <a:lnTo>
                    <a:pt x="183823" y="55930"/>
                  </a:lnTo>
                  <a:lnTo>
                    <a:pt x="184399" y="56801"/>
                  </a:lnTo>
                  <a:lnTo>
                    <a:pt x="184687" y="57672"/>
                  </a:lnTo>
                  <a:lnTo>
                    <a:pt x="185263" y="58833"/>
                  </a:lnTo>
                  <a:lnTo>
                    <a:pt x="182382" y="59704"/>
                  </a:lnTo>
                  <a:lnTo>
                    <a:pt x="180942" y="59123"/>
                  </a:lnTo>
                  <a:lnTo>
                    <a:pt x="179501" y="57091"/>
                  </a:lnTo>
                  <a:lnTo>
                    <a:pt x="176332" y="52157"/>
                  </a:lnTo>
                  <a:lnTo>
                    <a:pt x="172874" y="47513"/>
                  </a:lnTo>
                  <a:lnTo>
                    <a:pt x="169417" y="42579"/>
                  </a:lnTo>
                  <a:lnTo>
                    <a:pt x="168264" y="40547"/>
                  </a:lnTo>
                  <a:lnTo>
                    <a:pt x="166535" y="40256"/>
                  </a:lnTo>
                  <a:lnTo>
                    <a:pt x="164230" y="41127"/>
                  </a:lnTo>
                  <a:lnTo>
                    <a:pt x="159044" y="43449"/>
                  </a:lnTo>
                  <a:lnTo>
                    <a:pt x="153858" y="45191"/>
                  </a:lnTo>
                  <a:lnTo>
                    <a:pt x="148672" y="46932"/>
                  </a:lnTo>
                  <a:lnTo>
                    <a:pt x="146367" y="47513"/>
                  </a:lnTo>
                  <a:lnTo>
                    <a:pt x="146079" y="48384"/>
                  </a:lnTo>
                  <a:lnTo>
                    <a:pt x="146943" y="50415"/>
                  </a:lnTo>
                  <a:lnTo>
                    <a:pt x="147807" y="52157"/>
                  </a:lnTo>
                  <a:lnTo>
                    <a:pt x="148672" y="54189"/>
                  </a:lnTo>
                  <a:lnTo>
                    <a:pt x="149248" y="55930"/>
                  </a:lnTo>
                  <a:lnTo>
                    <a:pt x="149248" y="58833"/>
                  </a:lnTo>
                  <a:lnTo>
                    <a:pt x="148672" y="59123"/>
                  </a:lnTo>
                  <a:lnTo>
                    <a:pt x="147231" y="59704"/>
                  </a:lnTo>
                  <a:lnTo>
                    <a:pt x="145790" y="59413"/>
                  </a:lnTo>
                  <a:lnTo>
                    <a:pt x="145214" y="57672"/>
                  </a:lnTo>
                  <a:lnTo>
                    <a:pt x="144350" y="55350"/>
                  </a:lnTo>
                  <a:lnTo>
                    <a:pt x="143485" y="53318"/>
                  </a:lnTo>
                  <a:lnTo>
                    <a:pt x="142621" y="50996"/>
                  </a:lnTo>
                  <a:lnTo>
                    <a:pt x="142045" y="49254"/>
                  </a:lnTo>
                  <a:lnTo>
                    <a:pt x="141180" y="48964"/>
                  </a:lnTo>
                  <a:lnTo>
                    <a:pt x="139164" y="49254"/>
                  </a:lnTo>
                  <a:lnTo>
                    <a:pt x="126553" y="50863"/>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08" name="Google Shape;2308;p25"/>
            <p:cNvSpPr/>
            <p:nvPr/>
          </p:nvSpPr>
          <p:spPr>
            <a:xfrm>
              <a:off x="621567" y="7029075"/>
              <a:ext cx="4321" cy="11641"/>
            </a:xfrm>
            <a:custGeom>
              <a:avLst/>
              <a:gdLst/>
              <a:ahLst/>
              <a:cxnLst/>
              <a:rect l="l" t="t" r="r" b="b"/>
              <a:pathLst>
                <a:path w="4321" h="11641" extrusionOk="0">
                  <a:moveTo>
                    <a:pt x="864" y="8158"/>
                  </a:moveTo>
                  <a:lnTo>
                    <a:pt x="1728" y="5546"/>
                  </a:lnTo>
                  <a:lnTo>
                    <a:pt x="2881" y="3224"/>
                  </a:lnTo>
                  <a:lnTo>
                    <a:pt x="3948" y="0"/>
                  </a:lnTo>
                  <a:lnTo>
                    <a:pt x="4321" y="11351"/>
                  </a:lnTo>
                  <a:lnTo>
                    <a:pt x="2593" y="11641"/>
                  </a:lnTo>
                  <a:lnTo>
                    <a:pt x="0" y="10770"/>
                  </a:lnTo>
                  <a:lnTo>
                    <a:pt x="864" y="8158"/>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09" name="Google Shape;2309;p25"/>
            <p:cNvSpPr/>
            <p:nvPr/>
          </p:nvSpPr>
          <p:spPr>
            <a:xfrm>
              <a:off x="605432" y="6998920"/>
              <a:ext cx="18728" cy="18576"/>
            </a:xfrm>
            <a:custGeom>
              <a:avLst/>
              <a:gdLst/>
              <a:ahLst/>
              <a:cxnLst/>
              <a:rect l="l" t="t" r="r" b="b"/>
              <a:pathLst>
                <a:path w="18728" h="18576" extrusionOk="0">
                  <a:moveTo>
                    <a:pt x="6050" y="9578"/>
                  </a:moveTo>
                  <a:lnTo>
                    <a:pt x="12389" y="4934"/>
                  </a:lnTo>
                  <a:lnTo>
                    <a:pt x="18728" y="0"/>
                  </a:lnTo>
                  <a:lnTo>
                    <a:pt x="17287" y="5805"/>
                  </a:lnTo>
                  <a:lnTo>
                    <a:pt x="13541" y="8707"/>
                  </a:lnTo>
                  <a:lnTo>
                    <a:pt x="9508" y="11610"/>
                  </a:lnTo>
                  <a:lnTo>
                    <a:pt x="6050" y="15093"/>
                  </a:lnTo>
                  <a:lnTo>
                    <a:pt x="1728" y="18576"/>
                  </a:lnTo>
                  <a:lnTo>
                    <a:pt x="0" y="14803"/>
                  </a:lnTo>
                  <a:lnTo>
                    <a:pt x="6050" y="9578"/>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10" name="Google Shape;2310;p25"/>
            <p:cNvSpPr/>
            <p:nvPr/>
          </p:nvSpPr>
          <p:spPr>
            <a:xfrm>
              <a:off x="557676" y="7208821"/>
              <a:ext cx="38639" cy="56841"/>
            </a:xfrm>
            <a:custGeom>
              <a:avLst/>
              <a:gdLst/>
              <a:ahLst/>
              <a:cxnLst/>
              <a:rect l="l" t="t" r="r" b="b"/>
              <a:pathLst>
                <a:path w="38639" h="56841" extrusionOk="0">
                  <a:moveTo>
                    <a:pt x="36082" y="7751"/>
                  </a:moveTo>
                  <a:lnTo>
                    <a:pt x="37503" y="10334"/>
                  </a:lnTo>
                  <a:lnTo>
                    <a:pt x="38355" y="13205"/>
                  </a:lnTo>
                  <a:lnTo>
                    <a:pt x="38355" y="19808"/>
                  </a:lnTo>
                  <a:lnTo>
                    <a:pt x="37503" y="22966"/>
                  </a:lnTo>
                  <a:lnTo>
                    <a:pt x="35798" y="26124"/>
                  </a:lnTo>
                  <a:lnTo>
                    <a:pt x="34093" y="29282"/>
                  </a:lnTo>
                  <a:lnTo>
                    <a:pt x="31252" y="32726"/>
                  </a:lnTo>
                  <a:lnTo>
                    <a:pt x="26706" y="36171"/>
                  </a:lnTo>
                  <a:lnTo>
                    <a:pt x="24149" y="38468"/>
                  </a:lnTo>
                  <a:lnTo>
                    <a:pt x="22445" y="39903"/>
                  </a:lnTo>
                  <a:lnTo>
                    <a:pt x="21592" y="40765"/>
                  </a:lnTo>
                  <a:lnTo>
                    <a:pt x="20740" y="41626"/>
                  </a:lnTo>
                  <a:lnTo>
                    <a:pt x="19603" y="42774"/>
                  </a:lnTo>
                  <a:lnTo>
                    <a:pt x="18467" y="44210"/>
                  </a:lnTo>
                  <a:lnTo>
                    <a:pt x="38639" y="44210"/>
                  </a:lnTo>
                  <a:lnTo>
                    <a:pt x="38639" y="56841"/>
                  </a:lnTo>
                  <a:lnTo>
                    <a:pt x="0" y="56841"/>
                  </a:lnTo>
                  <a:lnTo>
                    <a:pt x="568" y="52248"/>
                  </a:lnTo>
                  <a:lnTo>
                    <a:pt x="1704" y="47942"/>
                  </a:lnTo>
                  <a:lnTo>
                    <a:pt x="3977" y="43922"/>
                  </a:lnTo>
                  <a:lnTo>
                    <a:pt x="6250" y="39903"/>
                  </a:lnTo>
                  <a:lnTo>
                    <a:pt x="10512" y="35023"/>
                  </a:lnTo>
                  <a:lnTo>
                    <a:pt x="16762" y="29569"/>
                  </a:lnTo>
                  <a:lnTo>
                    <a:pt x="20456" y="26124"/>
                  </a:lnTo>
                  <a:lnTo>
                    <a:pt x="22729" y="23540"/>
                  </a:lnTo>
                  <a:lnTo>
                    <a:pt x="23865" y="21817"/>
                  </a:lnTo>
                  <a:lnTo>
                    <a:pt x="25002" y="20095"/>
                  </a:lnTo>
                  <a:lnTo>
                    <a:pt x="25570" y="18373"/>
                  </a:lnTo>
                  <a:lnTo>
                    <a:pt x="25570" y="15215"/>
                  </a:lnTo>
                  <a:lnTo>
                    <a:pt x="25002" y="13779"/>
                  </a:lnTo>
                  <a:lnTo>
                    <a:pt x="23865" y="12344"/>
                  </a:lnTo>
                  <a:lnTo>
                    <a:pt x="23013" y="11196"/>
                  </a:lnTo>
                  <a:lnTo>
                    <a:pt x="21592" y="10621"/>
                  </a:lnTo>
                  <a:lnTo>
                    <a:pt x="18467" y="10621"/>
                  </a:lnTo>
                  <a:lnTo>
                    <a:pt x="17046" y="11196"/>
                  </a:lnTo>
                  <a:lnTo>
                    <a:pt x="15910" y="12631"/>
                  </a:lnTo>
                  <a:lnTo>
                    <a:pt x="14774" y="13779"/>
                  </a:lnTo>
                  <a:lnTo>
                    <a:pt x="14205" y="16076"/>
                  </a:lnTo>
                  <a:lnTo>
                    <a:pt x="13921" y="19234"/>
                  </a:lnTo>
                  <a:lnTo>
                    <a:pt x="852" y="17798"/>
                  </a:lnTo>
                  <a:lnTo>
                    <a:pt x="1420" y="13492"/>
                  </a:lnTo>
                  <a:lnTo>
                    <a:pt x="2272" y="10047"/>
                  </a:lnTo>
                  <a:lnTo>
                    <a:pt x="3693" y="7751"/>
                  </a:lnTo>
                  <a:lnTo>
                    <a:pt x="5114" y="5167"/>
                  </a:lnTo>
                  <a:lnTo>
                    <a:pt x="7102" y="3444"/>
                  </a:lnTo>
                  <a:lnTo>
                    <a:pt x="9375" y="2009"/>
                  </a:lnTo>
                  <a:lnTo>
                    <a:pt x="11932" y="574"/>
                  </a:lnTo>
                  <a:lnTo>
                    <a:pt x="15342" y="0"/>
                  </a:lnTo>
                  <a:lnTo>
                    <a:pt x="24149" y="0"/>
                  </a:lnTo>
                  <a:lnTo>
                    <a:pt x="27559" y="574"/>
                  </a:lnTo>
                  <a:lnTo>
                    <a:pt x="30116" y="2009"/>
                  </a:lnTo>
                  <a:lnTo>
                    <a:pt x="32673" y="3157"/>
                  </a:lnTo>
                  <a:lnTo>
                    <a:pt x="34662" y="5167"/>
                  </a:lnTo>
                  <a:lnTo>
                    <a:pt x="36082" y="775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11" name="Google Shape;2311;p25"/>
            <p:cNvSpPr/>
            <p:nvPr/>
          </p:nvSpPr>
          <p:spPr>
            <a:xfrm>
              <a:off x="602355" y="7210026"/>
              <a:ext cx="37432" cy="55631"/>
            </a:xfrm>
            <a:custGeom>
              <a:avLst/>
              <a:gdLst/>
              <a:ahLst/>
              <a:cxnLst/>
              <a:rect l="l" t="t" r="r" b="b"/>
              <a:pathLst>
                <a:path w="37432" h="55631" extrusionOk="0">
                  <a:moveTo>
                    <a:pt x="22796" y="13123"/>
                  </a:moveTo>
                  <a:lnTo>
                    <a:pt x="0" y="13123"/>
                  </a:lnTo>
                  <a:lnTo>
                    <a:pt x="0" y="0"/>
                  </a:lnTo>
                  <a:lnTo>
                    <a:pt x="37432" y="0"/>
                  </a:lnTo>
                  <a:lnTo>
                    <a:pt x="37432" y="10555"/>
                  </a:lnTo>
                  <a:lnTo>
                    <a:pt x="34054" y="13979"/>
                  </a:lnTo>
                  <a:lnTo>
                    <a:pt x="31240" y="17973"/>
                  </a:lnTo>
                  <a:lnTo>
                    <a:pt x="29270" y="21967"/>
                  </a:lnTo>
                  <a:lnTo>
                    <a:pt x="26455" y="27102"/>
                  </a:lnTo>
                  <a:lnTo>
                    <a:pt x="24485" y="32523"/>
                  </a:lnTo>
                  <a:lnTo>
                    <a:pt x="23078" y="38799"/>
                  </a:lnTo>
                  <a:lnTo>
                    <a:pt x="21671" y="43649"/>
                  </a:lnTo>
                  <a:lnTo>
                    <a:pt x="20826" y="49070"/>
                  </a:lnTo>
                  <a:lnTo>
                    <a:pt x="20545" y="55631"/>
                  </a:lnTo>
                  <a:lnTo>
                    <a:pt x="7880" y="55631"/>
                  </a:lnTo>
                  <a:lnTo>
                    <a:pt x="8724" y="46502"/>
                  </a:lnTo>
                  <a:lnTo>
                    <a:pt x="10413" y="39084"/>
                  </a:lnTo>
                  <a:lnTo>
                    <a:pt x="12664" y="32808"/>
                  </a:lnTo>
                  <a:lnTo>
                    <a:pt x="14635" y="26817"/>
                  </a:lnTo>
                  <a:lnTo>
                    <a:pt x="18012" y="20255"/>
                  </a:lnTo>
                  <a:lnTo>
                    <a:pt x="22796" y="1312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12" name="Google Shape;2312;p25"/>
            <p:cNvSpPr/>
            <p:nvPr/>
          </p:nvSpPr>
          <p:spPr>
            <a:xfrm>
              <a:off x="664997" y="7208812"/>
              <a:ext cx="6101" cy="14081"/>
            </a:xfrm>
            <a:custGeom>
              <a:avLst/>
              <a:gdLst/>
              <a:ahLst/>
              <a:cxnLst/>
              <a:rect l="l" t="t" r="r" b="b"/>
              <a:pathLst>
                <a:path w="6101" h="14081" extrusionOk="0">
                  <a:moveTo>
                    <a:pt x="0" y="10345"/>
                  </a:moveTo>
                  <a:lnTo>
                    <a:pt x="290" y="0"/>
                  </a:lnTo>
                  <a:lnTo>
                    <a:pt x="3486" y="0"/>
                  </a:lnTo>
                  <a:lnTo>
                    <a:pt x="6101" y="574"/>
                  </a:lnTo>
                  <a:lnTo>
                    <a:pt x="4648" y="14081"/>
                  </a:lnTo>
                  <a:lnTo>
                    <a:pt x="3776" y="11782"/>
                  </a:lnTo>
                  <a:lnTo>
                    <a:pt x="2033" y="10345"/>
                  </a:lnTo>
                  <a:lnTo>
                    <a:pt x="0" y="1034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13" name="Google Shape;2313;p25"/>
            <p:cNvSpPr/>
            <p:nvPr/>
          </p:nvSpPr>
          <p:spPr>
            <a:xfrm>
              <a:off x="645823" y="7208812"/>
              <a:ext cx="38639" cy="58050"/>
            </a:xfrm>
            <a:custGeom>
              <a:avLst/>
              <a:gdLst/>
              <a:ahLst/>
              <a:cxnLst/>
              <a:rect l="l" t="t" r="r" b="b"/>
              <a:pathLst>
                <a:path w="38639" h="58050" extrusionOk="0">
                  <a:moveTo>
                    <a:pt x="13364" y="16955"/>
                  </a:moveTo>
                  <a:lnTo>
                    <a:pt x="13073" y="21840"/>
                  </a:lnTo>
                  <a:lnTo>
                    <a:pt x="13073" y="35922"/>
                  </a:lnTo>
                  <a:lnTo>
                    <a:pt x="13364" y="40807"/>
                  </a:lnTo>
                  <a:lnTo>
                    <a:pt x="14526" y="43394"/>
                  </a:lnTo>
                  <a:lnTo>
                    <a:pt x="15688" y="45980"/>
                  </a:lnTo>
                  <a:lnTo>
                    <a:pt x="17140" y="47417"/>
                  </a:lnTo>
                  <a:lnTo>
                    <a:pt x="20627" y="47417"/>
                  </a:lnTo>
                  <a:lnTo>
                    <a:pt x="21789" y="46842"/>
                  </a:lnTo>
                  <a:lnTo>
                    <a:pt x="22660" y="45693"/>
                  </a:lnTo>
                  <a:lnTo>
                    <a:pt x="23532" y="44543"/>
                  </a:lnTo>
                  <a:lnTo>
                    <a:pt x="24404" y="42819"/>
                  </a:lnTo>
                  <a:lnTo>
                    <a:pt x="24694" y="40520"/>
                  </a:lnTo>
                  <a:lnTo>
                    <a:pt x="25275" y="37933"/>
                  </a:lnTo>
                  <a:lnTo>
                    <a:pt x="25566" y="34197"/>
                  </a:lnTo>
                  <a:lnTo>
                    <a:pt x="25566" y="21840"/>
                  </a:lnTo>
                  <a:lnTo>
                    <a:pt x="24985" y="16667"/>
                  </a:lnTo>
                  <a:lnTo>
                    <a:pt x="23822" y="14081"/>
                  </a:lnTo>
                  <a:lnTo>
                    <a:pt x="25275" y="574"/>
                  </a:lnTo>
                  <a:lnTo>
                    <a:pt x="27309" y="1436"/>
                  </a:lnTo>
                  <a:lnTo>
                    <a:pt x="29342" y="2299"/>
                  </a:lnTo>
                  <a:lnTo>
                    <a:pt x="31086" y="3448"/>
                  </a:lnTo>
                  <a:lnTo>
                    <a:pt x="32538" y="5172"/>
                  </a:lnTo>
                  <a:lnTo>
                    <a:pt x="33700" y="6609"/>
                  </a:lnTo>
                  <a:lnTo>
                    <a:pt x="34862" y="8046"/>
                  </a:lnTo>
                  <a:lnTo>
                    <a:pt x="35443" y="9770"/>
                  </a:lnTo>
                  <a:lnTo>
                    <a:pt x="36315" y="11495"/>
                  </a:lnTo>
                  <a:lnTo>
                    <a:pt x="36896" y="13219"/>
                  </a:lnTo>
                  <a:lnTo>
                    <a:pt x="37187" y="15518"/>
                  </a:lnTo>
                  <a:lnTo>
                    <a:pt x="38058" y="19541"/>
                  </a:lnTo>
                  <a:lnTo>
                    <a:pt x="38639" y="24139"/>
                  </a:lnTo>
                  <a:lnTo>
                    <a:pt x="38639" y="38795"/>
                  </a:lnTo>
                  <a:lnTo>
                    <a:pt x="37187" y="46267"/>
                  </a:lnTo>
                  <a:lnTo>
                    <a:pt x="34281" y="50865"/>
                  </a:lnTo>
                  <a:lnTo>
                    <a:pt x="31376" y="55463"/>
                  </a:lnTo>
                  <a:lnTo>
                    <a:pt x="26437" y="58050"/>
                  </a:lnTo>
                  <a:lnTo>
                    <a:pt x="15107" y="58050"/>
                  </a:lnTo>
                  <a:lnTo>
                    <a:pt x="11911" y="57188"/>
                  </a:lnTo>
                  <a:lnTo>
                    <a:pt x="9587" y="55751"/>
                  </a:lnTo>
                  <a:lnTo>
                    <a:pt x="6972" y="54314"/>
                  </a:lnTo>
                  <a:lnTo>
                    <a:pt x="4938" y="52015"/>
                  </a:lnTo>
                  <a:lnTo>
                    <a:pt x="3486" y="49141"/>
                  </a:lnTo>
                  <a:lnTo>
                    <a:pt x="2324" y="47129"/>
                  </a:lnTo>
                  <a:lnTo>
                    <a:pt x="1452" y="44256"/>
                  </a:lnTo>
                  <a:lnTo>
                    <a:pt x="871" y="40520"/>
                  </a:lnTo>
                  <a:lnTo>
                    <a:pt x="290" y="37071"/>
                  </a:lnTo>
                  <a:lnTo>
                    <a:pt x="0" y="33048"/>
                  </a:lnTo>
                  <a:lnTo>
                    <a:pt x="0" y="18104"/>
                  </a:lnTo>
                  <a:lnTo>
                    <a:pt x="1452" y="10632"/>
                  </a:lnTo>
                  <a:lnTo>
                    <a:pt x="4648" y="6322"/>
                  </a:lnTo>
                  <a:lnTo>
                    <a:pt x="7844" y="2011"/>
                  </a:lnTo>
                  <a:lnTo>
                    <a:pt x="12783" y="0"/>
                  </a:lnTo>
                  <a:lnTo>
                    <a:pt x="19465" y="0"/>
                  </a:lnTo>
                  <a:lnTo>
                    <a:pt x="19174" y="10345"/>
                  </a:lnTo>
                  <a:lnTo>
                    <a:pt x="16850" y="10345"/>
                  </a:lnTo>
                  <a:lnTo>
                    <a:pt x="15397" y="11782"/>
                  </a:lnTo>
                  <a:lnTo>
                    <a:pt x="14526" y="14368"/>
                  </a:lnTo>
                  <a:lnTo>
                    <a:pt x="13364" y="1695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14" name="Google Shape;2314;p25"/>
            <p:cNvSpPr/>
            <p:nvPr/>
          </p:nvSpPr>
          <p:spPr>
            <a:xfrm>
              <a:off x="708465" y="7208808"/>
              <a:ext cx="6101" cy="14081"/>
            </a:xfrm>
            <a:custGeom>
              <a:avLst/>
              <a:gdLst/>
              <a:ahLst/>
              <a:cxnLst/>
              <a:rect l="l" t="t" r="r" b="b"/>
              <a:pathLst>
                <a:path w="6101" h="14081" extrusionOk="0">
                  <a:moveTo>
                    <a:pt x="0" y="10345"/>
                  </a:moveTo>
                  <a:lnTo>
                    <a:pt x="290" y="0"/>
                  </a:lnTo>
                  <a:lnTo>
                    <a:pt x="3486" y="0"/>
                  </a:lnTo>
                  <a:lnTo>
                    <a:pt x="6101" y="574"/>
                  </a:lnTo>
                  <a:lnTo>
                    <a:pt x="4648" y="14081"/>
                  </a:lnTo>
                  <a:lnTo>
                    <a:pt x="3776" y="11782"/>
                  </a:lnTo>
                  <a:lnTo>
                    <a:pt x="2033" y="10345"/>
                  </a:lnTo>
                  <a:lnTo>
                    <a:pt x="0" y="1034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15" name="Google Shape;2315;p25"/>
            <p:cNvSpPr/>
            <p:nvPr/>
          </p:nvSpPr>
          <p:spPr>
            <a:xfrm>
              <a:off x="689291" y="7208808"/>
              <a:ext cx="38639" cy="58049"/>
            </a:xfrm>
            <a:custGeom>
              <a:avLst/>
              <a:gdLst/>
              <a:ahLst/>
              <a:cxnLst/>
              <a:rect l="l" t="t" r="r" b="b"/>
              <a:pathLst>
                <a:path w="38639" h="58049" extrusionOk="0">
                  <a:moveTo>
                    <a:pt x="13364" y="16955"/>
                  </a:moveTo>
                  <a:lnTo>
                    <a:pt x="13073" y="21840"/>
                  </a:lnTo>
                  <a:lnTo>
                    <a:pt x="13073" y="35922"/>
                  </a:lnTo>
                  <a:lnTo>
                    <a:pt x="13364" y="40807"/>
                  </a:lnTo>
                  <a:lnTo>
                    <a:pt x="14526" y="43393"/>
                  </a:lnTo>
                  <a:lnTo>
                    <a:pt x="15688" y="45980"/>
                  </a:lnTo>
                  <a:lnTo>
                    <a:pt x="17141" y="47417"/>
                  </a:lnTo>
                  <a:lnTo>
                    <a:pt x="20627" y="47417"/>
                  </a:lnTo>
                  <a:lnTo>
                    <a:pt x="21789" y="46842"/>
                  </a:lnTo>
                  <a:lnTo>
                    <a:pt x="22661" y="45692"/>
                  </a:lnTo>
                  <a:lnTo>
                    <a:pt x="23823" y="44543"/>
                  </a:lnTo>
                  <a:lnTo>
                    <a:pt x="24404" y="42818"/>
                  </a:lnTo>
                  <a:lnTo>
                    <a:pt x="24985" y="40519"/>
                  </a:lnTo>
                  <a:lnTo>
                    <a:pt x="25275" y="37933"/>
                  </a:lnTo>
                  <a:lnTo>
                    <a:pt x="25566" y="34197"/>
                  </a:lnTo>
                  <a:lnTo>
                    <a:pt x="25566" y="21840"/>
                  </a:lnTo>
                  <a:lnTo>
                    <a:pt x="24985" y="16667"/>
                  </a:lnTo>
                  <a:lnTo>
                    <a:pt x="23823" y="14081"/>
                  </a:lnTo>
                  <a:lnTo>
                    <a:pt x="25275" y="574"/>
                  </a:lnTo>
                  <a:lnTo>
                    <a:pt x="27599" y="1436"/>
                  </a:lnTo>
                  <a:lnTo>
                    <a:pt x="29633" y="2299"/>
                  </a:lnTo>
                  <a:lnTo>
                    <a:pt x="31086" y="3448"/>
                  </a:lnTo>
                  <a:lnTo>
                    <a:pt x="32538" y="5172"/>
                  </a:lnTo>
                  <a:lnTo>
                    <a:pt x="33700" y="6609"/>
                  </a:lnTo>
                  <a:lnTo>
                    <a:pt x="34863" y="8046"/>
                  </a:lnTo>
                  <a:lnTo>
                    <a:pt x="35444" y="9770"/>
                  </a:lnTo>
                  <a:lnTo>
                    <a:pt x="36315" y="11494"/>
                  </a:lnTo>
                  <a:lnTo>
                    <a:pt x="36896" y="13219"/>
                  </a:lnTo>
                  <a:lnTo>
                    <a:pt x="37477" y="15518"/>
                  </a:lnTo>
                  <a:lnTo>
                    <a:pt x="38349" y="19541"/>
                  </a:lnTo>
                  <a:lnTo>
                    <a:pt x="38639" y="24139"/>
                  </a:lnTo>
                  <a:lnTo>
                    <a:pt x="38639" y="38795"/>
                  </a:lnTo>
                  <a:lnTo>
                    <a:pt x="37187" y="46267"/>
                  </a:lnTo>
                  <a:lnTo>
                    <a:pt x="34282" y="50865"/>
                  </a:lnTo>
                  <a:lnTo>
                    <a:pt x="31376" y="55463"/>
                  </a:lnTo>
                  <a:lnTo>
                    <a:pt x="26437" y="58049"/>
                  </a:lnTo>
                  <a:lnTo>
                    <a:pt x="15397" y="58049"/>
                  </a:lnTo>
                  <a:lnTo>
                    <a:pt x="11911" y="57187"/>
                  </a:lnTo>
                  <a:lnTo>
                    <a:pt x="9587" y="55750"/>
                  </a:lnTo>
                  <a:lnTo>
                    <a:pt x="7263" y="54313"/>
                  </a:lnTo>
                  <a:lnTo>
                    <a:pt x="5229" y="52015"/>
                  </a:lnTo>
                  <a:lnTo>
                    <a:pt x="3486" y="49141"/>
                  </a:lnTo>
                  <a:lnTo>
                    <a:pt x="2324" y="47129"/>
                  </a:lnTo>
                  <a:lnTo>
                    <a:pt x="1452" y="44255"/>
                  </a:lnTo>
                  <a:lnTo>
                    <a:pt x="871" y="40519"/>
                  </a:lnTo>
                  <a:lnTo>
                    <a:pt x="290" y="37071"/>
                  </a:lnTo>
                  <a:lnTo>
                    <a:pt x="0" y="33048"/>
                  </a:lnTo>
                  <a:lnTo>
                    <a:pt x="0" y="18104"/>
                  </a:lnTo>
                  <a:lnTo>
                    <a:pt x="1452" y="10632"/>
                  </a:lnTo>
                  <a:lnTo>
                    <a:pt x="4648" y="6322"/>
                  </a:lnTo>
                  <a:lnTo>
                    <a:pt x="8134" y="2011"/>
                  </a:lnTo>
                  <a:lnTo>
                    <a:pt x="13073" y="0"/>
                  </a:lnTo>
                  <a:lnTo>
                    <a:pt x="19465" y="0"/>
                  </a:lnTo>
                  <a:lnTo>
                    <a:pt x="19174" y="10345"/>
                  </a:lnTo>
                  <a:lnTo>
                    <a:pt x="16850" y="10345"/>
                  </a:lnTo>
                  <a:lnTo>
                    <a:pt x="15397" y="11782"/>
                  </a:lnTo>
                  <a:lnTo>
                    <a:pt x="14526" y="14368"/>
                  </a:lnTo>
                  <a:lnTo>
                    <a:pt x="13364" y="1695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16" name="Google Shape;2316;p25"/>
            <p:cNvSpPr/>
            <p:nvPr/>
          </p:nvSpPr>
          <p:spPr>
            <a:xfrm>
              <a:off x="735174" y="7208839"/>
              <a:ext cx="27772" cy="56843"/>
            </a:xfrm>
            <a:custGeom>
              <a:avLst/>
              <a:gdLst/>
              <a:ahLst/>
              <a:cxnLst/>
              <a:rect l="l" t="t" r="r" b="b"/>
              <a:pathLst>
                <a:path w="27772" h="56843" extrusionOk="0">
                  <a:moveTo>
                    <a:pt x="5613" y="25550"/>
                  </a:moveTo>
                  <a:lnTo>
                    <a:pt x="3249" y="26698"/>
                  </a:lnTo>
                  <a:lnTo>
                    <a:pt x="0" y="27847"/>
                  </a:lnTo>
                  <a:lnTo>
                    <a:pt x="0" y="14928"/>
                  </a:lnTo>
                  <a:lnTo>
                    <a:pt x="4431" y="13205"/>
                  </a:lnTo>
                  <a:lnTo>
                    <a:pt x="7977" y="11196"/>
                  </a:lnTo>
                  <a:lnTo>
                    <a:pt x="10636" y="8899"/>
                  </a:lnTo>
                  <a:lnTo>
                    <a:pt x="13295" y="6602"/>
                  </a:lnTo>
                  <a:lnTo>
                    <a:pt x="15068" y="3445"/>
                  </a:lnTo>
                  <a:lnTo>
                    <a:pt x="16545" y="0"/>
                  </a:lnTo>
                  <a:lnTo>
                    <a:pt x="27772" y="0"/>
                  </a:lnTo>
                  <a:lnTo>
                    <a:pt x="27772" y="56843"/>
                  </a:lnTo>
                  <a:lnTo>
                    <a:pt x="14181" y="56843"/>
                  </a:lnTo>
                  <a:lnTo>
                    <a:pt x="14181" y="19521"/>
                  </a:lnTo>
                  <a:lnTo>
                    <a:pt x="11818" y="21531"/>
                  </a:lnTo>
                  <a:lnTo>
                    <a:pt x="9749" y="23254"/>
                  </a:lnTo>
                  <a:lnTo>
                    <a:pt x="7681" y="24402"/>
                  </a:lnTo>
                  <a:lnTo>
                    <a:pt x="5613" y="2555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nvGrpSpPr>
          <p:cNvPr id="2317" name="Google Shape;2317;p25"/>
          <p:cNvGrpSpPr/>
          <p:nvPr/>
        </p:nvGrpSpPr>
        <p:grpSpPr>
          <a:xfrm>
            <a:off x="10688715" y="135255"/>
            <a:ext cx="1334482" cy="468742"/>
            <a:chOff x="10688715" y="135255"/>
            <a:chExt cx="1334482" cy="468742"/>
          </a:xfrm>
        </p:grpSpPr>
        <p:grpSp>
          <p:nvGrpSpPr>
            <p:cNvPr id="2318" name="Google Shape;2318;p25"/>
            <p:cNvGrpSpPr/>
            <p:nvPr/>
          </p:nvGrpSpPr>
          <p:grpSpPr>
            <a:xfrm>
              <a:off x="10688715" y="135255"/>
              <a:ext cx="1334482" cy="468742"/>
              <a:chOff x="10688715" y="135255"/>
              <a:chExt cx="1334482" cy="468742"/>
            </a:xfrm>
          </p:grpSpPr>
          <p:sp>
            <p:nvSpPr>
              <p:cNvPr id="2319" name="Google Shape;2319;p25"/>
              <p:cNvSpPr txBox="1"/>
              <p:nvPr/>
            </p:nvSpPr>
            <p:spPr>
              <a:xfrm>
                <a:off x="10688715" y="230150"/>
                <a:ext cx="821549" cy="1384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Graphic design</a:t>
                </a:r>
                <a:endParaRPr sz="1400" b="0" i="0" u="none" strike="noStrike" cap="none">
                  <a:solidFill>
                    <a:srgbClr val="000000"/>
                  </a:solidFill>
                  <a:latin typeface="Arial"/>
                  <a:ea typeface="Arial"/>
                  <a:cs typeface="Arial"/>
                  <a:sym typeface="Arial"/>
                </a:endParaRPr>
              </a:p>
            </p:txBody>
          </p:sp>
          <p:sp>
            <p:nvSpPr>
              <p:cNvPr id="2320" name="Google Shape;2320;p25"/>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pic>
          <p:nvPicPr>
            <p:cNvPr id="2321" name="Google Shape;2321;p25"/>
            <p:cNvPicPr preferRelativeResize="0"/>
            <p:nvPr/>
          </p:nvPicPr>
          <p:blipFill rotWithShape="1">
            <a:blip r:embed="rId8">
              <a:alphaModFix/>
            </a:blip>
            <a:srcRect/>
            <a:stretch/>
          </p:blipFill>
          <p:spPr>
            <a:xfrm>
              <a:off x="11648065" y="227889"/>
              <a:ext cx="281520" cy="281520"/>
            </a:xfrm>
            <a:prstGeom prst="rect">
              <a:avLst/>
            </a:prstGeom>
            <a:noFill/>
            <a:ln>
              <a:noFill/>
            </a:ln>
          </p:spPr>
        </p:pic>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116"/>
        <p:cNvGrpSpPr/>
        <p:nvPr/>
      </p:nvGrpSpPr>
      <p:grpSpPr>
        <a:xfrm>
          <a:off x="0" y="0"/>
          <a:ext cx="0" cy="0"/>
          <a:chOff x="0" y="0"/>
          <a:chExt cx="0" cy="0"/>
        </a:xfrm>
      </p:grpSpPr>
      <p:sp>
        <p:nvSpPr>
          <p:cNvPr id="1117" name="Google Shape;1117;p73"/>
          <p:cNvSpPr/>
          <p:nvPr/>
        </p:nvSpPr>
        <p:spPr>
          <a:xfrm>
            <a:off x="8757919" y="-1"/>
            <a:ext cx="3436619" cy="6858001"/>
          </a:xfrm>
          <a:prstGeom prst="rect">
            <a:avLst/>
          </a:prstGeom>
          <a:gradFill>
            <a:gsLst>
              <a:gs pos="0">
                <a:srgbClr val="062379"/>
              </a:gs>
              <a:gs pos="16000">
                <a:srgbClr val="062379"/>
              </a:gs>
              <a:gs pos="45000">
                <a:srgbClr val="0934B6">
                  <a:alpha val="88235"/>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118" name="Google Shape;1118;p73"/>
          <p:cNvSpPr txBox="1">
            <a:spLocks noGrp="1"/>
          </p:cNvSpPr>
          <p:nvPr>
            <p:ph type="sldNum" idx="12"/>
          </p:nvPr>
        </p:nvSpPr>
        <p:spPr>
          <a:xfrm>
            <a:off x="11490453" y="6445294"/>
            <a:ext cx="150683"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Clr>
                <a:srgbClr val="FFFFFF"/>
              </a:buClr>
              <a:buSzPts val="1000"/>
              <a:buFont typeface="Arial"/>
              <a:buNone/>
            </a:pPr>
            <a:fld id="{00000000-1234-1234-1234-123412341234}" type="slidenum">
              <a:rPr lang="en-US" sz="1000" b="0" i="0" u="none" strike="noStrike" cap="none">
                <a:solidFill>
                  <a:srgbClr val="FFFFFF"/>
                </a:solidFill>
                <a:latin typeface="Calibri"/>
                <a:ea typeface="Calibri"/>
                <a:cs typeface="Calibri"/>
                <a:sym typeface="Calibri"/>
              </a:rPr>
              <a:t>3</a:t>
            </a:fld>
            <a:endParaRPr sz="1000" b="0" i="0" u="none" strike="noStrike" cap="none">
              <a:solidFill>
                <a:srgbClr val="FFFFFF"/>
              </a:solidFill>
              <a:latin typeface="Calibri"/>
              <a:ea typeface="Calibri"/>
              <a:cs typeface="Calibri"/>
              <a:sym typeface="Calibri"/>
            </a:endParaRPr>
          </a:p>
        </p:txBody>
      </p:sp>
      <p:grpSp>
        <p:nvGrpSpPr>
          <p:cNvPr id="1119" name="Google Shape;1119;p73"/>
          <p:cNvGrpSpPr/>
          <p:nvPr/>
        </p:nvGrpSpPr>
        <p:grpSpPr>
          <a:xfrm>
            <a:off x="11998459" y="6162188"/>
            <a:ext cx="68500" cy="441925"/>
            <a:chOff x="11998459" y="6162188"/>
            <a:chExt cx="68500" cy="441925"/>
          </a:xfrm>
        </p:grpSpPr>
        <p:sp>
          <p:nvSpPr>
            <p:cNvPr id="1120" name="Google Shape;1120;p73"/>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121" name="Google Shape;1121;p73"/>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122" name="Google Shape;1122;p73"/>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123" name="Google Shape;1123;p73"/>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124" name="Google Shape;1124;p73"/>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125" name="Google Shape;1125;p73"/>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126" name="Google Shape;1126;p73"/>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127" name="Google Shape;1127;p73"/>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128" name="Google Shape;1128;p73"/>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129" name="Google Shape;1129;p73"/>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130" name="Google Shape;1130;p73"/>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131" name="Google Shape;1131;p73"/>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132" name="Google Shape;1132;p73"/>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sp>
        <p:nvSpPr>
          <p:cNvPr id="1133" name="Google Shape;1133;p73"/>
          <p:cNvSpPr txBox="1"/>
          <p:nvPr/>
        </p:nvSpPr>
        <p:spPr>
          <a:xfrm rot="-5400000">
            <a:off x="11250971" y="5359001"/>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FFFFFF"/>
              </a:buClr>
              <a:buSzPts val="800"/>
              <a:buFont typeface="Arial"/>
              <a:buNone/>
            </a:pPr>
            <a:r>
              <a:rPr lang="en-US" sz="800" b="0" i="0" u="none" strike="noStrike" cap="none">
                <a:solidFill>
                  <a:srgbClr val="FFFFFF"/>
                </a:solidFill>
                <a:latin typeface="Calibri"/>
                <a:ea typeface="Calibri"/>
                <a:cs typeface="Calibri"/>
                <a:sym typeface="Calibri"/>
              </a:rPr>
              <a:t>Copyright © 2020. All rights reserved.</a:t>
            </a:r>
            <a:endParaRPr sz="1400" b="0" i="0" u="none" strike="noStrike" cap="none">
              <a:solidFill>
                <a:srgbClr val="000000"/>
              </a:solidFill>
              <a:latin typeface="Arial"/>
              <a:ea typeface="Arial"/>
              <a:cs typeface="Arial"/>
              <a:sym typeface="Arial"/>
            </a:endParaRPr>
          </a:p>
        </p:txBody>
      </p:sp>
      <p:sp>
        <p:nvSpPr>
          <p:cNvPr id="1134" name="Google Shape;1134;p73"/>
          <p:cNvSpPr txBox="1">
            <a:spLocks noGrp="1"/>
          </p:cNvSpPr>
          <p:nvPr>
            <p:ph type="title"/>
          </p:nvPr>
        </p:nvSpPr>
        <p:spPr>
          <a:xfrm>
            <a:off x="539400" y="560588"/>
            <a:ext cx="8218518" cy="830997"/>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000"/>
              <a:buFont typeface="Franklin Gothic"/>
              <a:buNone/>
            </a:pPr>
            <a:r>
              <a:rPr lang="en-US" sz="3000">
                <a:solidFill>
                  <a:schemeClr val="dk2"/>
                </a:solidFill>
                <a:latin typeface="Franklin Gothic"/>
                <a:ea typeface="Franklin Gothic"/>
                <a:cs typeface="Franklin Gothic"/>
                <a:sym typeface="Franklin Gothic"/>
              </a:rPr>
              <a:t>To increase </a:t>
            </a:r>
            <a:r>
              <a:rPr lang="en-US" sz="3000"/>
              <a:t>your performance, y</a:t>
            </a:r>
            <a:r>
              <a:rPr lang="en-US" sz="3000">
                <a:solidFill>
                  <a:schemeClr val="dk2"/>
                </a:solidFill>
                <a:latin typeface="Franklin Gothic"/>
                <a:ea typeface="Franklin Gothic"/>
                <a:cs typeface="Franklin Gothic"/>
                <a:sym typeface="Franklin Gothic"/>
              </a:rPr>
              <a:t>ou need to focus on your core capabilities and outsource others</a:t>
            </a:r>
            <a:endParaRPr/>
          </a:p>
        </p:txBody>
      </p:sp>
      <p:sp>
        <p:nvSpPr>
          <p:cNvPr id="1135" name="Google Shape;1135;p73"/>
          <p:cNvSpPr txBox="1"/>
          <p:nvPr/>
        </p:nvSpPr>
        <p:spPr>
          <a:xfrm>
            <a:off x="539399" y="1635411"/>
            <a:ext cx="3160155" cy="467820"/>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7F7F7F"/>
              </a:buClr>
              <a:buSzPts val="1600"/>
              <a:buFont typeface="Arial"/>
              <a:buNone/>
            </a:pPr>
            <a:r>
              <a:rPr lang="en-US" sz="1600" b="0" i="0" u="none" strike="noStrike" cap="none" dirty="0">
                <a:solidFill>
                  <a:srgbClr val="7F7F7F"/>
                </a:solidFill>
                <a:latin typeface="Franklin Gothic"/>
                <a:ea typeface="Franklin Gothic"/>
                <a:cs typeface="Franklin Gothic"/>
                <a:sym typeface="Franklin Gothic"/>
              </a:rPr>
              <a:t>Entities need to operate a number of different activities...</a:t>
            </a:r>
            <a:endParaRPr sz="1400" b="0" i="0" u="none" strike="noStrike" cap="none" dirty="0">
              <a:solidFill>
                <a:srgbClr val="000000"/>
              </a:solidFill>
              <a:latin typeface="Arial"/>
              <a:ea typeface="Arial"/>
              <a:cs typeface="Arial"/>
              <a:sym typeface="Arial"/>
            </a:endParaRPr>
          </a:p>
        </p:txBody>
      </p:sp>
      <p:sp>
        <p:nvSpPr>
          <p:cNvPr id="1136" name="Google Shape;1136;p73"/>
          <p:cNvSpPr txBox="1"/>
          <p:nvPr/>
        </p:nvSpPr>
        <p:spPr>
          <a:xfrm>
            <a:off x="4341436" y="1635411"/>
            <a:ext cx="4152088" cy="467820"/>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7F7F7F"/>
              </a:buClr>
              <a:buSzPts val="1600"/>
              <a:buFont typeface="Arial"/>
              <a:buNone/>
            </a:pPr>
            <a:r>
              <a:rPr lang="en-US" sz="1600" b="0" i="0" u="none" strike="noStrike" cap="none" dirty="0">
                <a:solidFill>
                  <a:srgbClr val="7F7F7F"/>
                </a:solidFill>
                <a:latin typeface="Franklin Gothic"/>
                <a:ea typeface="Franklin Gothic"/>
                <a:cs typeface="Franklin Gothic"/>
                <a:sym typeface="Franklin Gothic"/>
              </a:rPr>
              <a:t>Investing in non-core capabilities is generally a bad choice because it</a:t>
            </a:r>
            <a:endParaRPr sz="1400" b="0" i="0" u="none" strike="noStrike" cap="none" dirty="0">
              <a:solidFill>
                <a:srgbClr val="000000"/>
              </a:solidFill>
              <a:latin typeface="Arial"/>
              <a:ea typeface="Arial"/>
              <a:cs typeface="Arial"/>
              <a:sym typeface="Arial"/>
            </a:endParaRPr>
          </a:p>
        </p:txBody>
      </p:sp>
      <p:sp>
        <p:nvSpPr>
          <p:cNvPr id="1137" name="Google Shape;1137;p73"/>
          <p:cNvSpPr txBox="1"/>
          <p:nvPr/>
        </p:nvSpPr>
        <p:spPr>
          <a:xfrm>
            <a:off x="9071721" y="1677163"/>
            <a:ext cx="2735817" cy="470898"/>
          </a:xfrm>
          <a:prstGeom prst="rect">
            <a:avLst/>
          </a:prstGeom>
          <a:noFill/>
          <a:ln>
            <a:noFill/>
          </a:ln>
        </p:spPr>
        <p:txBody>
          <a:bodyPr spcFirstLastPara="1" wrap="square" lIns="0" tIns="0" rIns="0" bIns="0" anchor="t" anchorCtr="0">
            <a:spAutoFit/>
          </a:bodyPr>
          <a:lstStyle/>
          <a:p>
            <a:pPr marL="0" marR="0" lvl="0" indent="0" algn="l" rtl="0">
              <a:lnSpc>
                <a:spcPct val="85000"/>
              </a:lnSpc>
              <a:spcBef>
                <a:spcPts val="0"/>
              </a:spcBef>
              <a:spcAft>
                <a:spcPts val="0"/>
              </a:spcAft>
              <a:buClr>
                <a:srgbClr val="43E1D3"/>
              </a:buClr>
              <a:buSzPts val="1800"/>
              <a:buFont typeface="Arial"/>
              <a:buNone/>
            </a:pPr>
            <a:r>
              <a:rPr lang="en-US" sz="1800" b="0" i="0" u="none" strike="noStrike" cap="none">
                <a:solidFill>
                  <a:srgbClr val="43E1D3"/>
                </a:solidFill>
                <a:latin typeface="Franklin Gothic"/>
                <a:ea typeface="Franklin Gothic"/>
                <a:cs typeface="Franklin Gothic"/>
                <a:sym typeface="Franklin Gothic"/>
              </a:rPr>
              <a:t>Successful outsourcing comes from</a:t>
            </a:r>
            <a:endParaRPr sz="1400" b="0" i="0" u="none" strike="noStrike" cap="none">
              <a:solidFill>
                <a:srgbClr val="000000"/>
              </a:solidFill>
              <a:latin typeface="Arial"/>
              <a:ea typeface="Arial"/>
              <a:cs typeface="Arial"/>
              <a:sym typeface="Arial"/>
            </a:endParaRPr>
          </a:p>
        </p:txBody>
      </p:sp>
      <p:sp>
        <p:nvSpPr>
          <p:cNvPr id="1138" name="Google Shape;1138;p73"/>
          <p:cNvSpPr txBox="1"/>
          <p:nvPr/>
        </p:nvSpPr>
        <p:spPr>
          <a:xfrm>
            <a:off x="9701952" y="2594296"/>
            <a:ext cx="1956120" cy="935641"/>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FFFFFF"/>
              </a:buClr>
              <a:buSzPts val="1600"/>
              <a:buFont typeface="Arial"/>
              <a:buNone/>
            </a:pPr>
            <a:r>
              <a:rPr lang="en-US" sz="1600" b="0" i="0" u="none" strike="noStrike" cap="none" dirty="0">
                <a:solidFill>
                  <a:srgbClr val="FFFFFF"/>
                </a:solidFill>
                <a:latin typeface="Calibri"/>
                <a:ea typeface="Calibri"/>
                <a:cs typeface="Calibri"/>
                <a:sym typeface="Calibri"/>
              </a:rPr>
              <a:t>Partner expertise in the field gained through scale and exposure to multiple clients</a:t>
            </a:r>
            <a:endParaRPr sz="1400" b="0" i="0" u="none" strike="noStrike" cap="none" dirty="0">
              <a:solidFill>
                <a:srgbClr val="000000"/>
              </a:solidFill>
              <a:latin typeface="Arial"/>
              <a:ea typeface="Arial"/>
              <a:cs typeface="Arial"/>
              <a:sym typeface="Arial"/>
            </a:endParaRPr>
          </a:p>
        </p:txBody>
      </p:sp>
      <p:sp>
        <p:nvSpPr>
          <p:cNvPr id="1139" name="Google Shape;1139;p73"/>
          <p:cNvSpPr txBox="1"/>
          <p:nvPr/>
        </p:nvSpPr>
        <p:spPr>
          <a:xfrm>
            <a:off x="9701952" y="3760109"/>
            <a:ext cx="1956120" cy="467820"/>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FFFFFF"/>
              </a:buClr>
              <a:buSzPts val="1600"/>
              <a:buFont typeface="Arial"/>
              <a:buNone/>
            </a:pPr>
            <a:r>
              <a:rPr lang="en-US" sz="1600" b="0" i="0" u="none" strike="noStrike" cap="none" dirty="0">
                <a:solidFill>
                  <a:srgbClr val="FFFFFF"/>
                </a:solidFill>
                <a:latin typeface="Calibri"/>
                <a:ea typeface="Calibri"/>
                <a:cs typeface="Calibri"/>
                <a:sym typeface="Calibri"/>
              </a:rPr>
              <a:t>Transparency over the partner operations</a:t>
            </a:r>
            <a:endParaRPr sz="1400" b="0" i="0" u="none" strike="noStrike" cap="none" dirty="0">
              <a:solidFill>
                <a:srgbClr val="000000"/>
              </a:solidFill>
              <a:latin typeface="Arial"/>
              <a:ea typeface="Arial"/>
              <a:cs typeface="Arial"/>
              <a:sym typeface="Arial"/>
            </a:endParaRPr>
          </a:p>
        </p:txBody>
      </p:sp>
      <p:sp>
        <p:nvSpPr>
          <p:cNvPr id="1140" name="Google Shape;1140;p73"/>
          <p:cNvSpPr txBox="1"/>
          <p:nvPr/>
        </p:nvSpPr>
        <p:spPr>
          <a:xfrm>
            <a:off x="9701952" y="4458102"/>
            <a:ext cx="1956120" cy="1169551"/>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FFFFFF"/>
              </a:buClr>
              <a:buSzPts val="1600"/>
              <a:buFont typeface="Arial"/>
              <a:buNone/>
            </a:pPr>
            <a:r>
              <a:rPr lang="en-US" sz="1600" b="0" i="0" u="none" strike="noStrike" cap="none" dirty="0">
                <a:solidFill>
                  <a:srgbClr val="FFFFFF"/>
                </a:solidFill>
                <a:latin typeface="Calibri"/>
                <a:ea typeface="Calibri"/>
                <a:cs typeface="Calibri"/>
                <a:sym typeface="Calibri"/>
              </a:rPr>
              <a:t>Partner’s scalability and cost competitiveness, driven in particular by the locations where the partner operates</a:t>
            </a:r>
            <a:endParaRPr sz="1400" b="0" i="0" u="none" strike="noStrike" cap="none" dirty="0">
              <a:solidFill>
                <a:srgbClr val="000000"/>
              </a:solidFill>
              <a:latin typeface="Arial"/>
              <a:ea typeface="Arial"/>
              <a:cs typeface="Arial"/>
              <a:sym typeface="Arial"/>
            </a:endParaRPr>
          </a:p>
        </p:txBody>
      </p:sp>
      <p:sp>
        <p:nvSpPr>
          <p:cNvPr id="1141" name="Google Shape;1141;p73"/>
          <p:cNvSpPr txBox="1"/>
          <p:nvPr/>
        </p:nvSpPr>
        <p:spPr>
          <a:xfrm>
            <a:off x="4341436" y="2279476"/>
            <a:ext cx="3880015" cy="1381917"/>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rgbClr val="0F47F2"/>
              </a:buClr>
              <a:buSzPts val="1260"/>
              <a:buFont typeface="Noto Sans Symbols"/>
              <a:buChar char="▪"/>
            </a:pPr>
            <a:r>
              <a:rPr lang="en-US" sz="1400" b="0" i="0" u="none" strike="noStrike" cap="none" dirty="0">
                <a:solidFill>
                  <a:srgbClr val="444444"/>
                </a:solidFill>
                <a:latin typeface="Calibri"/>
                <a:ea typeface="Calibri"/>
                <a:cs typeface="Calibri"/>
                <a:sym typeface="Calibri"/>
              </a:rPr>
              <a:t>Uses capital which would be better invested in the core capabilities</a:t>
            </a:r>
            <a:endParaRPr sz="1400" b="0" i="0" u="none" strike="noStrike" cap="none" dirty="0">
              <a:solidFill>
                <a:srgbClr val="000000"/>
              </a:solidFill>
              <a:latin typeface="Arial"/>
              <a:ea typeface="Arial"/>
              <a:cs typeface="Arial"/>
              <a:sym typeface="Arial"/>
            </a:endParaRPr>
          </a:p>
          <a:p>
            <a:pPr marL="176213" marR="0" lvl="1" indent="-176213" algn="l" rtl="0">
              <a:lnSpc>
                <a:spcPct val="95000"/>
              </a:lnSpc>
              <a:spcBef>
                <a:spcPts val="300"/>
              </a:spcBef>
              <a:spcAft>
                <a:spcPts val="0"/>
              </a:spcAft>
              <a:buClr>
                <a:srgbClr val="0F47F2"/>
              </a:buClr>
              <a:buSzPts val="1260"/>
              <a:buFont typeface="Noto Sans Symbols"/>
              <a:buChar char="▪"/>
            </a:pPr>
            <a:r>
              <a:rPr lang="en-US" sz="1400" b="0" i="0" u="none" strike="noStrike" cap="none" dirty="0">
                <a:solidFill>
                  <a:srgbClr val="444444"/>
                </a:solidFill>
                <a:latin typeface="Calibri"/>
                <a:ea typeface="Calibri"/>
                <a:cs typeface="Calibri"/>
                <a:sym typeface="Calibri"/>
              </a:rPr>
              <a:t>Divests management attention</a:t>
            </a:r>
            <a:endParaRPr sz="1400" b="0" i="0" u="none" strike="noStrike" cap="none" dirty="0">
              <a:solidFill>
                <a:srgbClr val="000000"/>
              </a:solidFill>
              <a:latin typeface="Arial"/>
              <a:ea typeface="Arial"/>
              <a:cs typeface="Arial"/>
              <a:sym typeface="Arial"/>
            </a:endParaRPr>
          </a:p>
          <a:p>
            <a:pPr marL="176213" marR="0" lvl="1" indent="-176213" algn="l" rtl="0">
              <a:lnSpc>
                <a:spcPct val="95000"/>
              </a:lnSpc>
              <a:spcBef>
                <a:spcPts val="300"/>
              </a:spcBef>
              <a:spcAft>
                <a:spcPts val="0"/>
              </a:spcAft>
              <a:buClr>
                <a:srgbClr val="0F47F2"/>
              </a:buClr>
              <a:buSzPts val="1260"/>
              <a:buFont typeface="Noto Sans Symbols"/>
              <a:buChar char="▪"/>
            </a:pPr>
            <a:r>
              <a:rPr lang="en-US" sz="1400" b="0" i="0" u="none" strike="noStrike" cap="none" dirty="0">
                <a:solidFill>
                  <a:srgbClr val="444444"/>
                </a:solidFill>
                <a:latin typeface="Calibri"/>
                <a:ea typeface="Calibri"/>
                <a:cs typeface="Calibri"/>
                <a:sym typeface="Calibri"/>
              </a:rPr>
              <a:t>Often doesn’t yield the expected results due to:</a:t>
            </a:r>
            <a:endParaRPr sz="1400" b="0" i="0" u="none" strike="noStrike" cap="none" dirty="0">
              <a:solidFill>
                <a:srgbClr val="000000"/>
              </a:solidFill>
              <a:latin typeface="Arial"/>
              <a:ea typeface="Arial"/>
              <a:cs typeface="Arial"/>
              <a:sym typeface="Arial"/>
            </a:endParaRPr>
          </a:p>
          <a:p>
            <a:pPr marL="358775" marR="0" lvl="2" indent="-179387" algn="l" rtl="0">
              <a:lnSpc>
                <a:spcPct val="95000"/>
              </a:lnSpc>
              <a:spcBef>
                <a:spcPts val="300"/>
              </a:spcBef>
              <a:spcAft>
                <a:spcPts val="0"/>
              </a:spcAft>
              <a:buClr>
                <a:srgbClr val="0F47F2"/>
              </a:buClr>
              <a:buSzPts val="1400"/>
              <a:buFont typeface="Calibri"/>
              <a:buChar char="−"/>
            </a:pPr>
            <a:r>
              <a:rPr lang="en-US" sz="1400" b="0" i="0" u="none" strike="noStrike" cap="none" dirty="0">
                <a:solidFill>
                  <a:srgbClr val="444444"/>
                </a:solidFill>
                <a:latin typeface="Calibri"/>
                <a:ea typeface="Calibri"/>
                <a:cs typeface="Calibri"/>
                <a:sym typeface="Calibri"/>
              </a:rPr>
              <a:t>lack of expertise</a:t>
            </a:r>
            <a:endParaRPr sz="1400" b="0" i="0" u="none" strike="noStrike" cap="none" dirty="0">
              <a:solidFill>
                <a:srgbClr val="000000"/>
              </a:solidFill>
              <a:latin typeface="Arial"/>
              <a:ea typeface="Arial"/>
              <a:cs typeface="Arial"/>
              <a:sym typeface="Arial"/>
            </a:endParaRPr>
          </a:p>
          <a:p>
            <a:pPr marL="358775" marR="0" lvl="2" indent="-179387" algn="l" rtl="0">
              <a:lnSpc>
                <a:spcPct val="95000"/>
              </a:lnSpc>
              <a:spcBef>
                <a:spcPts val="300"/>
              </a:spcBef>
              <a:spcAft>
                <a:spcPts val="0"/>
              </a:spcAft>
              <a:buClr>
                <a:srgbClr val="0F47F2"/>
              </a:buClr>
              <a:buSzPts val="1400"/>
              <a:buFont typeface="Calibri"/>
              <a:buChar char="−"/>
            </a:pPr>
            <a:r>
              <a:rPr lang="en-US" sz="1400" b="0" i="0" u="none" strike="noStrike" cap="none" dirty="0">
                <a:solidFill>
                  <a:srgbClr val="444444"/>
                </a:solidFill>
                <a:latin typeface="Calibri"/>
                <a:ea typeface="Calibri"/>
                <a:cs typeface="Calibri"/>
                <a:sym typeface="Calibri"/>
              </a:rPr>
              <a:t>lack of scale</a:t>
            </a:r>
            <a:endParaRPr sz="1400" b="0" i="0" u="none" strike="noStrike" cap="none" dirty="0">
              <a:solidFill>
                <a:srgbClr val="000000"/>
              </a:solidFill>
              <a:latin typeface="Arial"/>
              <a:ea typeface="Arial"/>
              <a:cs typeface="Arial"/>
              <a:sym typeface="Arial"/>
            </a:endParaRPr>
          </a:p>
        </p:txBody>
      </p:sp>
      <p:grpSp>
        <p:nvGrpSpPr>
          <p:cNvPr id="1142" name="Google Shape;1142;p73"/>
          <p:cNvGrpSpPr/>
          <p:nvPr/>
        </p:nvGrpSpPr>
        <p:grpSpPr>
          <a:xfrm>
            <a:off x="809066" y="2286825"/>
            <a:ext cx="731520" cy="731520"/>
            <a:chOff x="550944" y="2540755"/>
            <a:chExt cx="917436" cy="917437"/>
          </a:xfrm>
        </p:grpSpPr>
        <p:sp>
          <p:nvSpPr>
            <p:cNvPr id="1143" name="Google Shape;1143;p73"/>
            <p:cNvSpPr/>
            <p:nvPr/>
          </p:nvSpPr>
          <p:spPr>
            <a:xfrm>
              <a:off x="550944" y="2540755"/>
              <a:ext cx="917436" cy="917437"/>
            </a:xfrm>
            <a:prstGeom prst="ellipse">
              <a:avLst/>
            </a:prstGeom>
            <a:gradFill>
              <a:gsLst>
                <a:gs pos="0">
                  <a:srgbClr val="CDD9FC"/>
                </a:gs>
                <a:gs pos="38000">
                  <a:srgbClr val="CDD9FC"/>
                </a:gs>
                <a:gs pos="88000">
                  <a:schemeClr val="lt1"/>
                </a:gs>
                <a:gs pos="100000">
                  <a:schemeClr val="lt1"/>
                </a:gs>
              </a:gsLst>
              <a:lin ang="5400000" scaled="0"/>
            </a:gradFill>
            <a:ln>
              <a:noFill/>
            </a:ln>
          </p:spPr>
          <p:txBody>
            <a:bodyPr spcFirstLastPara="1" wrap="square" lIns="0" tIns="468000" rIns="0" bIns="0" anchor="ctr" anchorCtr="0">
              <a:noAutofit/>
            </a:bodyPr>
            <a:lstStyle/>
            <a:p>
              <a:pPr marL="0" marR="0" lvl="0" indent="0" algn="ctr" rtl="0">
                <a:lnSpc>
                  <a:spcPct val="100000"/>
                </a:lnSpc>
                <a:spcBef>
                  <a:spcPts val="0"/>
                </a:spcBef>
                <a:spcAft>
                  <a:spcPts val="0"/>
                </a:spcAft>
                <a:buClr>
                  <a:srgbClr val="444444"/>
                </a:buClr>
                <a:buSzPts val="1200"/>
                <a:buFont typeface="Arial"/>
                <a:buNone/>
              </a:pPr>
              <a:r>
                <a:rPr lang="en-US" sz="1200" b="1" i="0" u="none" strike="noStrike" cap="none">
                  <a:solidFill>
                    <a:srgbClr val="444444"/>
                  </a:solidFill>
                  <a:latin typeface="Calibri"/>
                  <a:ea typeface="Calibri"/>
                  <a:cs typeface="Calibri"/>
                  <a:sym typeface="Calibri"/>
                </a:rPr>
                <a:t>Finance</a:t>
              </a:r>
              <a:endParaRPr sz="1400" b="1" i="0" u="none" strike="noStrike" cap="none">
                <a:solidFill>
                  <a:srgbClr val="444444"/>
                </a:solidFill>
                <a:latin typeface="Calibri"/>
                <a:ea typeface="Calibri"/>
                <a:cs typeface="Calibri"/>
                <a:sym typeface="Calibri"/>
              </a:endParaRPr>
            </a:p>
          </p:txBody>
        </p:sp>
        <p:pic>
          <p:nvPicPr>
            <p:cNvPr id="1144" name="Google Shape;1144;p73"/>
            <p:cNvPicPr preferRelativeResize="0"/>
            <p:nvPr/>
          </p:nvPicPr>
          <p:blipFill rotWithShape="1">
            <a:blip r:embed="rId3">
              <a:alphaModFix/>
            </a:blip>
            <a:srcRect/>
            <a:stretch/>
          </p:blipFill>
          <p:spPr>
            <a:xfrm>
              <a:off x="824059" y="2704494"/>
              <a:ext cx="371207" cy="371207"/>
            </a:xfrm>
            <a:prstGeom prst="rect">
              <a:avLst/>
            </a:prstGeom>
            <a:noFill/>
            <a:ln>
              <a:noFill/>
            </a:ln>
          </p:spPr>
        </p:pic>
      </p:grpSp>
      <p:grpSp>
        <p:nvGrpSpPr>
          <p:cNvPr id="1145" name="Google Shape;1145;p73"/>
          <p:cNvGrpSpPr/>
          <p:nvPr/>
        </p:nvGrpSpPr>
        <p:grpSpPr>
          <a:xfrm>
            <a:off x="1690194" y="2286825"/>
            <a:ext cx="731520" cy="731520"/>
            <a:chOff x="1571619" y="2540755"/>
            <a:chExt cx="917436" cy="917437"/>
          </a:xfrm>
        </p:grpSpPr>
        <p:sp>
          <p:nvSpPr>
            <p:cNvPr id="1146" name="Google Shape;1146;p73"/>
            <p:cNvSpPr/>
            <p:nvPr/>
          </p:nvSpPr>
          <p:spPr>
            <a:xfrm>
              <a:off x="1571619" y="2540755"/>
              <a:ext cx="917436" cy="917437"/>
            </a:xfrm>
            <a:prstGeom prst="ellipse">
              <a:avLst/>
            </a:prstGeom>
            <a:gradFill>
              <a:gsLst>
                <a:gs pos="0">
                  <a:srgbClr val="CDD9FC"/>
                </a:gs>
                <a:gs pos="38000">
                  <a:srgbClr val="CDD9FC"/>
                </a:gs>
                <a:gs pos="88000">
                  <a:schemeClr val="lt1"/>
                </a:gs>
                <a:gs pos="100000">
                  <a:schemeClr val="lt1"/>
                </a:gs>
              </a:gsLst>
              <a:lin ang="5400000" scaled="0"/>
            </a:gradFill>
            <a:ln>
              <a:noFill/>
            </a:ln>
          </p:spPr>
          <p:txBody>
            <a:bodyPr spcFirstLastPara="1" wrap="square" lIns="0" tIns="468000" rIns="0" bIns="0" anchor="ctr" anchorCtr="0">
              <a:noAutofit/>
            </a:bodyPr>
            <a:lstStyle/>
            <a:p>
              <a:pPr marL="0" marR="0" lvl="0" indent="0" algn="ctr" rtl="0">
                <a:lnSpc>
                  <a:spcPct val="100000"/>
                </a:lnSpc>
                <a:spcBef>
                  <a:spcPts val="0"/>
                </a:spcBef>
                <a:spcAft>
                  <a:spcPts val="0"/>
                </a:spcAft>
                <a:buClr>
                  <a:srgbClr val="444444"/>
                </a:buClr>
                <a:buSzPts val="1200"/>
                <a:buFont typeface="Arial"/>
                <a:buNone/>
              </a:pPr>
              <a:r>
                <a:rPr lang="en-US" sz="1200" b="1" i="0" u="none" strike="noStrike" cap="none">
                  <a:solidFill>
                    <a:srgbClr val="444444"/>
                  </a:solidFill>
                  <a:latin typeface="Calibri"/>
                  <a:ea typeface="Calibri"/>
                  <a:cs typeface="Calibri"/>
                  <a:sym typeface="Calibri"/>
                </a:rPr>
                <a:t>HR</a:t>
              </a:r>
              <a:endParaRPr sz="1400" b="1" i="0" u="none" strike="noStrike" cap="none">
                <a:solidFill>
                  <a:srgbClr val="444444"/>
                </a:solidFill>
                <a:latin typeface="Calibri"/>
                <a:ea typeface="Calibri"/>
                <a:cs typeface="Calibri"/>
                <a:sym typeface="Calibri"/>
              </a:endParaRPr>
            </a:p>
          </p:txBody>
        </p:sp>
        <p:pic>
          <p:nvPicPr>
            <p:cNvPr id="1147" name="Google Shape;1147;p73"/>
            <p:cNvPicPr preferRelativeResize="0"/>
            <p:nvPr/>
          </p:nvPicPr>
          <p:blipFill rotWithShape="1">
            <a:blip r:embed="rId4">
              <a:alphaModFix/>
            </a:blip>
            <a:srcRect/>
            <a:stretch/>
          </p:blipFill>
          <p:spPr>
            <a:xfrm>
              <a:off x="1806513" y="2674907"/>
              <a:ext cx="420578" cy="420578"/>
            </a:xfrm>
            <a:prstGeom prst="rect">
              <a:avLst/>
            </a:prstGeom>
            <a:noFill/>
            <a:ln>
              <a:noFill/>
            </a:ln>
          </p:spPr>
        </p:pic>
      </p:grpSp>
      <p:grpSp>
        <p:nvGrpSpPr>
          <p:cNvPr id="1148" name="Google Shape;1148;p73"/>
          <p:cNvGrpSpPr/>
          <p:nvPr/>
        </p:nvGrpSpPr>
        <p:grpSpPr>
          <a:xfrm>
            <a:off x="2581788" y="2286825"/>
            <a:ext cx="731520" cy="731520"/>
            <a:chOff x="2604418" y="2540755"/>
            <a:chExt cx="917436" cy="917437"/>
          </a:xfrm>
        </p:grpSpPr>
        <p:sp>
          <p:nvSpPr>
            <p:cNvPr id="1149" name="Google Shape;1149;p73"/>
            <p:cNvSpPr/>
            <p:nvPr/>
          </p:nvSpPr>
          <p:spPr>
            <a:xfrm>
              <a:off x="2604418" y="2540755"/>
              <a:ext cx="917436" cy="917437"/>
            </a:xfrm>
            <a:prstGeom prst="ellipse">
              <a:avLst/>
            </a:prstGeom>
            <a:gradFill>
              <a:gsLst>
                <a:gs pos="0">
                  <a:srgbClr val="CDD9FC"/>
                </a:gs>
                <a:gs pos="38000">
                  <a:srgbClr val="CDD9FC"/>
                </a:gs>
                <a:gs pos="88000">
                  <a:schemeClr val="lt1"/>
                </a:gs>
                <a:gs pos="100000">
                  <a:schemeClr val="lt1"/>
                </a:gs>
              </a:gsLst>
              <a:lin ang="5400000" scaled="0"/>
            </a:gradFill>
            <a:ln>
              <a:noFill/>
            </a:ln>
          </p:spPr>
          <p:txBody>
            <a:bodyPr spcFirstLastPara="1" wrap="square" lIns="0" tIns="468000" rIns="0" bIns="0" anchor="ctr" anchorCtr="0">
              <a:noAutofit/>
            </a:bodyPr>
            <a:lstStyle/>
            <a:p>
              <a:pPr marL="0" marR="0" lvl="0" indent="0" algn="ctr" rtl="0">
                <a:lnSpc>
                  <a:spcPct val="100000"/>
                </a:lnSpc>
                <a:spcBef>
                  <a:spcPts val="0"/>
                </a:spcBef>
                <a:spcAft>
                  <a:spcPts val="0"/>
                </a:spcAft>
                <a:buClr>
                  <a:srgbClr val="444444"/>
                </a:buClr>
                <a:buSzPts val="1200"/>
                <a:buFont typeface="Arial"/>
                <a:buNone/>
              </a:pPr>
              <a:r>
                <a:rPr lang="en-US" sz="1200" b="1" i="0" u="none" strike="noStrike" cap="none">
                  <a:solidFill>
                    <a:srgbClr val="444444"/>
                  </a:solidFill>
                  <a:latin typeface="Calibri"/>
                  <a:ea typeface="Calibri"/>
                  <a:cs typeface="Calibri"/>
                  <a:sym typeface="Calibri"/>
                </a:rPr>
                <a:t>Supply</a:t>
              </a:r>
              <a:br>
                <a:rPr lang="en-US" sz="1200" b="1" i="0" u="none" strike="noStrike" cap="none">
                  <a:solidFill>
                    <a:srgbClr val="444444"/>
                  </a:solidFill>
                  <a:latin typeface="Calibri"/>
                  <a:ea typeface="Calibri"/>
                  <a:cs typeface="Calibri"/>
                  <a:sym typeface="Calibri"/>
                </a:rPr>
              </a:br>
              <a:r>
                <a:rPr lang="en-US" sz="1200" b="1" i="0" u="none" strike="noStrike" cap="none">
                  <a:solidFill>
                    <a:srgbClr val="444444"/>
                  </a:solidFill>
                  <a:latin typeface="Calibri"/>
                  <a:ea typeface="Calibri"/>
                  <a:cs typeface="Calibri"/>
                  <a:sym typeface="Calibri"/>
                </a:rPr>
                <a:t>Chain</a:t>
              </a:r>
              <a:endParaRPr sz="1200" b="1" i="0" u="none" strike="noStrike" cap="none">
                <a:solidFill>
                  <a:srgbClr val="444444"/>
                </a:solidFill>
                <a:latin typeface="Calibri"/>
                <a:ea typeface="Calibri"/>
                <a:cs typeface="Calibri"/>
                <a:sym typeface="Calibri"/>
              </a:endParaRPr>
            </a:p>
          </p:txBody>
        </p:sp>
        <p:pic>
          <p:nvPicPr>
            <p:cNvPr id="1150" name="Google Shape;1150;p73"/>
            <p:cNvPicPr preferRelativeResize="0"/>
            <p:nvPr/>
          </p:nvPicPr>
          <p:blipFill rotWithShape="1">
            <a:blip r:embed="rId5">
              <a:alphaModFix/>
            </a:blip>
            <a:srcRect/>
            <a:stretch/>
          </p:blipFill>
          <p:spPr>
            <a:xfrm>
              <a:off x="2889659" y="2643886"/>
              <a:ext cx="413806" cy="413806"/>
            </a:xfrm>
            <a:prstGeom prst="rect">
              <a:avLst/>
            </a:prstGeom>
            <a:noFill/>
            <a:ln>
              <a:noFill/>
            </a:ln>
          </p:spPr>
        </p:pic>
      </p:grpSp>
      <p:sp>
        <p:nvSpPr>
          <p:cNvPr id="1151" name="Google Shape;1151;p73"/>
          <p:cNvSpPr/>
          <p:nvPr/>
        </p:nvSpPr>
        <p:spPr>
          <a:xfrm>
            <a:off x="929039" y="3091714"/>
            <a:ext cx="1016317" cy="731520"/>
          </a:xfrm>
          <a:prstGeom prst="ellipse">
            <a:avLst/>
          </a:prstGeom>
          <a:gradFill>
            <a:gsLst>
              <a:gs pos="0">
                <a:srgbClr val="CDD9FC"/>
              </a:gs>
              <a:gs pos="38000">
                <a:srgbClr val="CDD9FC"/>
              </a:gs>
              <a:gs pos="88000">
                <a:schemeClr val="lt1"/>
              </a:gs>
              <a:gs pos="100000">
                <a:schemeClr val="lt1"/>
              </a:gs>
            </a:gsLst>
            <a:lin ang="5400000" scaled="0"/>
          </a:gradFill>
          <a:ln>
            <a:noFill/>
          </a:ln>
        </p:spPr>
        <p:txBody>
          <a:bodyPr spcFirstLastPara="1" wrap="square" lIns="0" tIns="468000" rIns="0" bIns="0" anchor="ctr" anchorCtr="0">
            <a:noAutofit/>
          </a:bodyPr>
          <a:lstStyle/>
          <a:p>
            <a:pPr marL="0" marR="0" lvl="0" indent="0" algn="ctr" rtl="0">
              <a:lnSpc>
                <a:spcPct val="100000"/>
              </a:lnSpc>
              <a:spcBef>
                <a:spcPts val="0"/>
              </a:spcBef>
              <a:spcAft>
                <a:spcPts val="0"/>
              </a:spcAft>
              <a:buClr>
                <a:srgbClr val="444444"/>
              </a:buClr>
              <a:buSzPts val="1200"/>
              <a:buFont typeface="Arial"/>
              <a:buNone/>
            </a:pPr>
            <a:r>
              <a:rPr lang="en-US" sz="1200" b="1" i="0" u="none" strike="noStrike" cap="none">
                <a:solidFill>
                  <a:srgbClr val="444444"/>
                </a:solidFill>
                <a:latin typeface="Calibri"/>
                <a:ea typeface="Calibri"/>
                <a:cs typeface="Calibri"/>
                <a:sym typeface="Calibri"/>
              </a:rPr>
              <a:t>Marketing</a:t>
            </a:r>
            <a:endParaRPr sz="1400" b="1" i="0" u="none" strike="noStrike" cap="none">
              <a:solidFill>
                <a:srgbClr val="444444"/>
              </a:solidFill>
              <a:latin typeface="Calibri"/>
              <a:ea typeface="Calibri"/>
              <a:cs typeface="Calibri"/>
              <a:sym typeface="Calibri"/>
            </a:endParaRPr>
          </a:p>
        </p:txBody>
      </p:sp>
      <p:pic>
        <p:nvPicPr>
          <p:cNvPr id="1152" name="Google Shape;1152;p73"/>
          <p:cNvPicPr preferRelativeResize="0"/>
          <p:nvPr/>
        </p:nvPicPr>
        <p:blipFill rotWithShape="1">
          <a:blip r:embed="rId6">
            <a:alphaModFix/>
          </a:blip>
          <a:srcRect/>
          <a:stretch/>
        </p:blipFill>
        <p:spPr>
          <a:xfrm>
            <a:off x="1300246" y="3221935"/>
            <a:ext cx="326303" cy="327013"/>
          </a:xfrm>
          <a:prstGeom prst="rect">
            <a:avLst/>
          </a:prstGeom>
          <a:noFill/>
          <a:ln>
            <a:noFill/>
          </a:ln>
        </p:spPr>
      </p:pic>
      <p:grpSp>
        <p:nvGrpSpPr>
          <p:cNvPr id="1153" name="Google Shape;1153;p73"/>
          <p:cNvGrpSpPr/>
          <p:nvPr/>
        </p:nvGrpSpPr>
        <p:grpSpPr>
          <a:xfrm>
            <a:off x="2122846" y="3091714"/>
            <a:ext cx="1016317" cy="731520"/>
            <a:chOff x="2072793" y="3429131"/>
            <a:chExt cx="917436" cy="917437"/>
          </a:xfrm>
        </p:grpSpPr>
        <p:sp>
          <p:nvSpPr>
            <p:cNvPr id="1154" name="Google Shape;1154;p73"/>
            <p:cNvSpPr/>
            <p:nvPr/>
          </p:nvSpPr>
          <p:spPr>
            <a:xfrm>
              <a:off x="2072793" y="3429131"/>
              <a:ext cx="917436" cy="917437"/>
            </a:xfrm>
            <a:prstGeom prst="ellipse">
              <a:avLst/>
            </a:prstGeom>
            <a:gradFill>
              <a:gsLst>
                <a:gs pos="0">
                  <a:srgbClr val="CDD9FC"/>
                </a:gs>
                <a:gs pos="38000">
                  <a:srgbClr val="CDD9FC"/>
                </a:gs>
                <a:gs pos="88000">
                  <a:schemeClr val="lt1"/>
                </a:gs>
                <a:gs pos="100000">
                  <a:schemeClr val="lt1"/>
                </a:gs>
              </a:gsLst>
              <a:lin ang="5400000" scaled="0"/>
            </a:gradFill>
            <a:ln>
              <a:noFill/>
            </a:ln>
          </p:spPr>
          <p:txBody>
            <a:bodyPr spcFirstLastPara="1" wrap="square" lIns="0" tIns="468000" rIns="0" bIns="0" anchor="ctr" anchorCtr="0">
              <a:noAutofit/>
            </a:bodyPr>
            <a:lstStyle/>
            <a:p>
              <a:pPr marL="0" marR="0" lvl="0" indent="0" algn="ctr" rtl="0">
                <a:lnSpc>
                  <a:spcPct val="100000"/>
                </a:lnSpc>
                <a:spcBef>
                  <a:spcPts val="0"/>
                </a:spcBef>
                <a:spcAft>
                  <a:spcPts val="0"/>
                </a:spcAft>
                <a:buClr>
                  <a:srgbClr val="444444"/>
                </a:buClr>
                <a:buSzPts val="1200"/>
                <a:buFont typeface="Arial"/>
                <a:buNone/>
              </a:pPr>
              <a:r>
                <a:rPr lang="en-US" sz="1200" b="1" i="0" u="none" strike="noStrike" cap="none">
                  <a:solidFill>
                    <a:srgbClr val="444444"/>
                  </a:solidFill>
                  <a:latin typeface="Calibri"/>
                  <a:ea typeface="Calibri"/>
                  <a:cs typeface="Calibri"/>
                  <a:sym typeface="Calibri"/>
                </a:rPr>
                <a:t>Operations</a:t>
              </a:r>
              <a:endParaRPr sz="1400" b="1" i="0" u="none" strike="noStrike" cap="none">
                <a:solidFill>
                  <a:srgbClr val="444444"/>
                </a:solidFill>
                <a:latin typeface="Calibri"/>
                <a:ea typeface="Calibri"/>
                <a:cs typeface="Calibri"/>
                <a:sym typeface="Calibri"/>
              </a:endParaRPr>
            </a:p>
          </p:txBody>
        </p:sp>
        <p:pic>
          <p:nvPicPr>
            <p:cNvPr id="1155" name="Google Shape;1155;p73"/>
            <p:cNvPicPr preferRelativeResize="0"/>
            <p:nvPr/>
          </p:nvPicPr>
          <p:blipFill rotWithShape="1">
            <a:blip r:embed="rId7">
              <a:alphaModFix/>
            </a:blip>
            <a:srcRect/>
            <a:stretch/>
          </p:blipFill>
          <p:spPr>
            <a:xfrm>
              <a:off x="2344205" y="3588289"/>
              <a:ext cx="374612" cy="374612"/>
            </a:xfrm>
            <a:prstGeom prst="rect">
              <a:avLst/>
            </a:prstGeom>
            <a:noFill/>
            <a:ln>
              <a:noFill/>
            </a:ln>
          </p:spPr>
        </p:pic>
      </p:grpSp>
      <p:sp>
        <p:nvSpPr>
          <p:cNvPr id="1156" name="Google Shape;1156;p73"/>
          <p:cNvSpPr/>
          <p:nvPr/>
        </p:nvSpPr>
        <p:spPr>
          <a:xfrm>
            <a:off x="524269" y="3914184"/>
            <a:ext cx="1016317" cy="731520"/>
          </a:xfrm>
          <a:prstGeom prst="ellipse">
            <a:avLst/>
          </a:prstGeom>
          <a:gradFill>
            <a:gsLst>
              <a:gs pos="0">
                <a:srgbClr val="CDD9FC"/>
              </a:gs>
              <a:gs pos="38000">
                <a:srgbClr val="CDD9FC"/>
              </a:gs>
              <a:gs pos="88000">
                <a:schemeClr val="lt1"/>
              </a:gs>
              <a:gs pos="100000">
                <a:schemeClr val="lt1"/>
              </a:gs>
            </a:gsLst>
            <a:lin ang="5400000" scaled="0"/>
          </a:gradFill>
          <a:ln>
            <a:noFill/>
          </a:ln>
        </p:spPr>
        <p:txBody>
          <a:bodyPr spcFirstLastPara="1" wrap="square" lIns="0" tIns="468000" rIns="0" bIns="0" anchor="ctr" anchorCtr="0">
            <a:noAutofit/>
          </a:bodyPr>
          <a:lstStyle/>
          <a:p>
            <a:pPr marL="0" marR="0" lvl="0" indent="0" algn="ctr" rtl="0">
              <a:lnSpc>
                <a:spcPct val="100000"/>
              </a:lnSpc>
              <a:spcBef>
                <a:spcPts val="0"/>
              </a:spcBef>
              <a:spcAft>
                <a:spcPts val="0"/>
              </a:spcAft>
              <a:buClr>
                <a:srgbClr val="444444"/>
              </a:buClr>
              <a:buSzPts val="1200"/>
              <a:buFont typeface="Arial"/>
              <a:buNone/>
            </a:pPr>
            <a:r>
              <a:rPr lang="en-US" sz="1200" b="1" i="0" u="none" strike="noStrike" cap="none">
                <a:solidFill>
                  <a:srgbClr val="444444"/>
                </a:solidFill>
                <a:latin typeface="Calibri"/>
                <a:ea typeface="Calibri"/>
                <a:cs typeface="Calibri"/>
                <a:sym typeface="Calibri"/>
              </a:rPr>
              <a:t>Purchasing</a:t>
            </a:r>
            <a:endParaRPr sz="1400" b="1" i="0" u="none" strike="noStrike" cap="none">
              <a:solidFill>
                <a:srgbClr val="444444"/>
              </a:solidFill>
              <a:latin typeface="Calibri"/>
              <a:ea typeface="Calibri"/>
              <a:cs typeface="Calibri"/>
              <a:sym typeface="Calibri"/>
            </a:endParaRPr>
          </a:p>
        </p:txBody>
      </p:sp>
      <p:pic>
        <p:nvPicPr>
          <p:cNvPr id="1157" name="Google Shape;1157;p73"/>
          <p:cNvPicPr preferRelativeResize="0"/>
          <p:nvPr/>
        </p:nvPicPr>
        <p:blipFill rotWithShape="1">
          <a:blip r:embed="rId8">
            <a:alphaModFix/>
          </a:blip>
          <a:srcRect/>
          <a:stretch/>
        </p:blipFill>
        <p:spPr>
          <a:xfrm>
            <a:off x="900084" y="4034384"/>
            <a:ext cx="353936" cy="354706"/>
          </a:xfrm>
          <a:prstGeom prst="rect">
            <a:avLst/>
          </a:prstGeom>
          <a:noFill/>
          <a:ln>
            <a:noFill/>
          </a:ln>
        </p:spPr>
      </p:pic>
      <p:sp>
        <p:nvSpPr>
          <p:cNvPr id="1158" name="Google Shape;1158;p73"/>
          <p:cNvSpPr/>
          <p:nvPr/>
        </p:nvSpPr>
        <p:spPr>
          <a:xfrm>
            <a:off x="1690193" y="3914184"/>
            <a:ext cx="833825" cy="731520"/>
          </a:xfrm>
          <a:prstGeom prst="ellipse">
            <a:avLst/>
          </a:prstGeom>
          <a:gradFill>
            <a:gsLst>
              <a:gs pos="0">
                <a:srgbClr val="CDD9FC"/>
              </a:gs>
              <a:gs pos="38000">
                <a:srgbClr val="CDD9FC"/>
              </a:gs>
              <a:gs pos="88000">
                <a:schemeClr val="lt1"/>
              </a:gs>
              <a:gs pos="100000">
                <a:schemeClr val="lt1"/>
              </a:gs>
            </a:gsLst>
            <a:lin ang="5400000" scaled="0"/>
          </a:gradFill>
          <a:ln>
            <a:noFill/>
          </a:ln>
        </p:spPr>
        <p:txBody>
          <a:bodyPr spcFirstLastPara="1" wrap="square" lIns="0" tIns="468000" rIns="0" bIns="0" anchor="ctr" anchorCtr="0">
            <a:noAutofit/>
          </a:bodyPr>
          <a:lstStyle/>
          <a:p>
            <a:pPr marL="0" marR="0" lvl="0" indent="0" algn="ctr" rtl="0">
              <a:lnSpc>
                <a:spcPct val="100000"/>
              </a:lnSpc>
              <a:spcBef>
                <a:spcPts val="0"/>
              </a:spcBef>
              <a:spcAft>
                <a:spcPts val="0"/>
              </a:spcAft>
              <a:buClr>
                <a:srgbClr val="444444"/>
              </a:buClr>
              <a:buSzPts val="1200"/>
              <a:buFont typeface="Arial"/>
              <a:buNone/>
            </a:pPr>
            <a:r>
              <a:rPr lang="en-US" sz="1200" b="1" i="0" u="none" strike="noStrike" cap="none">
                <a:solidFill>
                  <a:srgbClr val="444444"/>
                </a:solidFill>
                <a:latin typeface="Calibri"/>
                <a:ea typeface="Calibri"/>
                <a:cs typeface="Calibri"/>
                <a:sym typeface="Calibri"/>
              </a:rPr>
              <a:t>Research</a:t>
            </a:r>
            <a:endParaRPr sz="1400" b="1" i="0" u="none" strike="noStrike" cap="none">
              <a:solidFill>
                <a:srgbClr val="444444"/>
              </a:solidFill>
              <a:latin typeface="Calibri"/>
              <a:ea typeface="Calibri"/>
              <a:cs typeface="Calibri"/>
              <a:sym typeface="Calibri"/>
            </a:endParaRPr>
          </a:p>
        </p:txBody>
      </p:sp>
      <p:pic>
        <p:nvPicPr>
          <p:cNvPr id="1159" name="Google Shape;1159;p73"/>
          <p:cNvPicPr preferRelativeResize="0"/>
          <p:nvPr/>
        </p:nvPicPr>
        <p:blipFill rotWithShape="1">
          <a:blip r:embed="rId9">
            <a:alphaModFix/>
          </a:blip>
          <a:srcRect/>
          <a:stretch/>
        </p:blipFill>
        <p:spPr>
          <a:xfrm>
            <a:off x="1912790" y="4066173"/>
            <a:ext cx="341815" cy="342559"/>
          </a:xfrm>
          <a:prstGeom prst="rect">
            <a:avLst/>
          </a:prstGeom>
          <a:noFill/>
          <a:ln>
            <a:noFill/>
          </a:ln>
        </p:spPr>
      </p:pic>
      <p:grpSp>
        <p:nvGrpSpPr>
          <p:cNvPr id="1160" name="Google Shape;1160;p73"/>
          <p:cNvGrpSpPr/>
          <p:nvPr/>
        </p:nvGrpSpPr>
        <p:grpSpPr>
          <a:xfrm>
            <a:off x="2581788" y="3914184"/>
            <a:ext cx="731520" cy="731520"/>
            <a:chOff x="2604418" y="4317507"/>
            <a:chExt cx="917436" cy="917437"/>
          </a:xfrm>
        </p:grpSpPr>
        <p:sp>
          <p:nvSpPr>
            <p:cNvPr id="1161" name="Google Shape;1161;p73"/>
            <p:cNvSpPr/>
            <p:nvPr/>
          </p:nvSpPr>
          <p:spPr>
            <a:xfrm>
              <a:off x="2604418" y="4317507"/>
              <a:ext cx="917436" cy="917437"/>
            </a:xfrm>
            <a:prstGeom prst="ellipse">
              <a:avLst/>
            </a:prstGeom>
            <a:gradFill>
              <a:gsLst>
                <a:gs pos="0">
                  <a:srgbClr val="CDD9FC"/>
                </a:gs>
                <a:gs pos="38000">
                  <a:srgbClr val="CDD9FC"/>
                </a:gs>
                <a:gs pos="88000">
                  <a:schemeClr val="lt1"/>
                </a:gs>
                <a:gs pos="100000">
                  <a:schemeClr val="lt1"/>
                </a:gs>
              </a:gsLst>
              <a:lin ang="5400000" scaled="0"/>
            </a:gradFill>
            <a:ln>
              <a:noFill/>
            </a:ln>
          </p:spPr>
          <p:txBody>
            <a:bodyPr spcFirstLastPara="1" wrap="square" lIns="0" tIns="468000" rIns="0" bIns="0" anchor="ctr" anchorCtr="0">
              <a:noAutofit/>
            </a:bodyPr>
            <a:lstStyle/>
            <a:p>
              <a:pPr marL="0" marR="0" lvl="0" indent="0" algn="ctr" rtl="0">
                <a:lnSpc>
                  <a:spcPct val="100000"/>
                </a:lnSpc>
                <a:spcBef>
                  <a:spcPts val="0"/>
                </a:spcBef>
                <a:spcAft>
                  <a:spcPts val="0"/>
                </a:spcAft>
                <a:buClr>
                  <a:srgbClr val="444444"/>
                </a:buClr>
                <a:buSzPts val="1200"/>
                <a:buFont typeface="Arial"/>
                <a:buNone/>
              </a:pPr>
              <a:r>
                <a:rPr lang="en-US" sz="1200" b="1" i="0" u="none" strike="noStrike" cap="none">
                  <a:solidFill>
                    <a:srgbClr val="444444"/>
                  </a:solidFill>
                  <a:latin typeface="Calibri"/>
                  <a:ea typeface="Calibri"/>
                  <a:cs typeface="Calibri"/>
                  <a:sym typeface="Calibri"/>
                </a:rPr>
                <a:t>R&amp;D, Etc</a:t>
              </a:r>
              <a:r>
                <a:rPr lang="en-US" sz="1400" b="1" i="0" u="none" strike="noStrike" cap="none">
                  <a:solidFill>
                    <a:srgbClr val="444444"/>
                  </a:solidFill>
                  <a:latin typeface="Calibri"/>
                  <a:ea typeface="Calibri"/>
                  <a:cs typeface="Calibri"/>
                  <a:sym typeface="Calibri"/>
                </a:rPr>
                <a:t>.</a:t>
              </a:r>
              <a:endParaRPr sz="1400" b="1" i="0" u="none" strike="noStrike" cap="none">
                <a:solidFill>
                  <a:srgbClr val="444444"/>
                </a:solidFill>
                <a:latin typeface="Calibri"/>
                <a:ea typeface="Calibri"/>
                <a:cs typeface="Calibri"/>
                <a:sym typeface="Calibri"/>
              </a:endParaRPr>
            </a:p>
          </p:txBody>
        </p:sp>
        <p:pic>
          <p:nvPicPr>
            <p:cNvPr id="1162" name="Google Shape;1162;p73"/>
            <p:cNvPicPr preferRelativeResize="0"/>
            <p:nvPr/>
          </p:nvPicPr>
          <p:blipFill rotWithShape="1">
            <a:blip r:embed="rId10">
              <a:alphaModFix/>
            </a:blip>
            <a:srcRect/>
            <a:stretch/>
          </p:blipFill>
          <p:spPr>
            <a:xfrm flipH="1">
              <a:off x="2891712" y="4489401"/>
              <a:ext cx="342848" cy="342848"/>
            </a:xfrm>
            <a:prstGeom prst="rect">
              <a:avLst/>
            </a:prstGeom>
            <a:noFill/>
            <a:ln>
              <a:noFill/>
            </a:ln>
          </p:spPr>
        </p:pic>
      </p:grpSp>
      <p:grpSp>
        <p:nvGrpSpPr>
          <p:cNvPr id="1163" name="Google Shape;1163;p73"/>
          <p:cNvGrpSpPr/>
          <p:nvPr/>
        </p:nvGrpSpPr>
        <p:grpSpPr>
          <a:xfrm>
            <a:off x="3819956" y="1683808"/>
            <a:ext cx="288000" cy="4646464"/>
            <a:chOff x="3790460" y="1615440"/>
            <a:chExt cx="288000" cy="4646464"/>
          </a:xfrm>
        </p:grpSpPr>
        <p:cxnSp>
          <p:nvCxnSpPr>
            <p:cNvPr id="1164" name="Google Shape;1164;p73"/>
            <p:cNvCxnSpPr/>
            <p:nvPr/>
          </p:nvCxnSpPr>
          <p:spPr>
            <a:xfrm>
              <a:off x="3934460" y="1615440"/>
              <a:ext cx="0" cy="4646464"/>
            </a:xfrm>
            <a:prstGeom prst="straightConnector1">
              <a:avLst/>
            </a:prstGeom>
            <a:noFill/>
            <a:ln w="19050" cap="flat" cmpd="sng">
              <a:solidFill>
                <a:schemeClr val="dk2"/>
              </a:solidFill>
              <a:prstDash val="solid"/>
              <a:miter lim="800000"/>
              <a:headEnd type="none" w="sm" len="sm"/>
              <a:tailEnd type="none" w="sm" len="sm"/>
            </a:ln>
          </p:spPr>
        </p:cxnSp>
        <p:grpSp>
          <p:nvGrpSpPr>
            <p:cNvPr id="1165" name="Google Shape;1165;p73"/>
            <p:cNvGrpSpPr/>
            <p:nvPr/>
          </p:nvGrpSpPr>
          <p:grpSpPr>
            <a:xfrm>
              <a:off x="3790460" y="3794672"/>
              <a:ext cx="288000" cy="288000"/>
              <a:chOff x="550862" y="2496471"/>
              <a:chExt cx="360000" cy="360000"/>
            </a:xfrm>
          </p:grpSpPr>
          <p:sp>
            <p:nvSpPr>
              <p:cNvPr id="1166" name="Google Shape;1166;p73"/>
              <p:cNvSpPr/>
              <p:nvPr/>
            </p:nvSpPr>
            <p:spPr>
              <a:xfrm>
                <a:off x="564471" y="2510079"/>
                <a:ext cx="332784" cy="332784"/>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1167" name="Google Shape;1167;p73"/>
              <p:cNvPicPr preferRelativeResize="0"/>
              <p:nvPr/>
            </p:nvPicPr>
            <p:blipFill rotWithShape="1">
              <a:blip r:embed="rId11">
                <a:alphaModFix/>
              </a:blip>
              <a:srcRect/>
              <a:stretch/>
            </p:blipFill>
            <p:spPr>
              <a:xfrm>
                <a:off x="550862" y="2496471"/>
                <a:ext cx="360000" cy="360000"/>
              </a:xfrm>
              <a:prstGeom prst="rect">
                <a:avLst/>
              </a:prstGeom>
              <a:noFill/>
              <a:ln>
                <a:noFill/>
              </a:ln>
            </p:spPr>
          </p:pic>
        </p:grpSp>
      </p:grpSp>
      <p:pic>
        <p:nvPicPr>
          <p:cNvPr id="1168" name="Google Shape;1168;p73"/>
          <p:cNvPicPr preferRelativeResize="0"/>
          <p:nvPr/>
        </p:nvPicPr>
        <p:blipFill rotWithShape="1">
          <a:blip r:embed="rId12">
            <a:alphaModFix/>
          </a:blip>
          <a:srcRect/>
          <a:stretch/>
        </p:blipFill>
        <p:spPr>
          <a:xfrm>
            <a:off x="9071721" y="2639821"/>
            <a:ext cx="436131" cy="436131"/>
          </a:xfrm>
          <a:prstGeom prst="rect">
            <a:avLst/>
          </a:prstGeom>
          <a:noFill/>
          <a:ln>
            <a:noFill/>
          </a:ln>
        </p:spPr>
      </p:pic>
      <p:pic>
        <p:nvPicPr>
          <p:cNvPr id="1169" name="Google Shape;1169;p73"/>
          <p:cNvPicPr preferRelativeResize="0"/>
          <p:nvPr/>
        </p:nvPicPr>
        <p:blipFill rotWithShape="1">
          <a:blip r:embed="rId13">
            <a:alphaModFix/>
          </a:blip>
          <a:srcRect/>
          <a:stretch/>
        </p:blipFill>
        <p:spPr>
          <a:xfrm>
            <a:off x="9069829" y="3770556"/>
            <a:ext cx="436130" cy="436130"/>
          </a:xfrm>
          <a:prstGeom prst="rect">
            <a:avLst/>
          </a:prstGeom>
          <a:noFill/>
          <a:ln>
            <a:noFill/>
          </a:ln>
        </p:spPr>
      </p:pic>
      <p:pic>
        <p:nvPicPr>
          <p:cNvPr id="1170" name="Google Shape;1170;p73"/>
          <p:cNvPicPr preferRelativeResize="0"/>
          <p:nvPr/>
        </p:nvPicPr>
        <p:blipFill rotWithShape="1">
          <a:blip r:embed="rId14">
            <a:alphaModFix/>
          </a:blip>
          <a:srcRect/>
          <a:stretch/>
        </p:blipFill>
        <p:spPr>
          <a:xfrm>
            <a:off x="9080202" y="4546091"/>
            <a:ext cx="419398" cy="419398"/>
          </a:xfrm>
          <a:prstGeom prst="rect">
            <a:avLst/>
          </a:prstGeom>
          <a:noFill/>
          <a:ln>
            <a:noFill/>
          </a:ln>
        </p:spPr>
      </p:pic>
      <p:sp>
        <p:nvSpPr>
          <p:cNvPr id="1171" name="Google Shape;1171;p73"/>
          <p:cNvSpPr txBox="1"/>
          <p:nvPr/>
        </p:nvSpPr>
        <p:spPr>
          <a:xfrm>
            <a:off x="571015" y="4962776"/>
            <a:ext cx="3160155" cy="935641"/>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7F7F7F"/>
              </a:buClr>
              <a:buSzPts val="1600"/>
              <a:buFont typeface="Arial"/>
              <a:buNone/>
            </a:pPr>
            <a:r>
              <a:rPr lang="en-US" sz="1600" b="0" i="0" u="none" strike="noStrike" cap="none" dirty="0">
                <a:solidFill>
                  <a:srgbClr val="7F7F7F"/>
                </a:solidFill>
                <a:latin typeface="Franklin Gothic"/>
                <a:ea typeface="Franklin Gothic"/>
                <a:cs typeface="Franklin Gothic"/>
                <a:sym typeface="Franklin Gothic"/>
              </a:rPr>
              <a:t>... But the competitive advantage of each entity relies on only </a:t>
            </a:r>
            <a:r>
              <a:rPr lang="en-US" sz="1600" b="0" i="0" u="sng" strike="noStrike" cap="none" dirty="0">
                <a:solidFill>
                  <a:srgbClr val="7F7F7F"/>
                </a:solidFill>
                <a:latin typeface="Franklin Gothic"/>
                <a:ea typeface="Franklin Gothic"/>
                <a:cs typeface="Franklin Gothic"/>
                <a:sym typeface="Franklin Gothic"/>
              </a:rPr>
              <a:t>some</a:t>
            </a:r>
            <a:r>
              <a:rPr lang="en-US" sz="1600" b="0" i="0" u="none" strike="noStrike" cap="none" dirty="0">
                <a:solidFill>
                  <a:srgbClr val="7F7F7F"/>
                </a:solidFill>
                <a:latin typeface="Franklin Gothic"/>
                <a:ea typeface="Franklin Gothic"/>
                <a:cs typeface="Franklin Gothic"/>
                <a:sym typeface="Franklin Gothic"/>
              </a:rPr>
              <a:t> of these activities, their core capabilities</a:t>
            </a:r>
            <a:endParaRPr sz="1400" b="0" i="0" u="none" strike="noStrike" cap="none" dirty="0">
              <a:solidFill>
                <a:srgbClr val="000000"/>
              </a:solidFill>
              <a:latin typeface="Arial"/>
              <a:ea typeface="Arial"/>
              <a:cs typeface="Arial"/>
              <a:sym typeface="Arial"/>
            </a:endParaRPr>
          </a:p>
        </p:txBody>
      </p:sp>
      <p:sp>
        <p:nvSpPr>
          <p:cNvPr id="1172" name="Google Shape;1172;p73"/>
          <p:cNvSpPr txBox="1"/>
          <p:nvPr/>
        </p:nvSpPr>
        <p:spPr>
          <a:xfrm>
            <a:off x="4318987" y="4472418"/>
            <a:ext cx="4152088" cy="652486"/>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rgbClr val="0F47F2"/>
              </a:buClr>
              <a:buSzPts val="1260"/>
              <a:buFont typeface="Noto Sans Symbols"/>
              <a:buChar char="▪"/>
            </a:pPr>
            <a:r>
              <a:rPr lang="en-US" sz="1400" b="0" i="0" u="none" strike="noStrike" cap="none" dirty="0">
                <a:solidFill>
                  <a:srgbClr val="444444"/>
                </a:solidFill>
                <a:latin typeface="Calibri"/>
                <a:ea typeface="Calibri"/>
                <a:cs typeface="Calibri"/>
                <a:sym typeface="Calibri"/>
              </a:rPr>
              <a:t>Invest heavily in and focus on the activities which are a source of competitive advantage</a:t>
            </a:r>
            <a:endParaRPr sz="1400" b="0" i="0" u="none" strike="noStrike" cap="none" dirty="0">
              <a:solidFill>
                <a:srgbClr val="000000"/>
              </a:solidFill>
              <a:latin typeface="Arial"/>
              <a:ea typeface="Arial"/>
              <a:cs typeface="Arial"/>
              <a:sym typeface="Arial"/>
            </a:endParaRPr>
          </a:p>
          <a:p>
            <a:pPr marL="176213" marR="0" lvl="1" indent="-176213" algn="l" rtl="0">
              <a:lnSpc>
                <a:spcPct val="95000"/>
              </a:lnSpc>
              <a:spcBef>
                <a:spcPts val="300"/>
              </a:spcBef>
              <a:spcAft>
                <a:spcPts val="0"/>
              </a:spcAft>
              <a:buClr>
                <a:srgbClr val="0F47F2"/>
              </a:buClr>
              <a:buSzPts val="1260"/>
              <a:buFont typeface="Noto Sans Symbols"/>
              <a:buChar char="▪"/>
            </a:pPr>
            <a:r>
              <a:rPr lang="en-US" sz="1400" b="0" i="0" u="none" strike="noStrike" cap="none" dirty="0">
                <a:solidFill>
                  <a:srgbClr val="444444"/>
                </a:solidFill>
                <a:latin typeface="Calibri"/>
                <a:ea typeface="Calibri"/>
                <a:cs typeface="Calibri"/>
                <a:sym typeface="Calibri"/>
              </a:rPr>
              <a:t>Outsource the other activities</a:t>
            </a:r>
            <a:endParaRPr sz="1400" b="0" i="0" u="none" strike="noStrike" cap="none" dirty="0">
              <a:solidFill>
                <a:srgbClr val="000000"/>
              </a:solidFill>
              <a:latin typeface="Arial"/>
              <a:ea typeface="Arial"/>
              <a:cs typeface="Arial"/>
              <a:sym typeface="Arial"/>
            </a:endParaRPr>
          </a:p>
        </p:txBody>
      </p:sp>
      <p:sp>
        <p:nvSpPr>
          <p:cNvPr id="1173" name="Google Shape;1173;p73"/>
          <p:cNvSpPr txBox="1"/>
          <p:nvPr/>
        </p:nvSpPr>
        <p:spPr>
          <a:xfrm>
            <a:off x="4303949" y="4068124"/>
            <a:ext cx="4152088" cy="233910"/>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7F7F7F"/>
              </a:buClr>
              <a:buSzPts val="1600"/>
              <a:buFont typeface="Arial"/>
              <a:buNone/>
            </a:pPr>
            <a:r>
              <a:rPr lang="en-US" sz="1600" b="0" i="0" u="none" strike="noStrike" cap="none">
                <a:solidFill>
                  <a:srgbClr val="7F7F7F"/>
                </a:solidFill>
                <a:latin typeface="Franklin Gothic"/>
                <a:ea typeface="Franklin Gothic"/>
                <a:cs typeface="Franklin Gothic"/>
                <a:sym typeface="Franklin Gothic"/>
              </a:rPr>
              <a:t>Entities therefore need to </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2325"/>
        <p:cNvGrpSpPr/>
        <p:nvPr/>
      </p:nvGrpSpPr>
      <p:grpSpPr>
        <a:xfrm>
          <a:off x="0" y="0"/>
          <a:ext cx="0" cy="0"/>
          <a:chOff x="0" y="0"/>
          <a:chExt cx="0" cy="0"/>
        </a:xfrm>
      </p:grpSpPr>
      <p:sp>
        <p:nvSpPr>
          <p:cNvPr id="2326" name="Google Shape;2326;p77"/>
          <p:cNvSpPr txBox="1">
            <a:spLocks noGrp="1"/>
          </p:cNvSpPr>
          <p:nvPr>
            <p:ph type="title"/>
          </p:nvPr>
        </p:nvSpPr>
        <p:spPr>
          <a:xfrm>
            <a:off x="737591" y="4477767"/>
            <a:ext cx="8494899" cy="830997"/>
          </a:xfrm>
          <a:prstGeom prst="rect">
            <a:avLst/>
          </a:prstGeom>
          <a:noFill/>
          <a:ln>
            <a:noFill/>
          </a:ln>
          <a:effectLst>
            <a:outerShdw blurRad="190500" algn="tl" rotWithShape="0">
              <a:srgbClr val="000000">
                <a:alpha val="27843"/>
              </a:srgbClr>
            </a:outerShdw>
          </a:effectLst>
        </p:spPr>
        <p:txBody>
          <a:bodyPr spcFirstLastPara="1" wrap="square" lIns="0" tIns="0" rIns="0" bIns="0" anchor="ctr" anchorCtr="0">
            <a:spAutoFit/>
          </a:bodyPr>
          <a:lstStyle/>
          <a:p>
            <a:pPr marL="0" lvl="0" indent="0" algn="l" rtl="0">
              <a:lnSpc>
                <a:spcPct val="90000"/>
              </a:lnSpc>
              <a:spcBef>
                <a:spcPts val="0"/>
              </a:spcBef>
              <a:spcAft>
                <a:spcPts val="0"/>
              </a:spcAft>
              <a:buClr>
                <a:schemeClr val="lt1"/>
              </a:buClr>
              <a:buSzPts val="6000"/>
              <a:buFont typeface="Franklin Gothic"/>
              <a:buNone/>
            </a:pPr>
            <a:r>
              <a:rPr lang="en-US"/>
              <a:t>Language services</a:t>
            </a:r>
            <a:endParaRPr/>
          </a:p>
        </p:txBody>
      </p:sp>
      <p:sp>
        <p:nvSpPr>
          <p:cNvPr id="2327" name="Google Shape;2327;p77"/>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lvl="0" indent="0" algn="r" rtl="0">
              <a:lnSpc>
                <a:spcPct val="90000"/>
              </a:lnSpc>
              <a:spcBef>
                <a:spcPts val="0"/>
              </a:spcBef>
              <a:spcAft>
                <a:spcPts val="0"/>
              </a:spcAft>
              <a:buSzPts val="1000"/>
              <a:buNone/>
            </a:pPr>
            <a:fld id="{00000000-1234-1234-1234-123412341234}" type="slidenum">
              <a:rPr lang="en-US"/>
              <a:t>30</a:t>
            </a:fld>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2331"/>
        <p:cNvGrpSpPr/>
        <p:nvPr/>
      </p:nvGrpSpPr>
      <p:grpSpPr>
        <a:xfrm>
          <a:off x="0" y="0"/>
          <a:ext cx="0" cy="0"/>
          <a:chOff x="0" y="0"/>
          <a:chExt cx="0" cy="0"/>
        </a:xfrm>
      </p:grpSpPr>
      <p:sp>
        <p:nvSpPr>
          <p:cNvPr id="2332" name="Google Shape;2332;p26"/>
          <p:cNvSpPr txBox="1">
            <a:spLocks noGrp="1"/>
          </p:cNvSpPr>
          <p:nvPr>
            <p:ph type="title"/>
          </p:nvPr>
        </p:nvSpPr>
        <p:spPr>
          <a:xfrm>
            <a:off x="539400" y="562841"/>
            <a:ext cx="5205071" cy="775597"/>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2800"/>
              <a:buFont typeface="Franklin Gothic"/>
              <a:buNone/>
            </a:pPr>
            <a:r>
              <a:rPr lang="en-US" sz="2800"/>
              <a:t>Infomineo has a unique approach to Language services</a:t>
            </a:r>
            <a:endParaRPr/>
          </a:p>
        </p:txBody>
      </p:sp>
      <p:grpSp>
        <p:nvGrpSpPr>
          <p:cNvPr id="2333" name="Google Shape;2333;p26"/>
          <p:cNvGrpSpPr/>
          <p:nvPr/>
        </p:nvGrpSpPr>
        <p:grpSpPr>
          <a:xfrm>
            <a:off x="10881886" y="135255"/>
            <a:ext cx="1141311" cy="468742"/>
            <a:chOff x="10881886" y="135255"/>
            <a:chExt cx="1141311" cy="468742"/>
          </a:xfrm>
        </p:grpSpPr>
        <p:grpSp>
          <p:nvGrpSpPr>
            <p:cNvPr id="2334" name="Google Shape;2334;p26"/>
            <p:cNvGrpSpPr/>
            <p:nvPr/>
          </p:nvGrpSpPr>
          <p:grpSpPr>
            <a:xfrm>
              <a:off x="10881886" y="135255"/>
              <a:ext cx="1141311" cy="468742"/>
              <a:chOff x="10881886" y="135255"/>
              <a:chExt cx="1141311" cy="468742"/>
            </a:xfrm>
          </p:grpSpPr>
          <p:sp>
            <p:nvSpPr>
              <p:cNvPr id="2335" name="Google Shape;2335;p26"/>
              <p:cNvSpPr txBox="1"/>
              <p:nvPr/>
            </p:nvSpPr>
            <p:spPr>
              <a:xfrm>
                <a:off x="10881886" y="230150"/>
                <a:ext cx="628378" cy="2769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lt1"/>
                    </a:solidFill>
                    <a:latin typeface="Franklin Gothic"/>
                    <a:ea typeface="Franklin Gothic"/>
                    <a:cs typeface="Franklin Gothic"/>
                    <a:sym typeface="Franklin Gothic"/>
                  </a:rPr>
                  <a:t>Business </a:t>
                </a:r>
                <a:endParaRPr sz="1400" b="0" i="0" u="none" strike="noStrike" cap="none">
                  <a:solidFill>
                    <a:srgbClr val="000000"/>
                  </a:solidFill>
                  <a:latin typeface="Arial"/>
                  <a:ea typeface="Arial"/>
                  <a:cs typeface="Arial"/>
                  <a:sym typeface="Arial"/>
                </a:endParaRPr>
              </a:p>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lt1"/>
                    </a:solidFill>
                    <a:latin typeface="Franklin Gothic"/>
                    <a:ea typeface="Franklin Gothic"/>
                    <a:cs typeface="Franklin Gothic"/>
                    <a:sym typeface="Franklin Gothic"/>
                  </a:rPr>
                  <a:t>Translation</a:t>
                </a:r>
                <a:endParaRPr sz="1400" b="0" i="0" u="none" strike="noStrike" cap="none">
                  <a:solidFill>
                    <a:srgbClr val="000000"/>
                  </a:solidFill>
                  <a:latin typeface="Arial"/>
                  <a:ea typeface="Arial"/>
                  <a:cs typeface="Arial"/>
                  <a:sym typeface="Arial"/>
                </a:endParaRPr>
              </a:p>
            </p:txBody>
          </p:sp>
          <p:sp>
            <p:nvSpPr>
              <p:cNvPr id="2336" name="Google Shape;2336;p26"/>
              <p:cNvSpPr/>
              <p:nvPr/>
            </p:nvSpPr>
            <p:spPr>
              <a:xfrm>
                <a:off x="11554453" y="135255"/>
                <a:ext cx="468744" cy="468742"/>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grpSp>
          <p:nvGrpSpPr>
            <p:cNvPr id="2337" name="Google Shape;2337;p26"/>
            <p:cNvGrpSpPr/>
            <p:nvPr/>
          </p:nvGrpSpPr>
          <p:grpSpPr>
            <a:xfrm>
              <a:off x="11701145" y="220980"/>
              <a:ext cx="175360" cy="295338"/>
              <a:chOff x="6689308" y="2024976"/>
              <a:chExt cx="325986" cy="549024"/>
            </a:xfrm>
          </p:grpSpPr>
          <p:sp>
            <p:nvSpPr>
              <p:cNvPr id="2338" name="Google Shape;2338;p26"/>
              <p:cNvSpPr/>
              <p:nvPr/>
            </p:nvSpPr>
            <p:spPr>
              <a:xfrm>
                <a:off x="6689308" y="2024976"/>
                <a:ext cx="325986" cy="549024"/>
              </a:xfrm>
              <a:custGeom>
                <a:avLst/>
                <a:gdLst/>
                <a:ahLst/>
                <a:cxnLst/>
                <a:rect l="l" t="t" r="r" b="b"/>
                <a:pathLst>
                  <a:path w="325986" h="549024" extrusionOk="0">
                    <a:moveTo>
                      <a:pt x="304900" y="0"/>
                    </a:moveTo>
                    <a:lnTo>
                      <a:pt x="24663" y="0"/>
                    </a:lnTo>
                    <a:cubicBezTo>
                      <a:pt x="11049" y="17"/>
                      <a:pt x="17" y="11049"/>
                      <a:pt x="0" y="24663"/>
                    </a:cubicBezTo>
                    <a:lnTo>
                      <a:pt x="0" y="524361"/>
                    </a:lnTo>
                    <a:cubicBezTo>
                      <a:pt x="17" y="537975"/>
                      <a:pt x="11049" y="549007"/>
                      <a:pt x="24663" y="549024"/>
                    </a:cubicBezTo>
                    <a:lnTo>
                      <a:pt x="304900" y="549024"/>
                    </a:lnTo>
                    <a:cubicBezTo>
                      <a:pt x="318516" y="549011"/>
                      <a:pt x="329551" y="537975"/>
                      <a:pt x="329563" y="524361"/>
                    </a:cubicBezTo>
                    <a:lnTo>
                      <a:pt x="329563" y="24663"/>
                    </a:lnTo>
                    <a:cubicBezTo>
                      <a:pt x="329551" y="11048"/>
                      <a:pt x="318516" y="14"/>
                      <a:pt x="304900" y="0"/>
                    </a:cubicBezTo>
                    <a:close/>
                    <a:moveTo>
                      <a:pt x="240852" y="15012"/>
                    </a:moveTo>
                    <a:lnTo>
                      <a:pt x="223313" y="32538"/>
                    </a:lnTo>
                    <a:cubicBezTo>
                      <a:pt x="216691" y="39189"/>
                      <a:pt x="207684" y="42917"/>
                      <a:pt x="198298" y="42893"/>
                    </a:cubicBezTo>
                    <a:lnTo>
                      <a:pt x="131265" y="42893"/>
                    </a:lnTo>
                    <a:cubicBezTo>
                      <a:pt x="121879" y="42917"/>
                      <a:pt x="112873" y="39189"/>
                      <a:pt x="106250" y="32538"/>
                    </a:cubicBezTo>
                    <a:lnTo>
                      <a:pt x="88711" y="15012"/>
                    </a:lnTo>
                    <a:close/>
                    <a:moveTo>
                      <a:pt x="314551" y="524361"/>
                    </a:moveTo>
                    <a:cubicBezTo>
                      <a:pt x="314544" y="529688"/>
                      <a:pt x="310227" y="534003"/>
                      <a:pt x="304900" y="534012"/>
                    </a:cubicBezTo>
                    <a:lnTo>
                      <a:pt x="24663" y="534012"/>
                    </a:lnTo>
                    <a:cubicBezTo>
                      <a:pt x="19336" y="534003"/>
                      <a:pt x="15020" y="529688"/>
                      <a:pt x="15013" y="524361"/>
                    </a:cubicBezTo>
                    <a:lnTo>
                      <a:pt x="15013" y="24663"/>
                    </a:lnTo>
                    <a:cubicBezTo>
                      <a:pt x="15020" y="19336"/>
                      <a:pt x="19336" y="15019"/>
                      <a:pt x="24663" y="15012"/>
                    </a:cubicBezTo>
                    <a:lnTo>
                      <a:pt x="67471" y="15012"/>
                    </a:lnTo>
                    <a:lnTo>
                      <a:pt x="95638" y="43163"/>
                    </a:lnTo>
                    <a:cubicBezTo>
                      <a:pt x="105072" y="52633"/>
                      <a:pt x="117898" y="57940"/>
                      <a:pt x="131265" y="57905"/>
                    </a:cubicBezTo>
                    <a:lnTo>
                      <a:pt x="198298" y="57905"/>
                    </a:lnTo>
                    <a:cubicBezTo>
                      <a:pt x="211665" y="57940"/>
                      <a:pt x="224492" y="52633"/>
                      <a:pt x="233925" y="43163"/>
                    </a:cubicBezTo>
                    <a:lnTo>
                      <a:pt x="262093" y="15012"/>
                    </a:lnTo>
                    <a:lnTo>
                      <a:pt x="304900" y="15012"/>
                    </a:lnTo>
                    <a:cubicBezTo>
                      <a:pt x="310227" y="15019"/>
                      <a:pt x="314544" y="19336"/>
                      <a:pt x="314551" y="2466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39" name="Google Shape;2339;p26"/>
              <p:cNvSpPr/>
              <p:nvPr/>
            </p:nvSpPr>
            <p:spPr>
              <a:xfrm>
                <a:off x="6732201" y="2110795"/>
                <a:ext cx="85786" cy="98653"/>
              </a:xfrm>
              <a:custGeom>
                <a:avLst/>
                <a:gdLst/>
                <a:ahLst/>
                <a:cxnLst/>
                <a:rect l="l" t="t" r="r" b="b"/>
                <a:pathLst>
                  <a:path w="85785" h="98652" extrusionOk="0">
                    <a:moveTo>
                      <a:pt x="5040" y="98734"/>
                    </a:moveTo>
                    <a:cubicBezTo>
                      <a:pt x="8946" y="100102"/>
                      <a:pt x="13221" y="98044"/>
                      <a:pt x="14588" y="94138"/>
                    </a:cubicBezTo>
                    <a:cubicBezTo>
                      <a:pt x="14591" y="94130"/>
                      <a:pt x="14594" y="94122"/>
                      <a:pt x="14597" y="94115"/>
                    </a:cubicBezTo>
                    <a:lnTo>
                      <a:pt x="27499" y="57081"/>
                    </a:lnTo>
                    <a:lnTo>
                      <a:pt x="62242" y="57081"/>
                    </a:lnTo>
                    <a:lnTo>
                      <a:pt x="75136" y="94115"/>
                    </a:lnTo>
                    <a:cubicBezTo>
                      <a:pt x="76715" y="97948"/>
                      <a:pt x="81102" y="99776"/>
                      <a:pt x="84935" y="98197"/>
                    </a:cubicBezTo>
                    <a:cubicBezTo>
                      <a:pt x="88471" y="96740"/>
                      <a:pt x="90347" y="92858"/>
                      <a:pt x="89290" y="89182"/>
                    </a:cubicBezTo>
                    <a:lnTo>
                      <a:pt x="59994" y="5040"/>
                    </a:lnTo>
                    <a:cubicBezTo>
                      <a:pt x="58944" y="2022"/>
                      <a:pt x="56099" y="0"/>
                      <a:pt x="52904" y="0"/>
                    </a:cubicBezTo>
                    <a:lnTo>
                      <a:pt x="36819" y="0"/>
                    </a:lnTo>
                    <a:cubicBezTo>
                      <a:pt x="33624" y="0"/>
                      <a:pt x="30779" y="2022"/>
                      <a:pt x="29729" y="5040"/>
                    </a:cubicBezTo>
                    <a:lnTo>
                      <a:pt x="420" y="89182"/>
                    </a:lnTo>
                    <a:cubicBezTo>
                      <a:pt x="-944" y="93092"/>
                      <a:pt x="1120" y="97367"/>
                      <a:pt x="5030" y="98731"/>
                    </a:cubicBezTo>
                    <a:cubicBezTo>
                      <a:pt x="5034" y="98732"/>
                      <a:pt x="5037" y="98733"/>
                      <a:pt x="5040" y="98734"/>
                    </a:cubicBezTo>
                    <a:close/>
                    <a:moveTo>
                      <a:pt x="42151" y="15012"/>
                    </a:moveTo>
                    <a:lnTo>
                      <a:pt x="47568" y="15012"/>
                    </a:lnTo>
                    <a:lnTo>
                      <a:pt x="57005" y="42069"/>
                    </a:lnTo>
                    <a:lnTo>
                      <a:pt x="32727" y="42069"/>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40" name="Google Shape;2340;p26"/>
              <p:cNvSpPr/>
              <p:nvPr/>
            </p:nvSpPr>
            <p:spPr>
              <a:xfrm>
                <a:off x="6886259" y="2110795"/>
                <a:ext cx="85786" cy="98653"/>
              </a:xfrm>
              <a:custGeom>
                <a:avLst/>
                <a:gdLst/>
                <a:ahLst/>
                <a:cxnLst/>
                <a:rect l="l" t="t" r="r" b="b"/>
                <a:pathLst>
                  <a:path w="85785" h="98652" extrusionOk="0">
                    <a:moveTo>
                      <a:pt x="82213" y="24629"/>
                    </a:moveTo>
                    <a:lnTo>
                      <a:pt x="52368" y="24629"/>
                    </a:lnTo>
                    <a:lnTo>
                      <a:pt x="52368" y="7506"/>
                    </a:lnTo>
                    <a:cubicBezTo>
                      <a:pt x="52368" y="3361"/>
                      <a:pt x="49007" y="0"/>
                      <a:pt x="44862" y="0"/>
                    </a:cubicBezTo>
                    <a:cubicBezTo>
                      <a:pt x="40716" y="0"/>
                      <a:pt x="37355" y="3361"/>
                      <a:pt x="37355" y="7506"/>
                    </a:cubicBezTo>
                    <a:lnTo>
                      <a:pt x="37355" y="24629"/>
                    </a:lnTo>
                    <a:lnTo>
                      <a:pt x="7506" y="24629"/>
                    </a:lnTo>
                    <a:cubicBezTo>
                      <a:pt x="3361" y="24629"/>
                      <a:pt x="0" y="27990"/>
                      <a:pt x="0" y="32135"/>
                    </a:cubicBezTo>
                    <a:cubicBezTo>
                      <a:pt x="0" y="36281"/>
                      <a:pt x="3361" y="39641"/>
                      <a:pt x="7506" y="39641"/>
                    </a:cubicBezTo>
                    <a:lnTo>
                      <a:pt x="17873" y="39641"/>
                    </a:lnTo>
                    <a:lnTo>
                      <a:pt x="17873" y="41027"/>
                    </a:lnTo>
                    <a:cubicBezTo>
                      <a:pt x="17867" y="52418"/>
                      <a:pt x="22457" y="63330"/>
                      <a:pt x="30604" y="71292"/>
                    </a:cubicBezTo>
                    <a:lnTo>
                      <a:pt x="4066" y="84974"/>
                    </a:lnTo>
                    <a:cubicBezTo>
                      <a:pt x="456" y="87016"/>
                      <a:pt x="-816" y="91599"/>
                      <a:pt x="1226" y="95209"/>
                    </a:cubicBezTo>
                    <a:cubicBezTo>
                      <a:pt x="3154" y="98618"/>
                      <a:pt x="7378" y="99973"/>
                      <a:pt x="10929" y="98322"/>
                    </a:cubicBezTo>
                    <a:lnTo>
                      <a:pt x="44845" y="80831"/>
                    </a:lnTo>
                    <a:lnTo>
                      <a:pt x="78756" y="98322"/>
                    </a:lnTo>
                    <a:cubicBezTo>
                      <a:pt x="82366" y="100365"/>
                      <a:pt x="86948" y="99093"/>
                      <a:pt x="88990" y="95483"/>
                    </a:cubicBezTo>
                    <a:cubicBezTo>
                      <a:pt x="91032" y="91872"/>
                      <a:pt x="89761" y="87290"/>
                      <a:pt x="86151" y="85248"/>
                    </a:cubicBezTo>
                    <a:cubicBezTo>
                      <a:pt x="85977" y="85150"/>
                      <a:pt x="85800" y="85058"/>
                      <a:pt x="85619" y="84974"/>
                    </a:cubicBezTo>
                    <a:lnTo>
                      <a:pt x="59085" y="71292"/>
                    </a:lnTo>
                    <a:cubicBezTo>
                      <a:pt x="67232" y="63329"/>
                      <a:pt x="71821" y="52415"/>
                      <a:pt x="71811" y="41022"/>
                    </a:cubicBezTo>
                    <a:lnTo>
                      <a:pt x="71811" y="39641"/>
                    </a:lnTo>
                    <a:lnTo>
                      <a:pt x="82179" y="39641"/>
                    </a:lnTo>
                    <a:cubicBezTo>
                      <a:pt x="86324" y="39641"/>
                      <a:pt x="89685" y="36281"/>
                      <a:pt x="89685" y="32135"/>
                    </a:cubicBezTo>
                    <a:cubicBezTo>
                      <a:pt x="89685" y="27990"/>
                      <a:pt x="86324" y="24629"/>
                      <a:pt x="82179" y="24629"/>
                    </a:cubicBezTo>
                    <a:close/>
                    <a:moveTo>
                      <a:pt x="56833" y="41022"/>
                    </a:moveTo>
                    <a:cubicBezTo>
                      <a:pt x="56848" y="50092"/>
                      <a:pt x="52363" y="58580"/>
                      <a:pt x="44862" y="63678"/>
                    </a:cubicBezTo>
                    <a:cubicBezTo>
                      <a:pt x="37360" y="58580"/>
                      <a:pt x="32874" y="50093"/>
                      <a:pt x="32886" y="41022"/>
                    </a:cubicBezTo>
                    <a:lnTo>
                      <a:pt x="32886" y="39641"/>
                    </a:lnTo>
                    <a:lnTo>
                      <a:pt x="56833" y="39641"/>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41" name="Google Shape;2341;p26"/>
              <p:cNvSpPr/>
              <p:nvPr/>
            </p:nvSpPr>
            <p:spPr>
              <a:xfrm>
                <a:off x="6832510" y="2152864"/>
                <a:ext cx="42893" cy="12868"/>
              </a:xfrm>
              <a:custGeom>
                <a:avLst/>
                <a:gdLst/>
                <a:ahLst/>
                <a:cxnLst/>
                <a:rect l="l" t="t" r="r" b="b"/>
                <a:pathLst>
                  <a:path w="42892" h="12867" extrusionOk="0">
                    <a:moveTo>
                      <a:pt x="7506" y="15012"/>
                    </a:moveTo>
                    <a:lnTo>
                      <a:pt x="35653" y="15012"/>
                    </a:lnTo>
                    <a:cubicBezTo>
                      <a:pt x="39798" y="15012"/>
                      <a:pt x="43159" y="11652"/>
                      <a:pt x="43159" y="7506"/>
                    </a:cubicBezTo>
                    <a:cubicBezTo>
                      <a:pt x="43159" y="3361"/>
                      <a:pt x="39798" y="0"/>
                      <a:pt x="35653"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42" name="Google Shape;2342;p26"/>
              <p:cNvSpPr/>
              <p:nvPr/>
            </p:nvSpPr>
            <p:spPr>
              <a:xfrm>
                <a:off x="6732201" y="223786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43" name="Google Shape;2343;p26"/>
              <p:cNvSpPr/>
              <p:nvPr/>
            </p:nvSpPr>
            <p:spPr>
              <a:xfrm>
                <a:off x="6756508" y="2288113"/>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44" name="Google Shape;2344;p26"/>
              <p:cNvSpPr/>
              <p:nvPr/>
            </p:nvSpPr>
            <p:spPr>
              <a:xfrm>
                <a:off x="6732201" y="2338361"/>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45" name="Google Shape;2345;p26"/>
              <p:cNvSpPr/>
              <p:nvPr/>
            </p:nvSpPr>
            <p:spPr>
              <a:xfrm>
                <a:off x="6756508" y="2388606"/>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46" name="Google Shape;2346;p26"/>
              <p:cNvSpPr/>
              <p:nvPr/>
            </p:nvSpPr>
            <p:spPr>
              <a:xfrm>
                <a:off x="6732201" y="243885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47" name="Google Shape;2347;p26"/>
              <p:cNvSpPr/>
              <p:nvPr/>
            </p:nvSpPr>
            <p:spPr>
              <a:xfrm>
                <a:off x="6756508" y="2491764"/>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348" name="Google Shape;2348;p26"/>
          <p:cNvSpPr txBox="1"/>
          <p:nvPr/>
        </p:nvSpPr>
        <p:spPr>
          <a:xfrm>
            <a:off x="550863" y="2343394"/>
            <a:ext cx="5193608" cy="3448123"/>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chemeClr val="dk2"/>
              </a:buClr>
              <a:buSzPts val="1440"/>
              <a:buFont typeface="Noto Sans Symbols"/>
              <a:buChar char="▪"/>
            </a:pPr>
            <a:r>
              <a:rPr lang="en-US" sz="1600" b="0" i="0" u="none" strike="noStrike" cap="none" dirty="0">
                <a:solidFill>
                  <a:schemeClr val="dk1"/>
                </a:solidFill>
                <a:latin typeface="Calibri"/>
                <a:ea typeface="Calibri"/>
                <a:cs typeface="Calibri"/>
                <a:sym typeface="Calibri"/>
              </a:rPr>
              <a:t>Translators are either </a:t>
            </a:r>
            <a:r>
              <a:rPr lang="en-US" sz="1600" b="1" i="0" u="none" strike="noStrike" cap="none" dirty="0">
                <a:solidFill>
                  <a:schemeClr val="dk1"/>
                </a:solidFill>
                <a:latin typeface="Calibri"/>
                <a:ea typeface="Calibri"/>
                <a:cs typeface="Calibri"/>
                <a:sym typeface="Calibri"/>
              </a:rPr>
              <a:t>“poets” or “localizers”</a:t>
            </a:r>
            <a:endParaRPr sz="1440" b="1" i="0" u="none" strike="noStrike" cap="none" dirty="0">
              <a:solidFill>
                <a:schemeClr val="dk1"/>
              </a:solidFill>
              <a:latin typeface="Calibri"/>
              <a:ea typeface="Calibri"/>
              <a:cs typeface="Calibri"/>
              <a:sym typeface="Calibri"/>
            </a:endParaRPr>
          </a:p>
          <a:p>
            <a:pPr marL="358775" marR="0" lvl="2" indent="-179387" algn="l" rtl="0">
              <a:lnSpc>
                <a:spcPct val="95000"/>
              </a:lnSpc>
              <a:spcBef>
                <a:spcPts val="1000"/>
              </a:spcBef>
              <a:spcAft>
                <a:spcPts val="0"/>
              </a:spcAft>
              <a:buClr>
                <a:schemeClr val="dk2"/>
              </a:buClr>
              <a:buSzPts val="1600"/>
              <a:buFont typeface="Calibri"/>
              <a:buChar char="−"/>
            </a:pPr>
            <a:r>
              <a:rPr lang="en-US" sz="1600" b="0" i="0" u="none" strike="noStrike" cap="none" dirty="0">
                <a:solidFill>
                  <a:schemeClr val="dk1"/>
                </a:solidFill>
                <a:latin typeface="Calibri"/>
                <a:ea typeface="Calibri"/>
                <a:cs typeface="Calibri"/>
                <a:sym typeface="Calibri"/>
              </a:rPr>
              <a:t>They typically come from a literature/ language background</a:t>
            </a:r>
            <a:endParaRPr sz="1400" b="0" i="0" u="none" strike="noStrike" cap="none" dirty="0">
              <a:solidFill>
                <a:srgbClr val="000000"/>
              </a:solidFill>
              <a:latin typeface="Arial"/>
              <a:ea typeface="Arial"/>
              <a:cs typeface="Arial"/>
              <a:sym typeface="Arial"/>
            </a:endParaRPr>
          </a:p>
          <a:p>
            <a:pPr marL="358775" marR="0" lvl="2" indent="-179387" algn="l" rtl="0">
              <a:lnSpc>
                <a:spcPct val="95000"/>
              </a:lnSpc>
              <a:spcBef>
                <a:spcPts val="1000"/>
              </a:spcBef>
              <a:spcAft>
                <a:spcPts val="0"/>
              </a:spcAft>
              <a:buClr>
                <a:schemeClr val="dk2"/>
              </a:buClr>
              <a:buSzPts val="1600"/>
              <a:buFont typeface="Calibri"/>
              <a:buChar char="−"/>
            </a:pPr>
            <a:r>
              <a:rPr lang="en-US" sz="1600" b="0" i="0" u="none" strike="noStrike" cap="none" dirty="0">
                <a:solidFill>
                  <a:schemeClr val="dk1"/>
                </a:solidFill>
                <a:latin typeface="Calibri"/>
                <a:ea typeface="Calibri"/>
                <a:cs typeface="Calibri"/>
                <a:sym typeface="Calibri"/>
              </a:rPr>
              <a:t>Their passion is to translate books</a:t>
            </a:r>
            <a:endParaRPr sz="1400" b="0" i="0" u="none" strike="noStrike" cap="none" dirty="0">
              <a:solidFill>
                <a:srgbClr val="000000"/>
              </a:solidFill>
              <a:latin typeface="Arial"/>
              <a:ea typeface="Arial"/>
              <a:cs typeface="Arial"/>
              <a:sym typeface="Arial"/>
            </a:endParaRPr>
          </a:p>
          <a:p>
            <a:pPr marL="358775" marR="0" lvl="2" indent="-179387" algn="l" rtl="0">
              <a:lnSpc>
                <a:spcPct val="95000"/>
              </a:lnSpc>
              <a:spcBef>
                <a:spcPts val="1000"/>
              </a:spcBef>
              <a:spcAft>
                <a:spcPts val="0"/>
              </a:spcAft>
              <a:buClr>
                <a:schemeClr val="dk2"/>
              </a:buClr>
              <a:buSzPts val="1600"/>
              <a:buFont typeface="Calibri"/>
              <a:buChar char="−"/>
            </a:pPr>
            <a:r>
              <a:rPr lang="en-US" sz="1600" b="0" i="0" u="none" strike="noStrike" cap="none" dirty="0">
                <a:solidFill>
                  <a:schemeClr val="dk1"/>
                </a:solidFill>
                <a:latin typeface="Calibri"/>
                <a:ea typeface="Calibri"/>
                <a:cs typeface="Calibri"/>
                <a:sym typeface="Calibri"/>
              </a:rPr>
              <a:t>They are very experienced in literal translation, and can have trouble with contextualization in a business setting</a:t>
            </a:r>
            <a:endParaRPr sz="1400" b="0" i="0" u="none" strike="noStrike" cap="none" dirty="0">
              <a:solidFill>
                <a:srgbClr val="000000"/>
              </a:solidFill>
              <a:latin typeface="Arial"/>
              <a:ea typeface="Arial"/>
              <a:cs typeface="Arial"/>
              <a:sym typeface="Arial"/>
            </a:endParaRPr>
          </a:p>
          <a:p>
            <a:pPr marL="176213" marR="0" lvl="1" indent="-176213" algn="l" rtl="0">
              <a:lnSpc>
                <a:spcPct val="95000"/>
              </a:lnSpc>
              <a:spcBef>
                <a:spcPts val="1000"/>
              </a:spcBef>
              <a:spcAft>
                <a:spcPts val="0"/>
              </a:spcAft>
              <a:buClr>
                <a:schemeClr val="dk2"/>
              </a:buClr>
              <a:buSzPts val="1440"/>
              <a:buFont typeface="Noto Sans Symbols"/>
              <a:buChar char="▪"/>
            </a:pPr>
            <a:r>
              <a:rPr lang="en-US" sz="1600" b="0" i="0" u="none" strike="noStrike" cap="none" dirty="0">
                <a:solidFill>
                  <a:schemeClr val="dk1"/>
                </a:solidFill>
                <a:latin typeface="Calibri"/>
                <a:ea typeface="Calibri"/>
                <a:cs typeface="Calibri"/>
                <a:sym typeface="Calibri"/>
              </a:rPr>
              <a:t>The translation companies distribute the work to </a:t>
            </a:r>
            <a:r>
              <a:rPr lang="en-US" sz="1600" b="1" i="0" u="none" strike="noStrike" cap="none" dirty="0">
                <a:solidFill>
                  <a:schemeClr val="dk1"/>
                </a:solidFill>
                <a:latin typeface="Calibri"/>
                <a:ea typeface="Calibri"/>
                <a:cs typeface="Calibri"/>
                <a:sym typeface="Calibri"/>
              </a:rPr>
              <a:t>freelancers</a:t>
            </a:r>
            <a:r>
              <a:rPr lang="en-US" sz="1600" b="0" i="0" u="none" strike="noStrike" cap="none" dirty="0">
                <a:solidFill>
                  <a:schemeClr val="dk1"/>
                </a:solidFill>
                <a:latin typeface="Calibri"/>
                <a:ea typeface="Calibri"/>
                <a:cs typeface="Calibri"/>
                <a:sym typeface="Calibri"/>
              </a:rPr>
              <a:t> to reduce costs and maximize flexibility – They can’t guarantee the confidentiality of the information</a:t>
            </a:r>
            <a:endParaRPr sz="1440" b="0" i="0" u="none" strike="noStrike" cap="none" dirty="0">
              <a:solidFill>
                <a:schemeClr val="dk1"/>
              </a:solidFill>
              <a:latin typeface="Calibri"/>
              <a:ea typeface="Calibri"/>
              <a:cs typeface="Calibri"/>
              <a:sym typeface="Calibri"/>
            </a:endParaRPr>
          </a:p>
          <a:p>
            <a:pPr marL="176213" marR="0" lvl="1" indent="-176213" algn="l" rtl="0">
              <a:lnSpc>
                <a:spcPct val="95000"/>
              </a:lnSpc>
              <a:spcBef>
                <a:spcPts val="1000"/>
              </a:spcBef>
              <a:spcAft>
                <a:spcPts val="0"/>
              </a:spcAft>
              <a:buClr>
                <a:schemeClr val="dk2"/>
              </a:buClr>
              <a:buSzPts val="1440"/>
              <a:buFont typeface="Noto Sans Symbols"/>
              <a:buChar char="▪"/>
            </a:pPr>
            <a:r>
              <a:rPr lang="en-US" sz="1600" b="0" i="0" u="none" strike="noStrike" cap="none" dirty="0">
                <a:solidFill>
                  <a:schemeClr val="dk1"/>
                </a:solidFill>
                <a:latin typeface="Calibri"/>
                <a:ea typeface="Calibri"/>
                <a:cs typeface="Calibri"/>
                <a:sym typeface="Calibri"/>
              </a:rPr>
              <a:t>The </a:t>
            </a:r>
            <a:r>
              <a:rPr lang="en-US" sz="1600" b="1" i="0" u="none" strike="noStrike" cap="none" dirty="0">
                <a:solidFill>
                  <a:schemeClr val="dk1"/>
                </a:solidFill>
                <a:latin typeface="Calibri"/>
                <a:ea typeface="Calibri"/>
                <a:cs typeface="Calibri"/>
                <a:sym typeface="Calibri"/>
              </a:rPr>
              <a:t>processes are often chaotic </a:t>
            </a:r>
            <a:r>
              <a:rPr lang="en-US" sz="1600" b="0" i="0" u="none" strike="noStrike" cap="none" dirty="0">
                <a:solidFill>
                  <a:schemeClr val="dk1"/>
                </a:solidFill>
                <a:latin typeface="Calibri"/>
                <a:ea typeface="Calibri"/>
                <a:cs typeface="Calibri"/>
                <a:sym typeface="Calibri"/>
              </a:rPr>
              <a:t>given the company managers are from a liberal arts and not a business background</a:t>
            </a:r>
            <a:endParaRPr sz="1440" b="0" i="0" u="none" strike="noStrike" cap="none" dirty="0">
              <a:solidFill>
                <a:schemeClr val="dk1"/>
              </a:solidFill>
              <a:latin typeface="Calibri"/>
              <a:ea typeface="Calibri"/>
              <a:cs typeface="Calibri"/>
              <a:sym typeface="Calibri"/>
            </a:endParaRPr>
          </a:p>
        </p:txBody>
      </p:sp>
      <p:sp>
        <p:nvSpPr>
          <p:cNvPr id="2349" name="Google Shape;2349;p26"/>
          <p:cNvSpPr txBox="1"/>
          <p:nvPr/>
        </p:nvSpPr>
        <p:spPr>
          <a:xfrm>
            <a:off x="550863" y="1857375"/>
            <a:ext cx="5193608" cy="292388"/>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2000"/>
              <a:buFont typeface="Arial"/>
              <a:buNone/>
            </a:pPr>
            <a:r>
              <a:rPr lang="en-US" sz="2000" b="0" i="0" u="none" strike="noStrike" cap="none">
                <a:solidFill>
                  <a:schemeClr val="accent1"/>
                </a:solidFill>
                <a:latin typeface="Lato Black"/>
                <a:ea typeface="Lato Black"/>
                <a:cs typeface="Lato Black"/>
                <a:sym typeface="Lato Black"/>
              </a:rPr>
              <a:t>Traditional translation model</a:t>
            </a:r>
            <a:endParaRPr sz="1400" b="0" i="0" u="none" strike="noStrike" cap="none">
              <a:solidFill>
                <a:srgbClr val="000000"/>
              </a:solidFill>
              <a:latin typeface="Arial"/>
              <a:ea typeface="Arial"/>
              <a:cs typeface="Arial"/>
              <a:sym typeface="Arial"/>
            </a:endParaRPr>
          </a:p>
        </p:txBody>
      </p:sp>
      <p:sp>
        <p:nvSpPr>
          <p:cNvPr id="2350" name="Google Shape;2350;p26"/>
          <p:cNvSpPr txBox="1"/>
          <p:nvPr/>
        </p:nvSpPr>
        <p:spPr>
          <a:xfrm>
            <a:off x="6447529" y="2343394"/>
            <a:ext cx="5193608" cy="3980064"/>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chemeClr val="accent1"/>
              </a:buClr>
              <a:buSzPts val="1440"/>
              <a:buFont typeface="Noto Sans Symbols"/>
              <a:buChar char="▪"/>
            </a:pPr>
            <a:r>
              <a:rPr lang="en-US" sz="1600" b="0" i="0" u="none" strike="noStrike" cap="none">
                <a:solidFill>
                  <a:schemeClr val="lt1"/>
                </a:solidFill>
                <a:latin typeface="Calibri"/>
                <a:ea typeface="Calibri"/>
                <a:cs typeface="Calibri"/>
                <a:sym typeface="Calibri"/>
              </a:rPr>
              <a:t>Translators have a </a:t>
            </a:r>
            <a:r>
              <a:rPr lang="en-US" sz="1600" b="1" i="0" u="none" strike="noStrike" cap="none">
                <a:solidFill>
                  <a:schemeClr val="lt1"/>
                </a:solidFill>
                <a:latin typeface="Calibri"/>
                <a:ea typeface="Calibri"/>
                <a:cs typeface="Calibri"/>
                <a:sym typeface="Calibri"/>
              </a:rPr>
              <a:t>business AND translation background</a:t>
            </a:r>
            <a:endParaRPr sz="1440" b="1" i="0" u="none" strike="noStrike" cap="none">
              <a:solidFill>
                <a:schemeClr val="lt1"/>
              </a:solidFill>
              <a:latin typeface="Calibri"/>
              <a:ea typeface="Calibri"/>
              <a:cs typeface="Calibri"/>
              <a:sym typeface="Calibri"/>
            </a:endParaRPr>
          </a:p>
          <a:p>
            <a:pPr marL="358775" marR="0" lvl="2" indent="-179387" algn="l" rtl="0">
              <a:lnSpc>
                <a:spcPct val="95000"/>
              </a:lnSpc>
              <a:spcBef>
                <a:spcPts val="500"/>
              </a:spcBef>
              <a:spcAft>
                <a:spcPts val="0"/>
              </a:spcAft>
              <a:buClr>
                <a:schemeClr val="accent1"/>
              </a:buClr>
              <a:buSzPts val="1600"/>
              <a:buFont typeface="Calibri"/>
              <a:buChar char="−"/>
            </a:pPr>
            <a:r>
              <a:rPr lang="en-US" sz="1600" b="0" i="0" u="none" strike="noStrike" cap="none">
                <a:solidFill>
                  <a:schemeClr val="lt1"/>
                </a:solidFill>
                <a:latin typeface="Calibri"/>
                <a:ea typeface="Calibri"/>
                <a:cs typeface="Calibri"/>
                <a:sym typeface="Calibri"/>
              </a:rPr>
              <a:t>They understand and like business and business contexts</a:t>
            </a:r>
            <a:endParaRPr sz="1400" b="0" i="0" u="none" strike="noStrike" cap="none">
              <a:solidFill>
                <a:srgbClr val="000000"/>
              </a:solidFill>
              <a:latin typeface="Arial"/>
              <a:ea typeface="Arial"/>
              <a:cs typeface="Arial"/>
              <a:sym typeface="Arial"/>
            </a:endParaRPr>
          </a:p>
          <a:p>
            <a:pPr marL="358775" marR="0" lvl="2" indent="-179387" algn="l" rtl="0">
              <a:lnSpc>
                <a:spcPct val="95000"/>
              </a:lnSpc>
              <a:spcBef>
                <a:spcPts val="500"/>
              </a:spcBef>
              <a:spcAft>
                <a:spcPts val="0"/>
              </a:spcAft>
              <a:buClr>
                <a:schemeClr val="accent1"/>
              </a:buClr>
              <a:buSzPts val="1600"/>
              <a:buFont typeface="Calibri"/>
              <a:buChar char="−"/>
            </a:pPr>
            <a:r>
              <a:rPr lang="en-US" sz="1600" b="0" i="0" u="none" strike="noStrike" cap="none">
                <a:solidFill>
                  <a:schemeClr val="lt1"/>
                </a:solidFill>
                <a:latin typeface="Calibri"/>
                <a:ea typeface="Calibri"/>
                <a:cs typeface="Calibri"/>
                <a:sym typeface="Calibri"/>
              </a:rPr>
              <a:t>They are trained and immersed in business-friendly environment</a:t>
            </a:r>
            <a:endParaRPr sz="1400" b="0" i="0" u="none" strike="noStrike" cap="none">
              <a:solidFill>
                <a:srgbClr val="000000"/>
              </a:solidFill>
              <a:latin typeface="Arial"/>
              <a:ea typeface="Arial"/>
              <a:cs typeface="Arial"/>
              <a:sym typeface="Arial"/>
            </a:endParaRPr>
          </a:p>
          <a:p>
            <a:pPr marL="358775" marR="0" lvl="2" indent="-179387" algn="l" rtl="0">
              <a:lnSpc>
                <a:spcPct val="95000"/>
              </a:lnSpc>
              <a:spcBef>
                <a:spcPts val="500"/>
              </a:spcBef>
              <a:spcAft>
                <a:spcPts val="0"/>
              </a:spcAft>
              <a:buClr>
                <a:schemeClr val="accent1"/>
              </a:buClr>
              <a:buSzPts val="1600"/>
              <a:buFont typeface="Calibri"/>
              <a:buChar char="−"/>
            </a:pPr>
            <a:r>
              <a:rPr lang="en-US" sz="1600" b="0" i="0" u="none" strike="noStrike" cap="none">
                <a:solidFill>
                  <a:schemeClr val="lt1"/>
                </a:solidFill>
                <a:latin typeface="Calibri"/>
                <a:ea typeface="Calibri"/>
                <a:cs typeface="Calibri"/>
                <a:sym typeface="Calibri"/>
              </a:rPr>
              <a:t>Fully able to translate the meaning of business language</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1000"/>
              </a:spcBef>
              <a:spcAft>
                <a:spcPts val="0"/>
              </a:spcAft>
              <a:buClr>
                <a:schemeClr val="accent1"/>
              </a:buClr>
              <a:buSzPts val="1440"/>
              <a:buFont typeface="Noto Sans Symbols"/>
              <a:buChar char="▪"/>
            </a:pPr>
            <a:r>
              <a:rPr lang="en-US" sz="1600" b="0" i="0" u="none" strike="noStrike" cap="none">
                <a:solidFill>
                  <a:schemeClr val="lt1"/>
                </a:solidFill>
                <a:latin typeface="Calibri"/>
                <a:ea typeface="Calibri"/>
                <a:cs typeface="Calibri"/>
                <a:sym typeface="Calibri"/>
              </a:rPr>
              <a:t>Infomineo hires </a:t>
            </a:r>
            <a:r>
              <a:rPr lang="en-US" sz="1600" b="1" i="0" u="none" strike="noStrike" cap="none">
                <a:solidFill>
                  <a:schemeClr val="lt1"/>
                </a:solidFill>
                <a:latin typeface="Calibri"/>
                <a:ea typeface="Calibri"/>
                <a:cs typeface="Calibri"/>
                <a:sym typeface="Calibri"/>
              </a:rPr>
              <a:t>full-time translators</a:t>
            </a:r>
            <a:r>
              <a:rPr lang="en-US" sz="1600" b="0" i="0" u="none" strike="noStrike" cap="none">
                <a:solidFill>
                  <a:schemeClr val="lt1"/>
                </a:solidFill>
                <a:latin typeface="Calibri"/>
                <a:ea typeface="Calibri"/>
                <a:cs typeface="Calibri"/>
                <a:sym typeface="Calibri"/>
              </a:rPr>
              <a:t> working from the office – We are ISO 27001 certified</a:t>
            </a:r>
            <a:endParaRPr sz="1440" b="0" i="0" u="none" strike="noStrike" cap="none">
              <a:solidFill>
                <a:schemeClr val="lt1"/>
              </a:solidFill>
              <a:latin typeface="Calibri"/>
              <a:ea typeface="Calibri"/>
              <a:cs typeface="Calibri"/>
              <a:sym typeface="Calibri"/>
            </a:endParaRPr>
          </a:p>
          <a:p>
            <a:pPr marL="176213" marR="0" lvl="1" indent="-176213" algn="l" rtl="0">
              <a:lnSpc>
                <a:spcPct val="95000"/>
              </a:lnSpc>
              <a:spcBef>
                <a:spcPts val="1000"/>
              </a:spcBef>
              <a:spcAft>
                <a:spcPts val="0"/>
              </a:spcAft>
              <a:buClr>
                <a:schemeClr val="accent1"/>
              </a:buClr>
              <a:buSzPts val="1440"/>
              <a:buFont typeface="Noto Sans Symbols"/>
              <a:buChar char="▪"/>
            </a:pPr>
            <a:r>
              <a:rPr lang="en-US" sz="1600" b="0" i="0" u="none" strike="noStrike" cap="none">
                <a:solidFill>
                  <a:schemeClr val="lt1"/>
                </a:solidFill>
                <a:latin typeface="Calibri"/>
                <a:ea typeface="Calibri"/>
                <a:cs typeface="Calibri"/>
                <a:sym typeface="Calibri"/>
              </a:rPr>
              <a:t>We are an outsourcing company managed by former consultants – We understand your agenda and put in place the </a:t>
            </a:r>
            <a:r>
              <a:rPr lang="en-US" sz="1600" b="1" i="0" u="none" strike="noStrike" cap="none">
                <a:solidFill>
                  <a:schemeClr val="lt1"/>
                </a:solidFill>
                <a:latin typeface="Calibri"/>
                <a:ea typeface="Calibri"/>
                <a:cs typeface="Calibri"/>
                <a:sym typeface="Calibri"/>
              </a:rPr>
              <a:t>processes which fit your needs</a:t>
            </a:r>
            <a:endParaRPr sz="1440" b="1" i="0" u="none" strike="noStrike" cap="none">
              <a:solidFill>
                <a:schemeClr val="lt1"/>
              </a:solidFill>
              <a:latin typeface="Calibri"/>
              <a:ea typeface="Calibri"/>
              <a:cs typeface="Calibri"/>
              <a:sym typeface="Calibri"/>
            </a:endParaRPr>
          </a:p>
          <a:p>
            <a:pPr marL="176213" marR="0" lvl="1" indent="-176213" algn="l" rtl="0">
              <a:lnSpc>
                <a:spcPct val="95000"/>
              </a:lnSpc>
              <a:spcBef>
                <a:spcPts val="1000"/>
              </a:spcBef>
              <a:spcAft>
                <a:spcPts val="0"/>
              </a:spcAft>
              <a:buClr>
                <a:schemeClr val="accent1"/>
              </a:buClr>
              <a:buSzPts val="1440"/>
              <a:buFont typeface="Noto Sans Symbols"/>
              <a:buChar char="▪"/>
            </a:pPr>
            <a:r>
              <a:rPr lang="en-US" sz="1600" b="0" i="0" u="none" strike="noStrike" cap="none">
                <a:solidFill>
                  <a:schemeClr val="lt1"/>
                </a:solidFill>
                <a:latin typeface="Calibri"/>
                <a:ea typeface="Calibri"/>
                <a:cs typeface="Calibri"/>
                <a:sym typeface="Calibri"/>
              </a:rPr>
              <a:t>We work exclusively for consultancies, government entities and large corporations</a:t>
            </a:r>
            <a:endParaRPr sz="1440" b="0" i="0" u="none" strike="noStrike" cap="none">
              <a:solidFill>
                <a:schemeClr val="lt1"/>
              </a:solidFill>
              <a:latin typeface="Calibri"/>
              <a:ea typeface="Calibri"/>
              <a:cs typeface="Calibri"/>
              <a:sym typeface="Calibri"/>
            </a:endParaRPr>
          </a:p>
          <a:p>
            <a:pPr marL="176213" marR="0" lvl="1" indent="-176213" algn="l" rtl="0">
              <a:lnSpc>
                <a:spcPct val="95000"/>
              </a:lnSpc>
              <a:spcBef>
                <a:spcPts val="1000"/>
              </a:spcBef>
              <a:spcAft>
                <a:spcPts val="0"/>
              </a:spcAft>
              <a:buClr>
                <a:schemeClr val="accent1"/>
              </a:buClr>
              <a:buSzPts val="1440"/>
              <a:buFont typeface="Noto Sans Symbols"/>
              <a:buChar char="▪"/>
            </a:pPr>
            <a:r>
              <a:rPr lang="en-US" sz="1600" b="0" i="0" u="none" strike="noStrike" cap="none">
                <a:solidFill>
                  <a:schemeClr val="lt1"/>
                </a:solidFill>
                <a:latin typeface="Calibri"/>
                <a:ea typeface="Calibri"/>
                <a:cs typeface="Calibri"/>
                <a:sym typeface="Calibri"/>
              </a:rPr>
              <a:t>We focus our translation on the region-specific languages: English, Arabic and French</a:t>
            </a:r>
            <a:endParaRPr sz="1440" b="0" i="0" u="none" strike="noStrike" cap="none">
              <a:solidFill>
                <a:schemeClr val="lt1"/>
              </a:solidFill>
              <a:latin typeface="Calibri"/>
              <a:ea typeface="Calibri"/>
              <a:cs typeface="Calibri"/>
              <a:sym typeface="Calibri"/>
            </a:endParaRPr>
          </a:p>
        </p:txBody>
      </p:sp>
      <p:sp>
        <p:nvSpPr>
          <p:cNvPr id="2351" name="Google Shape;2351;p26"/>
          <p:cNvSpPr txBox="1"/>
          <p:nvPr/>
        </p:nvSpPr>
        <p:spPr>
          <a:xfrm>
            <a:off x="6447529" y="1857375"/>
            <a:ext cx="5193608" cy="292388"/>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2000"/>
              <a:buFont typeface="Arial"/>
              <a:buNone/>
            </a:pPr>
            <a:r>
              <a:rPr lang="en-US" sz="2000" b="0" i="0" u="none" strike="noStrike" cap="none">
                <a:solidFill>
                  <a:schemeClr val="accent1"/>
                </a:solidFill>
                <a:latin typeface="Lato Black"/>
                <a:ea typeface="Lato Black"/>
                <a:cs typeface="Lato Black"/>
                <a:sym typeface="Lato Black"/>
              </a:rPr>
              <a:t>Infomineo model</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2355"/>
        <p:cNvGrpSpPr/>
        <p:nvPr/>
      </p:nvGrpSpPr>
      <p:grpSpPr>
        <a:xfrm>
          <a:off x="0" y="0"/>
          <a:ext cx="0" cy="0"/>
          <a:chOff x="0" y="0"/>
          <a:chExt cx="0" cy="0"/>
        </a:xfrm>
      </p:grpSpPr>
      <p:sp>
        <p:nvSpPr>
          <p:cNvPr id="2356" name="Google Shape;2356;p27"/>
          <p:cNvSpPr txBox="1">
            <a:spLocks noGrp="1"/>
          </p:cNvSpPr>
          <p:nvPr>
            <p:ph type="title"/>
          </p:nvPr>
        </p:nvSpPr>
        <p:spPr>
          <a:xfrm>
            <a:off x="539400"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Infomineo Language services Capabilities</a:t>
            </a:r>
            <a:endParaRPr/>
          </a:p>
        </p:txBody>
      </p:sp>
      <p:sp>
        <p:nvSpPr>
          <p:cNvPr id="2357" name="Google Shape;2357;p27"/>
          <p:cNvSpPr txBox="1">
            <a:spLocks noGrp="1"/>
          </p:cNvSpPr>
          <p:nvPr>
            <p:ph type="body" idx="4294967295"/>
          </p:nvPr>
        </p:nvSpPr>
        <p:spPr>
          <a:xfrm>
            <a:off x="6257924" y="2892637"/>
            <a:ext cx="5270500" cy="3530600"/>
          </a:xfrm>
          <a:prstGeom prst="rect">
            <a:avLst/>
          </a:prstGeom>
          <a:noFill/>
          <a:ln>
            <a:noFill/>
          </a:ln>
        </p:spPr>
        <p:txBody>
          <a:bodyPr spcFirstLastPara="1" wrap="square" lIns="0" tIns="0" rIns="0" bIns="0" anchor="t" anchorCtr="0">
            <a:spAutoFit/>
          </a:bodyPr>
          <a:lstStyle/>
          <a:p>
            <a:pPr marL="176213" lvl="1" indent="-176213" algn="l" rtl="0">
              <a:lnSpc>
                <a:spcPct val="95000"/>
              </a:lnSpc>
              <a:spcBef>
                <a:spcPts val="0"/>
              </a:spcBef>
              <a:spcAft>
                <a:spcPts val="0"/>
              </a:spcAft>
              <a:buSzPts val="1440"/>
              <a:buChar char="▪"/>
            </a:pPr>
            <a:r>
              <a:rPr lang="en-US"/>
              <a:t>Extensive experience </a:t>
            </a:r>
            <a:r>
              <a:rPr lang="en-US" b="1">
                <a:solidFill>
                  <a:srgbClr val="222222"/>
                </a:solidFill>
              </a:rPr>
              <a:t>with quality-focused, high-visibility documents</a:t>
            </a:r>
            <a:r>
              <a:rPr lang="en-US"/>
              <a:t> for final clients (high-quality targets, short deadlines)</a:t>
            </a:r>
            <a:endParaRPr/>
          </a:p>
          <a:p>
            <a:pPr marL="176213" lvl="1" indent="-176213" algn="l" rtl="0">
              <a:lnSpc>
                <a:spcPct val="95000"/>
              </a:lnSpc>
              <a:spcBef>
                <a:spcPts val="500"/>
              </a:spcBef>
              <a:spcAft>
                <a:spcPts val="0"/>
              </a:spcAft>
              <a:buSzPts val="1440"/>
              <a:buChar char="▪"/>
            </a:pPr>
            <a:r>
              <a:rPr lang="en-US"/>
              <a:t>Extensive experience with </a:t>
            </a:r>
            <a:r>
              <a:rPr lang="en-US" b="1">
                <a:solidFill>
                  <a:srgbClr val="222222"/>
                </a:solidFill>
              </a:rPr>
              <a:t>efficiency-focused, internal documents</a:t>
            </a:r>
            <a:r>
              <a:rPr lang="en-US"/>
              <a:t> for consulting companies or large corporates (lower quality targets, very short deadlines)</a:t>
            </a:r>
            <a:endParaRPr/>
          </a:p>
          <a:p>
            <a:pPr marL="176213" lvl="1" indent="-176213" algn="l" rtl="0">
              <a:lnSpc>
                <a:spcPct val="95000"/>
              </a:lnSpc>
              <a:spcBef>
                <a:spcPts val="500"/>
              </a:spcBef>
              <a:spcAft>
                <a:spcPts val="0"/>
              </a:spcAft>
              <a:buSzPts val="1440"/>
              <a:buChar char="▪"/>
            </a:pPr>
            <a:r>
              <a:rPr lang="en-US" b="1">
                <a:solidFill>
                  <a:srgbClr val="222222"/>
                </a:solidFill>
              </a:rPr>
              <a:t>Multi-sector experience </a:t>
            </a:r>
            <a:r>
              <a:rPr lang="en-US"/>
              <a:t>with extensive work done in the Public Sector, i.e. for consulting projects with GCC governmental clients</a:t>
            </a:r>
            <a:endParaRPr/>
          </a:p>
          <a:p>
            <a:pPr marL="176213" lvl="1" indent="-176213" algn="l" rtl="0">
              <a:lnSpc>
                <a:spcPct val="95000"/>
              </a:lnSpc>
              <a:spcBef>
                <a:spcPts val="500"/>
              </a:spcBef>
              <a:spcAft>
                <a:spcPts val="0"/>
              </a:spcAft>
              <a:buSzPts val="1440"/>
              <a:buChar char="▪"/>
            </a:pPr>
            <a:r>
              <a:rPr lang="en-US"/>
              <a:t>Experienced in handling </a:t>
            </a:r>
            <a:r>
              <a:rPr lang="en-US" b="1">
                <a:solidFill>
                  <a:srgbClr val="222222"/>
                </a:solidFill>
              </a:rPr>
              <a:t>different document types </a:t>
            </a:r>
            <a:r>
              <a:rPr lang="en-US"/>
              <a:t>(e.g. end-of-project presentations, RfPs &amp; proposals, legal documents, working files, internal and client communications)</a:t>
            </a:r>
            <a:endParaRPr/>
          </a:p>
          <a:p>
            <a:pPr marL="176213" lvl="1" indent="-176213" algn="l" rtl="0">
              <a:lnSpc>
                <a:spcPct val="95000"/>
              </a:lnSpc>
              <a:spcBef>
                <a:spcPts val="500"/>
              </a:spcBef>
              <a:spcAft>
                <a:spcPts val="0"/>
              </a:spcAft>
              <a:buSzPts val="1440"/>
              <a:buChar char="▪"/>
            </a:pPr>
            <a:r>
              <a:rPr lang="en-US"/>
              <a:t>Experienced in handling different </a:t>
            </a:r>
            <a:r>
              <a:rPr lang="en-US" b="1">
                <a:solidFill>
                  <a:srgbClr val="222222"/>
                </a:solidFill>
              </a:rPr>
              <a:t>document formats </a:t>
            </a:r>
            <a:r>
              <a:rPr lang="en-US"/>
              <a:t>(PPT/ Excel/Word/PDF)</a:t>
            </a:r>
            <a:endParaRPr/>
          </a:p>
        </p:txBody>
      </p:sp>
      <p:sp>
        <p:nvSpPr>
          <p:cNvPr id="2358" name="Google Shape;2358;p27"/>
          <p:cNvSpPr txBox="1"/>
          <p:nvPr/>
        </p:nvSpPr>
        <p:spPr>
          <a:xfrm>
            <a:off x="534076" y="2891994"/>
            <a:ext cx="4952325" cy="2701252"/>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chemeClr val="dk2"/>
              </a:buClr>
              <a:buSzPts val="1440"/>
              <a:buFont typeface="Noto Sans Symbols"/>
              <a:buChar char="▪"/>
            </a:pPr>
            <a:r>
              <a:rPr lang="en-US" sz="1600" b="0" i="0" u="none" strike="noStrike" cap="none">
                <a:solidFill>
                  <a:schemeClr val="dk1"/>
                </a:solidFill>
                <a:latin typeface="Calibri"/>
                <a:ea typeface="Calibri"/>
                <a:cs typeface="Calibri"/>
                <a:sym typeface="Calibri"/>
              </a:rPr>
              <a:t>Key expertise in </a:t>
            </a:r>
            <a:r>
              <a:rPr lang="en-US" sz="1600" b="1" i="0" u="none" strike="noStrike" cap="none">
                <a:solidFill>
                  <a:srgbClr val="222222"/>
                </a:solidFill>
                <a:latin typeface="Calibri"/>
                <a:ea typeface="Calibri"/>
                <a:cs typeface="Calibri"/>
                <a:sym typeface="Calibri"/>
              </a:rPr>
              <a:t>Arabic/English</a:t>
            </a:r>
            <a:r>
              <a:rPr lang="en-US" sz="1600" b="0" i="0" u="none" strike="noStrike" cap="none">
                <a:solidFill>
                  <a:schemeClr val="dk1"/>
                </a:solidFill>
                <a:latin typeface="Calibri"/>
                <a:ea typeface="Calibri"/>
                <a:cs typeface="Calibri"/>
                <a:sym typeface="Calibri"/>
              </a:rPr>
              <a:t> in the directions AR-EN and EN-AR. </a:t>
            </a:r>
            <a:r>
              <a:rPr lang="en-US" sz="1600" b="1" i="0" u="none" strike="noStrike" cap="none">
                <a:solidFill>
                  <a:srgbClr val="222222"/>
                </a:solidFill>
                <a:latin typeface="Calibri"/>
                <a:ea typeface="Calibri"/>
                <a:cs typeface="Calibri"/>
                <a:sym typeface="Calibri"/>
              </a:rPr>
              <a:t>French/Arabic</a:t>
            </a:r>
            <a:r>
              <a:rPr lang="en-US" sz="1600" b="0" i="0" u="none" strike="noStrike" cap="none">
                <a:solidFill>
                  <a:schemeClr val="dk1"/>
                </a:solidFill>
                <a:latin typeface="Calibri"/>
                <a:ea typeface="Calibri"/>
                <a:cs typeface="Calibri"/>
                <a:sym typeface="Calibri"/>
              </a:rPr>
              <a:t> and </a:t>
            </a:r>
            <a:r>
              <a:rPr lang="en-US" sz="1600" b="1" i="0" u="none" strike="noStrike" cap="none">
                <a:solidFill>
                  <a:srgbClr val="222222"/>
                </a:solidFill>
                <a:latin typeface="Calibri"/>
                <a:ea typeface="Calibri"/>
                <a:cs typeface="Calibri"/>
                <a:sym typeface="Calibri"/>
              </a:rPr>
              <a:t>French/English </a:t>
            </a:r>
            <a:r>
              <a:rPr lang="en-US" sz="1600" b="0" i="0" u="none" strike="noStrike" cap="none">
                <a:solidFill>
                  <a:schemeClr val="dk1"/>
                </a:solidFill>
                <a:latin typeface="Calibri"/>
                <a:ea typeface="Calibri"/>
                <a:cs typeface="Calibri"/>
                <a:sym typeface="Calibri"/>
              </a:rPr>
              <a:t>can also be covered.</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500"/>
              </a:spcBef>
              <a:spcAft>
                <a:spcPts val="0"/>
              </a:spcAft>
              <a:buClr>
                <a:schemeClr val="dk2"/>
              </a:buClr>
              <a:buSzPts val="1440"/>
              <a:buFont typeface="Noto Sans Symbols"/>
              <a:buChar char="▪"/>
            </a:pPr>
            <a:r>
              <a:rPr lang="en-US" sz="1600" b="0" i="0" u="none" strike="noStrike" cap="none">
                <a:solidFill>
                  <a:schemeClr val="dk1"/>
                </a:solidFill>
                <a:latin typeface="Calibri"/>
                <a:ea typeface="Calibri"/>
                <a:cs typeface="Calibri"/>
                <a:sym typeface="Calibri"/>
              </a:rPr>
              <a:t>Translations into Modern Standard Arabic – </a:t>
            </a:r>
            <a:r>
              <a:rPr lang="en-US" sz="1600" b="1" i="0" u="none" strike="noStrike" cap="none">
                <a:solidFill>
                  <a:srgbClr val="222222"/>
                </a:solidFill>
                <a:latin typeface="Calibri"/>
                <a:ea typeface="Calibri"/>
                <a:cs typeface="Calibri"/>
                <a:sym typeface="Calibri"/>
              </a:rPr>
              <a:t>localization of the translation</a:t>
            </a:r>
            <a:r>
              <a:rPr lang="en-US" sz="1600" b="0" i="0" u="none" strike="noStrike" cap="none">
                <a:solidFill>
                  <a:schemeClr val="dk1"/>
                </a:solidFill>
                <a:latin typeface="Calibri"/>
                <a:ea typeface="Calibri"/>
                <a:cs typeface="Calibri"/>
                <a:sym typeface="Calibri"/>
              </a:rPr>
              <a:t> is possible based on client requirements (i.e. adjust to Saudi, Egyptian or any other GCC context) </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500"/>
              </a:spcBef>
              <a:spcAft>
                <a:spcPts val="0"/>
              </a:spcAft>
              <a:buClr>
                <a:schemeClr val="dk2"/>
              </a:buClr>
              <a:buSzPts val="1440"/>
              <a:buFont typeface="Noto Sans Symbols"/>
              <a:buChar char="▪"/>
            </a:pPr>
            <a:r>
              <a:rPr lang="en-US" sz="1600" b="0" i="0" u="none" strike="noStrike" cap="none">
                <a:solidFill>
                  <a:schemeClr val="dk1"/>
                </a:solidFill>
                <a:latin typeface="Calibri"/>
                <a:ea typeface="Calibri"/>
                <a:cs typeface="Calibri"/>
                <a:sym typeface="Calibri"/>
              </a:rPr>
              <a:t>Very experienced in mirroring the </a:t>
            </a:r>
            <a:r>
              <a:rPr lang="en-US" sz="1600" b="1" i="0" u="none" strike="noStrike" cap="none">
                <a:solidFill>
                  <a:srgbClr val="222222"/>
                </a:solidFill>
                <a:latin typeface="Calibri"/>
                <a:ea typeface="Calibri"/>
                <a:cs typeface="Calibri"/>
                <a:sym typeface="Calibri"/>
              </a:rPr>
              <a:t>client-specific language</a:t>
            </a:r>
            <a:r>
              <a:rPr lang="en-US" sz="1600" b="0" i="0" u="none" strike="noStrike" cap="none">
                <a:solidFill>
                  <a:schemeClr val="dk1"/>
                </a:solidFill>
                <a:latin typeface="Calibri"/>
                <a:ea typeface="Calibri"/>
                <a:cs typeface="Calibri"/>
                <a:sym typeface="Calibri"/>
              </a:rPr>
              <a:t> used in client documents thanks to close collaboration with clients. Highly accomplished in building and maintaining client-specific libraries.</a:t>
            </a:r>
            <a:endParaRPr sz="1400" b="0" i="0" u="none" strike="noStrike" cap="none">
              <a:solidFill>
                <a:srgbClr val="000000"/>
              </a:solidFill>
              <a:latin typeface="Arial"/>
              <a:ea typeface="Arial"/>
              <a:cs typeface="Arial"/>
              <a:sym typeface="Arial"/>
            </a:endParaRPr>
          </a:p>
        </p:txBody>
      </p:sp>
      <p:grpSp>
        <p:nvGrpSpPr>
          <p:cNvPr id="2359" name="Google Shape;2359;p27"/>
          <p:cNvGrpSpPr/>
          <p:nvPr/>
        </p:nvGrpSpPr>
        <p:grpSpPr>
          <a:xfrm>
            <a:off x="10881886" y="135255"/>
            <a:ext cx="1141311" cy="468742"/>
            <a:chOff x="10881886" y="135255"/>
            <a:chExt cx="1141311" cy="468742"/>
          </a:xfrm>
        </p:grpSpPr>
        <p:grpSp>
          <p:nvGrpSpPr>
            <p:cNvPr id="2360" name="Google Shape;2360;p27"/>
            <p:cNvGrpSpPr/>
            <p:nvPr/>
          </p:nvGrpSpPr>
          <p:grpSpPr>
            <a:xfrm>
              <a:off x="10881886" y="135255"/>
              <a:ext cx="1141311" cy="468742"/>
              <a:chOff x="10881886" y="135255"/>
              <a:chExt cx="1141311" cy="468742"/>
            </a:xfrm>
          </p:grpSpPr>
          <p:sp>
            <p:nvSpPr>
              <p:cNvPr id="2361" name="Google Shape;2361;p27"/>
              <p:cNvSpPr txBox="1"/>
              <p:nvPr/>
            </p:nvSpPr>
            <p:spPr>
              <a:xfrm>
                <a:off x="10881886" y="230150"/>
                <a:ext cx="628378" cy="2769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Business </a:t>
                </a:r>
                <a:endParaRPr sz="1400" b="0" i="0" u="none" strike="noStrike" cap="none">
                  <a:solidFill>
                    <a:srgbClr val="000000"/>
                  </a:solidFill>
                  <a:latin typeface="Arial"/>
                  <a:ea typeface="Arial"/>
                  <a:cs typeface="Arial"/>
                  <a:sym typeface="Arial"/>
                </a:endParaRPr>
              </a:p>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Translation</a:t>
                </a:r>
                <a:endParaRPr sz="1400" b="0" i="0" u="none" strike="noStrike" cap="none">
                  <a:solidFill>
                    <a:srgbClr val="000000"/>
                  </a:solidFill>
                  <a:latin typeface="Arial"/>
                  <a:ea typeface="Arial"/>
                  <a:cs typeface="Arial"/>
                  <a:sym typeface="Arial"/>
                </a:endParaRPr>
              </a:p>
            </p:txBody>
          </p:sp>
          <p:sp>
            <p:nvSpPr>
              <p:cNvPr id="2362" name="Google Shape;2362;p27"/>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grpSp>
          <p:nvGrpSpPr>
            <p:cNvPr id="2363" name="Google Shape;2363;p27"/>
            <p:cNvGrpSpPr/>
            <p:nvPr/>
          </p:nvGrpSpPr>
          <p:grpSpPr>
            <a:xfrm>
              <a:off x="11701145" y="220980"/>
              <a:ext cx="175360" cy="295338"/>
              <a:chOff x="6689308" y="2024976"/>
              <a:chExt cx="325986" cy="549024"/>
            </a:xfrm>
          </p:grpSpPr>
          <p:sp>
            <p:nvSpPr>
              <p:cNvPr id="2364" name="Google Shape;2364;p27"/>
              <p:cNvSpPr/>
              <p:nvPr/>
            </p:nvSpPr>
            <p:spPr>
              <a:xfrm>
                <a:off x="6689308" y="2024976"/>
                <a:ext cx="325986" cy="549024"/>
              </a:xfrm>
              <a:custGeom>
                <a:avLst/>
                <a:gdLst/>
                <a:ahLst/>
                <a:cxnLst/>
                <a:rect l="l" t="t" r="r" b="b"/>
                <a:pathLst>
                  <a:path w="325986" h="549024" extrusionOk="0">
                    <a:moveTo>
                      <a:pt x="304900" y="0"/>
                    </a:moveTo>
                    <a:lnTo>
                      <a:pt x="24663" y="0"/>
                    </a:lnTo>
                    <a:cubicBezTo>
                      <a:pt x="11049" y="17"/>
                      <a:pt x="17" y="11049"/>
                      <a:pt x="0" y="24663"/>
                    </a:cubicBezTo>
                    <a:lnTo>
                      <a:pt x="0" y="524361"/>
                    </a:lnTo>
                    <a:cubicBezTo>
                      <a:pt x="17" y="537975"/>
                      <a:pt x="11049" y="549007"/>
                      <a:pt x="24663" y="549024"/>
                    </a:cubicBezTo>
                    <a:lnTo>
                      <a:pt x="304900" y="549024"/>
                    </a:lnTo>
                    <a:cubicBezTo>
                      <a:pt x="318516" y="549011"/>
                      <a:pt x="329551" y="537975"/>
                      <a:pt x="329563" y="524361"/>
                    </a:cubicBezTo>
                    <a:lnTo>
                      <a:pt x="329563" y="24663"/>
                    </a:lnTo>
                    <a:cubicBezTo>
                      <a:pt x="329551" y="11048"/>
                      <a:pt x="318516" y="14"/>
                      <a:pt x="304900" y="0"/>
                    </a:cubicBezTo>
                    <a:close/>
                    <a:moveTo>
                      <a:pt x="240852" y="15012"/>
                    </a:moveTo>
                    <a:lnTo>
                      <a:pt x="223313" y="32538"/>
                    </a:lnTo>
                    <a:cubicBezTo>
                      <a:pt x="216691" y="39189"/>
                      <a:pt x="207684" y="42917"/>
                      <a:pt x="198298" y="42893"/>
                    </a:cubicBezTo>
                    <a:lnTo>
                      <a:pt x="131265" y="42893"/>
                    </a:lnTo>
                    <a:cubicBezTo>
                      <a:pt x="121879" y="42917"/>
                      <a:pt x="112873" y="39189"/>
                      <a:pt x="106250" y="32538"/>
                    </a:cubicBezTo>
                    <a:lnTo>
                      <a:pt x="88711" y="15012"/>
                    </a:lnTo>
                    <a:close/>
                    <a:moveTo>
                      <a:pt x="314551" y="524361"/>
                    </a:moveTo>
                    <a:cubicBezTo>
                      <a:pt x="314544" y="529688"/>
                      <a:pt x="310227" y="534003"/>
                      <a:pt x="304900" y="534012"/>
                    </a:cubicBezTo>
                    <a:lnTo>
                      <a:pt x="24663" y="534012"/>
                    </a:lnTo>
                    <a:cubicBezTo>
                      <a:pt x="19336" y="534003"/>
                      <a:pt x="15020" y="529688"/>
                      <a:pt x="15013" y="524361"/>
                    </a:cubicBezTo>
                    <a:lnTo>
                      <a:pt x="15013" y="24663"/>
                    </a:lnTo>
                    <a:cubicBezTo>
                      <a:pt x="15020" y="19336"/>
                      <a:pt x="19336" y="15019"/>
                      <a:pt x="24663" y="15012"/>
                    </a:cubicBezTo>
                    <a:lnTo>
                      <a:pt x="67471" y="15012"/>
                    </a:lnTo>
                    <a:lnTo>
                      <a:pt x="95638" y="43163"/>
                    </a:lnTo>
                    <a:cubicBezTo>
                      <a:pt x="105072" y="52633"/>
                      <a:pt x="117898" y="57940"/>
                      <a:pt x="131265" y="57905"/>
                    </a:cubicBezTo>
                    <a:lnTo>
                      <a:pt x="198298" y="57905"/>
                    </a:lnTo>
                    <a:cubicBezTo>
                      <a:pt x="211665" y="57940"/>
                      <a:pt x="224492" y="52633"/>
                      <a:pt x="233925" y="43163"/>
                    </a:cubicBezTo>
                    <a:lnTo>
                      <a:pt x="262093" y="15012"/>
                    </a:lnTo>
                    <a:lnTo>
                      <a:pt x="304900" y="15012"/>
                    </a:lnTo>
                    <a:cubicBezTo>
                      <a:pt x="310227" y="15019"/>
                      <a:pt x="314544" y="19336"/>
                      <a:pt x="314551" y="2466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65" name="Google Shape;2365;p27"/>
              <p:cNvSpPr/>
              <p:nvPr/>
            </p:nvSpPr>
            <p:spPr>
              <a:xfrm>
                <a:off x="6732201" y="2110795"/>
                <a:ext cx="85786" cy="98653"/>
              </a:xfrm>
              <a:custGeom>
                <a:avLst/>
                <a:gdLst/>
                <a:ahLst/>
                <a:cxnLst/>
                <a:rect l="l" t="t" r="r" b="b"/>
                <a:pathLst>
                  <a:path w="85785" h="98652" extrusionOk="0">
                    <a:moveTo>
                      <a:pt x="5040" y="98734"/>
                    </a:moveTo>
                    <a:cubicBezTo>
                      <a:pt x="8946" y="100102"/>
                      <a:pt x="13221" y="98044"/>
                      <a:pt x="14588" y="94138"/>
                    </a:cubicBezTo>
                    <a:cubicBezTo>
                      <a:pt x="14591" y="94130"/>
                      <a:pt x="14594" y="94122"/>
                      <a:pt x="14597" y="94115"/>
                    </a:cubicBezTo>
                    <a:lnTo>
                      <a:pt x="27499" y="57081"/>
                    </a:lnTo>
                    <a:lnTo>
                      <a:pt x="62242" y="57081"/>
                    </a:lnTo>
                    <a:lnTo>
                      <a:pt x="75136" y="94115"/>
                    </a:lnTo>
                    <a:cubicBezTo>
                      <a:pt x="76715" y="97948"/>
                      <a:pt x="81102" y="99776"/>
                      <a:pt x="84935" y="98197"/>
                    </a:cubicBezTo>
                    <a:cubicBezTo>
                      <a:pt x="88471" y="96740"/>
                      <a:pt x="90347" y="92858"/>
                      <a:pt x="89290" y="89182"/>
                    </a:cubicBezTo>
                    <a:lnTo>
                      <a:pt x="59994" y="5040"/>
                    </a:lnTo>
                    <a:cubicBezTo>
                      <a:pt x="58944" y="2022"/>
                      <a:pt x="56099" y="0"/>
                      <a:pt x="52904" y="0"/>
                    </a:cubicBezTo>
                    <a:lnTo>
                      <a:pt x="36819" y="0"/>
                    </a:lnTo>
                    <a:cubicBezTo>
                      <a:pt x="33624" y="0"/>
                      <a:pt x="30779" y="2022"/>
                      <a:pt x="29729" y="5040"/>
                    </a:cubicBezTo>
                    <a:lnTo>
                      <a:pt x="420" y="89182"/>
                    </a:lnTo>
                    <a:cubicBezTo>
                      <a:pt x="-944" y="93092"/>
                      <a:pt x="1120" y="97367"/>
                      <a:pt x="5030" y="98731"/>
                    </a:cubicBezTo>
                    <a:cubicBezTo>
                      <a:pt x="5034" y="98732"/>
                      <a:pt x="5037" y="98733"/>
                      <a:pt x="5040" y="98734"/>
                    </a:cubicBezTo>
                    <a:close/>
                    <a:moveTo>
                      <a:pt x="42151" y="15012"/>
                    </a:moveTo>
                    <a:lnTo>
                      <a:pt x="47568" y="15012"/>
                    </a:lnTo>
                    <a:lnTo>
                      <a:pt x="57005" y="42069"/>
                    </a:lnTo>
                    <a:lnTo>
                      <a:pt x="32727" y="4206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66" name="Google Shape;2366;p27"/>
              <p:cNvSpPr/>
              <p:nvPr/>
            </p:nvSpPr>
            <p:spPr>
              <a:xfrm>
                <a:off x="6886259" y="2110795"/>
                <a:ext cx="85786" cy="98653"/>
              </a:xfrm>
              <a:custGeom>
                <a:avLst/>
                <a:gdLst/>
                <a:ahLst/>
                <a:cxnLst/>
                <a:rect l="l" t="t" r="r" b="b"/>
                <a:pathLst>
                  <a:path w="85785" h="98652" extrusionOk="0">
                    <a:moveTo>
                      <a:pt x="82213" y="24629"/>
                    </a:moveTo>
                    <a:lnTo>
                      <a:pt x="52368" y="24629"/>
                    </a:lnTo>
                    <a:lnTo>
                      <a:pt x="52368" y="7506"/>
                    </a:lnTo>
                    <a:cubicBezTo>
                      <a:pt x="52368" y="3361"/>
                      <a:pt x="49007" y="0"/>
                      <a:pt x="44862" y="0"/>
                    </a:cubicBezTo>
                    <a:cubicBezTo>
                      <a:pt x="40716" y="0"/>
                      <a:pt x="37355" y="3361"/>
                      <a:pt x="37355" y="7506"/>
                    </a:cubicBezTo>
                    <a:lnTo>
                      <a:pt x="37355" y="24629"/>
                    </a:lnTo>
                    <a:lnTo>
                      <a:pt x="7506" y="24629"/>
                    </a:lnTo>
                    <a:cubicBezTo>
                      <a:pt x="3361" y="24629"/>
                      <a:pt x="0" y="27990"/>
                      <a:pt x="0" y="32135"/>
                    </a:cubicBezTo>
                    <a:cubicBezTo>
                      <a:pt x="0" y="36281"/>
                      <a:pt x="3361" y="39641"/>
                      <a:pt x="7506" y="39641"/>
                    </a:cubicBezTo>
                    <a:lnTo>
                      <a:pt x="17873" y="39641"/>
                    </a:lnTo>
                    <a:lnTo>
                      <a:pt x="17873" y="41027"/>
                    </a:lnTo>
                    <a:cubicBezTo>
                      <a:pt x="17867" y="52418"/>
                      <a:pt x="22457" y="63330"/>
                      <a:pt x="30604" y="71292"/>
                    </a:cubicBezTo>
                    <a:lnTo>
                      <a:pt x="4066" y="84974"/>
                    </a:lnTo>
                    <a:cubicBezTo>
                      <a:pt x="456" y="87016"/>
                      <a:pt x="-816" y="91599"/>
                      <a:pt x="1226" y="95209"/>
                    </a:cubicBezTo>
                    <a:cubicBezTo>
                      <a:pt x="3154" y="98618"/>
                      <a:pt x="7378" y="99973"/>
                      <a:pt x="10929" y="98322"/>
                    </a:cubicBezTo>
                    <a:lnTo>
                      <a:pt x="44845" y="80831"/>
                    </a:lnTo>
                    <a:lnTo>
                      <a:pt x="78756" y="98322"/>
                    </a:lnTo>
                    <a:cubicBezTo>
                      <a:pt x="82366" y="100365"/>
                      <a:pt x="86948" y="99093"/>
                      <a:pt x="88990" y="95483"/>
                    </a:cubicBezTo>
                    <a:cubicBezTo>
                      <a:pt x="91032" y="91872"/>
                      <a:pt x="89761" y="87290"/>
                      <a:pt x="86151" y="85248"/>
                    </a:cubicBezTo>
                    <a:cubicBezTo>
                      <a:pt x="85977" y="85150"/>
                      <a:pt x="85800" y="85058"/>
                      <a:pt x="85619" y="84974"/>
                    </a:cubicBezTo>
                    <a:lnTo>
                      <a:pt x="59085" y="71292"/>
                    </a:lnTo>
                    <a:cubicBezTo>
                      <a:pt x="67232" y="63329"/>
                      <a:pt x="71821" y="52415"/>
                      <a:pt x="71811" y="41022"/>
                    </a:cubicBezTo>
                    <a:lnTo>
                      <a:pt x="71811" y="39641"/>
                    </a:lnTo>
                    <a:lnTo>
                      <a:pt x="82179" y="39641"/>
                    </a:lnTo>
                    <a:cubicBezTo>
                      <a:pt x="86324" y="39641"/>
                      <a:pt x="89685" y="36281"/>
                      <a:pt x="89685" y="32135"/>
                    </a:cubicBezTo>
                    <a:cubicBezTo>
                      <a:pt x="89685" y="27990"/>
                      <a:pt x="86324" y="24629"/>
                      <a:pt x="82179" y="24629"/>
                    </a:cubicBezTo>
                    <a:close/>
                    <a:moveTo>
                      <a:pt x="56833" y="41022"/>
                    </a:moveTo>
                    <a:cubicBezTo>
                      <a:pt x="56848" y="50092"/>
                      <a:pt x="52363" y="58580"/>
                      <a:pt x="44862" y="63678"/>
                    </a:cubicBezTo>
                    <a:cubicBezTo>
                      <a:pt x="37360" y="58580"/>
                      <a:pt x="32874" y="50093"/>
                      <a:pt x="32886" y="41022"/>
                    </a:cubicBezTo>
                    <a:lnTo>
                      <a:pt x="32886" y="39641"/>
                    </a:lnTo>
                    <a:lnTo>
                      <a:pt x="56833" y="39641"/>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67" name="Google Shape;2367;p27"/>
              <p:cNvSpPr/>
              <p:nvPr/>
            </p:nvSpPr>
            <p:spPr>
              <a:xfrm>
                <a:off x="6832510" y="2152864"/>
                <a:ext cx="42893" cy="12868"/>
              </a:xfrm>
              <a:custGeom>
                <a:avLst/>
                <a:gdLst/>
                <a:ahLst/>
                <a:cxnLst/>
                <a:rect l="l" t="t" r="r" b="b"/>
                <a:pathLst>
                  <a:path w="42892" h="12867" extrusionOk="0">
                    <a:moveTo>
                      <a:pt x="7506" y="15012"/>
                    </a:moveTo>
                    <a:lnTo>
                      <a:pt x="35653" y="15012"/>
                    </a:lnTo>
                    <a:cubicBezTo>
                      <a:pt x="39798" y="15012"/>
                      <a:pt x="43159" y="11652"/>
                      <a:pt x="43159" y="7506"/>
                    </a:cubicBezTo>
                    <a:cubicBezTo>
                      <a:pt x="43159" y="3361"/>
                      <a:pt x="39798" y="0"/>
                      <a:pt x="35653"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68" name="Google Shape;2368;p27"/>
              <p:cNvSpPr/>
              <p:nvPr/>
            </p:nvSpPr>
            <p:spPr>
              <a:xfrm>
                <a:off x="6732201" y="223786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69" name="Google Shape;2369;p27"/>
              <p:cNvSpPr/>
              <p:nvPr/>
            </p:nvSpPr>
            <p:spPr>
              <a:xfrm>
                <a:off x="6756508" y="2288113"/>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70" name="Google Shape;2370;p27"/>
              <p:cNvSpPr/>
              <p:nvPr/>
            </p:nvSpPr>
            <p:spPr>
              <a:xfrm>
                <a:off x="6732201" y="2338361"/>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71" name="Google Shape;2371;p27"/>
              <p:cNvSpPr/>
              <p:nvPr/>
            </p:nvSpPr>
            <p:spPr>
              <a:xfrm>
                <a:off x="6756508" y="2388606"/>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72" name="Google Shape;2372;p27"/>
              <p:cNvSpPr/>
              <p:nvPr/>
            </p:nvSpPr>
            <p:spPr>
              <a:xfrm>
                <a:off x="6732201" y="243885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73" name="Google Shape;2373;p27"/>
              <p:cNvSpPr/>
              <p:nvPr/>
            </p:nvSpPr>
            <p:spPr>
              <a:xfrm>
                <a:off x="6756508" y="2491764"/>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374" name="Google Shape;2374;p27"/>
          <p:cNvSpPr/>
          <p:nvPr/>
        </p:nvSpPr>
        <p:spPr>
          <a:xfrm>
            <a:off x="1912642" y="1811078"/>
            <a:ext cx="3920788" cy="664797"/>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rgbClr val="000000"/>
              </a:buClr>
              <a:buSzPts val="2400"/>
              <a:buFont typeface="Arial"/>
              <a:buNone/>
            </a:pPr>
            <a:r>
              <a:rPr lang="en-US" sz="2400" b="0" i="0" u="none" strike="noStrike" cap="none">
                <a:solidFill>
                  <a:schemeClr val="accent1"/>
                </a:solidFill>
                <a:latin typeface="Franklin Gothic"/>
                <a:ea typeface="Franklin Gothic"/>
                <a:cs typeface="Franklin Gothic"/>
                <a:sym typeface="Franklin Gothic"/>
              </a:rPr>
              <a:t>Language</a:t>
            </a:r>
            <a:br>
              <a:rPr lang="en-US" sz="2400" b="0" i="0" u="none" strike="noStrike" cap="none">
                <a:solidFill>
                  <a:schemeClr val="accent1"/>
                </a:solidFill>
                <a:latin typeface="Franklin Gothic"/>
                <a:ea typeface="Franklin Gothic"/>
                <a:cs typeface="Franklin Gothic"/>
                <a:sym typeface="Franklin Gothic"/>
              </a:rPr>
            </a:br>
            <a:r>
              <a:rPr lang="en-US" sz="2400" b="0" i="0" u="none" strike="noStrike" cap="none">
                <a:solidFill>
                  <a:schemeClr val="accent1"/>
                </a:solidFill>
                <a:latin typeface="Franklin Gothic"/>
                <a:ea typeface="Franklin Gothic"/>
                <a:cs typeface="Franklin Gothic"/>
                <a:sym typeface="Franklin Gothic"/>
              </a:rPr>
              <a:t>capabilities</a:t>
            </a:r>
            <a:endParaRPr sz="1400" b="0" i="0" u="none" strike="noStrike" cap="none">
              <a:solidFill>
                <a:srgbClr val="000000"/>
              </a:solidFill>
              <a:latin typeface="Arial"/>
              <a:ea typeface="Arial"/>
              <a:cs typeface="Arial"/>
              <a:sym typeface="Arial"/>
            </a:endParaRPr>
          </a:p>
        </p:txBody>
      </p:sp>
      <p:grpSp>
        <p:nvGrpSpPr>
          <p:cNvPr id="2375" name="Google Shape;2375;p27"/>
          <p:cNvGrpSpPr/>
          <p:nvPr/>
        </p:nvGrpSpPr>
        <p:grpSpPr>
          <a:xfrm>
            <a:off x="534076" y="1536167"/>
            <a:ext cx="1079214" cy="1079214"/>
            <a:chOff x="-1467725" y="3412299"/>
            <a:chExt cx="925556" cy="925556"/>
          </a:xfrm>
        </p:grpSpPr>
        <p:sp>
          <p:nvSpPr>
            <p:cNvPr id="2376" name="Google Shape;2376;p27"/>
            <p:cNvSpPr/>
            <p:nvPr/>
          </p:nvSpPr>
          <p:spPr>
            <a:xfrm>
              <a:off x="-1467725" y="3412299"/>
              <a:ext cx="925556" cy="925556"/>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377" name="Google Shape;2377;p27"/>
            <p:cNvPicPr preferRelativeResize="0"/>
            <p:nvPr/>
          </p:nvPicPr>
          <p:blipFill rotWithShape="1">
            <a:blip r:embed="rId3">
              <a:alphaModFix/>
            </a:blip>
            <a:srcRect/>
            <a:stretch/>
          </p:blipFill>
          <p:spPr>
            <a:xfrm>
              <a:off x="-1235732" y="3634461"/>
              <a:ext cx="537848" cy="514752"/>
            </a:xfrm>
            <a:prstGeom prst="rect">
              <a:avLst/>
            </a:prstGeom>
            <a:noFill/>
            <a:ln>
              <a:noFill/>
            </a:ln>
          </p:spPr>
        </p:pic>
      </p:grpSp>
      <p:grpSp>
        <p:nvGrpSpPr>
          <p:cNvPr id="2378" name="Google Shape;2378;p27"/>
          <p:cNvGrpSpPr/>
          <p:nvPr/>
        </p:nvGrpSpPr>
        <p:grpSpPr>
          <a:xfrm>
            <a:off x="6257924" y="1536167"/>
            <a:ext cx="1079214" cy="1079214"/>
            <a:chOff x="6257924" y="1612996"/>
            <a:chExt cx="925556" cy="925556"/>
          </a:xfrm>
        </p:grpSpPr>
        <p:sp>
          <p:nvSpPr>
            <p:cNvPr id="2379" name="Google Shape;2379;p27"/>
            <p:cNvSpPr/>
            <p:nvPr/>
          </p:nvSpPr>
          <p:spPr>
            <a:xfrm>
              <a:off x="6257924" y="1612996"/>
              <a:ext cx="925556" cy="925556"/>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380" name="Google Shape;2380;p27"/>
            <p:cNvPicPr preferRelativeResize="0"/>
            <p:nvPr/>
          </p:nvPicPr>
          <p:blipFill rotWithShape="1">
            <a:blip r:embed="rId4">
              <a:alphaModFix/>
            </a:blip>
            <a:srcRect/>
            <a:stretch/>
          </p:blipFill>
          <p:spPr>
            <a:xfrm>
              <a:off x="6514654" y="1814848"/>
              <a:ext cx="420519" cy="554728"/>
            </a:xfrm>
            <a:prstGeom prst="rect">
              <a:avLst/>
            </a:prstGeom>
            <a:noFill/>
            <a:ln>
              <a:noFill/>
            </a:ln>
          </p:spPr>
        </p:pic>
      </p:grpSp>
      <p:sp>
        <p:nvSpPr>
          <p:cNvPr id="2381" name="Google Shape;2381;p27"/>
          <p:cNvSpPr/>
          <p:nvPr/>
        </p:nvSpPr>
        <p:spPr>
          <a:xfrm>
            <a:off x="7545775" y="1977277"/>
            <a:ext cx="3920788" cy="332399"/>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rgbClr val="000000"/>
              </a:buClr>
              <a:buSzPts val="2400"/>
              <a:buFont typeface="Arial"/>
              <a:buNone/>
            </a:pPr>
            <a:r>
              <a:rPr lang="en-US" sz="2400" b="0" i="0" u="none" strike="noStrike" cap="none">
                <a:solidFill>
                  <a:schemeClr val="accent1"/>
                </a:solidFill>
                <a:latin typeface="Franklin Gothic"/>
                <a:ea typeface="Franklin Gothic"/>
                <a:cs typeface="Franklin Gothic"/>
                <a:sym typeface="Franklin Gothic"/>
              </a:rPr>
              <a:t>Content types</a:t>
            </a:r>
            <a:endParaRPr sz="1400" b="0" i="0" u="none" strike="noStrike" cap="none">
              <a:solidFill>
                <a:srgbClr val="000000"/>
              </a:solidFill>
              <a:latin typeface="Arial"/>
              <a:ea typeface="Arial"/>
              <a:cs typeface="Arial"/>
              <a:sym typeface="Arial"/>
            </a:endParaRPr>
          </a:p>
        </p:txBody>
      </p:sp>
      <p:cxnSp>
        <p:nvCxnSpPr>
          <p:cNvPr id="2382" name="Google Shape;2382;p27"/>
          <p:cNvCxnSpPr/>
          <p:nvPr/>
        </p:nvCxnSpPr>
        <p:spPr>
          <a:xfrm>
            <a:off x="534076" y="2782392"/>
            <a:ext cx="4952325" cy="0"/>
          </a:xfrm>
          <a:prstGeom prst="straightConnector1">
            <a:avLst/>
          </a:prstGeom>
          <a:noFill/>
          <a:ln w="9525" cap="flat" cmpd="sng">
            <a:solidFill>
              <a:schemeClr val="accent1"/>
            </a:solidFill>
            <a:prstDash val="solid"/>
            <a:miter lim="800000"/>
            <a:headEnd type="none" w="sm" len="sm"/>
            <a:tailEnd type="none" w="sm" len="sm"/>
          </a:ln>
        </p:spPr>
      </p:cxnSp>
      <p:cxnSp>
        <p:nvCxnSpPr>
          <p:cNvPr id="2383" name="Google Shape;2383;p27"/>
          <p:cNvCxnSpPr/>
          <p:nvPr/>
        </p:nvCxnSpPr>
        <p:spPr>
          <a:xfrm>
            <a:off x="6257924" y="2782392"/>
            <a:ext cx="5371448" cy="0"/>
          </a:xfrm>
          <a:prstGeom prst="straightConnector1">
            <a:avLst/>
          </a:prstGeom>
          <a:noFill/>
          <a:ln w="9525" cap="flat" cmpd="sng">
            <a:solidFill>
              <a:schemeClr val="accent1"/>
            </a:solidFill>
            <a:prstDash val="solid"/>
            <a:miter lim="800000"/>
            <a:headEnd type="none" w="sm" len="sm"/>
            <a:tailEnd type="none" w="sm" len="sm"/>
          </a:ln>
        </p:spPr>
      </p:cxn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2387"/>
        <p:cNvGrpSpPr/>
        <p:nvPr/>
      </p:nvGrpSpPr>
      <p:grpSpPr>
        <a:xfrm>
          <a:off x="0" y="0"/>
          <a:ext cx="0" cy="0"/>
          <a:chOff x="0" y="0"/>
          <a:chExt cx="0" cy="0"/>
        </a:xfrm>
      </p:grpSpPr>
      <p:sp>
        <p:nvSpPr>
          <p:cNvPr id="2388" name="Google Shape;2388;p28"/>
          <p:cNvSpPr txBox="1">
            <a:spLocks noGrp="1"/>
          </p:cNvSpPr>
          <p:nvPr>
            <p:ph type="title"/>
          </p:nvPr>
        </p:nvSpPr>
        <p:spPr>
          <a:xfrm>
            <a:off x="539400"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Our approach to helping you</a:t>
            </a:r>
            <a:endParaRPr/>
          </a:p>
        </p:txBody>
      </p:sp>
      <p:grpSp>
        <p:nvGrpSpPr>
          <p:cNvPr id="2389" name="Google Shape;2389;p28"/>
          <p:cNvGrpSpPr/>
          <p:nvPr/>
        </p:nvGrpSpPr>
        <p:grpSpPr>
          <a:xfrm>
            <a:off x="10881886" y="135255"/>
            <a:ext cx="1141311" cy="468742"/>
            <a:chOff x="10881886" y="135255"/>
            <a:chExt cx="1141311" cy="468742"/>
          </a:xfrm>
        </p:grpSpPr>
        <p:grpSp>
          <p:nvGrpSpPr>
            <p:cNvPr id="2390" name="Google Shape;2390;p28"/>
            <p:cNvGrpSpPr/>
            <p:nvPr/>
          </p:nvGrpSpPr>
          <p:grpSpPr>
            <a:xfrm>
              <a:off x="10881886" y="135255"/>
              <a:ext cx="1141311" cy="468742"/>
              <a:chOff x="10881886" y="135255"/>
              <a:chExt cx="1141311" cy="468742"/>
            </a:xfrm>
          </p:grpSpPr>
          <p:sp>
            <p:nvSpPr>
              <p:cNvPr id="2391" name="Google Shape;2391;p28"/>
              <p:cNvSpPr txBox="1"/>
              <p:nvPr/>
            </p:nvSpPr>
            <p:spPr>
              <a:xfrm>
                <a:off x="10881886" y="230150"/>
                <a:ext cx="628378" cy="2769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Business </a:t>
                </a:r>
                <a:endParaRPr sz="1400" b="0" i="0" u="none" strike="noStrike" cap="none">
                  <a:solidFill>
                    <a:srgbClr val="000000"/>
                  </a:solidFill>
                  <a:latin typeface="Arial"/>
                  <a:ea typeface="Arial"/>
                  <a:cs typeface="Arial"/>
                  <a:sym typeface="Arial"/>
                </a:endParaRPr>
              </a:p>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Translation</a:t>
                </a:r>
                <a:endParaRPr sz="1400" b="0" i="0" u="none" strike="noStrike" cap="none">
                  <a:solidFill>
                    <a:srgbClr val="000000"/>
                  </a:solidFill>
                  <a:latin typeface="Arial"/>
                  <a:ea typeface="Arial"/>
                  <a:cs typeface="Arial"/>
                  <a:sym typeface="Arial"/>
                </a:endParaRPr>
              </a:p>
            </p:txBody>
          </p:sp>
          <p:sp>
            <p:nvSpPr>
              <p:cNvPr id="2392" name="Google Shape;2392;p28"/>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grpSp>
          <p:nvGrpSpPr>
            <p:cNvPr id="2393" name="Google Shape;2393;p28"/>
            <p:cNvGrpSpPr/>
            <p:nvPr/>
          </p:nvGrpSpPr>
          <p:grpSpPr>
            <a:xfrm>
              <a:off x="11701145" y="220980"/>
              <a:ext cx="175360" cy="295338"/>
              <a:chOff x="6689308" y="2024976"/>
              <a:chExt cx="325986" cy="549024"/>
            </a:xfrm>
          </p:grpSpPr>
          <p:sp>
            <p:nvSpPr>
              <p:cNvPr id="2394" name="Google Shape;2394;p28"/>
              <p:cNvSpPr/>
              <p:nvPr/>
            </p:nvSpPr>
            <p:spPr>
              <a:xfrm>
                <a:off x="6689308" y="2024976"/>
                <a:ext cx="325986" cy="549024"/>
              </a:xfrm>
              <a:custGeom>
                <a:avLst/>
                <a:gdLst/>
                <a:ahLst/>
                <a:cxnLst/>
                <a:rect l="l" t="t" r="r" b="b"/>
                <a:pathLst>
                  <a:path w="325986" h="549024" extrusionOk="0">
                    <a:moveTo>
                      <a:pt x="304900" y="0"/>
                    </a:moveTo>
                    <a:lnTo>
                      <a:pt x="24663" y="0"/>
                    </a:lnTo>
                    <a:cubicBezTo>
                      <a:pt x="11049" y="17"/>
                      <a:pt x="17" y="11049"/>
                      <a:pt x="0" y="24663"/>
                    </a:cubicBezTo>
                    <a:lnTo>
                      <a:pt x="0" y="524361"/>
                    </a:lnTo>
                    <a:cubicBezTo>
                      <a:pt x="17" y="537975"/>
                      <a:pt x="11049" y="549007"/>
                      <a:pt x="24663" y="549024"/>
                    </a:cubicBezTo>
                    <a:lnTo>
                      <a:pt x="304900" y="549024"/>
                    </a:lnTo>
                    <a:cubicBezTo>
                      <a:pt x="318516" y="549011"/>
                      <a:pt x="329551" y="537975"/>
                      <a:pt x="329563" y="524361"/>
                    </a:cubicBezTo>
                    <a:lnTo>
                      <a:pt x="329563" y="24663"/>
                    </a:lnTo>
                    <a:cubicBezTo>
                      <a:pt x="329551" y="11048"/>
                      <a:pt x="318516" y="14"/>
                      <a:pt x="304900" y="0"/>
                    </a:cubicBezTo>
                    <a:close/>
                    <a:moveTo>
                      <a:pt x="240852" y="15012"/>
                    </a:moveTo>
                    <a:lnTo>
                      <a:pt x="223313" y="32538"/>
                    </a:lnTo>
                    <a:cubicBezTo>
                      <a:pt x="216691" y="39189"/>
                      <a:pt x="207684" y="42917"/>
                      <a:pt x="198298" y="42893"/>
                    </a:cubicBezTo>
                    <a:lnTo>
                      <a:pt x="131265" y="42893"/>
                    </a:lnTo>
                    <a:cubicBezTo>
                      <a:pt x="121879" y="42917"/>
                      <a:pt x="112873" y="39189"/>
                      <a:pt x="106250" y="32538"/>
                    </a:cubicBezTo>
                    <a:lnTo>
                      <a:pt x="88711" y="15012"/>
                    </a:lnTo>
                    <a:close/>
                    <a:moveTo>
                      <a:pt x="314551" y="524361"/>
                    </a:moveTo>
                    <a:cubicBezTo>
                      <a:pt x="314544" y="529688"/>
                      <a:pt x="310227" y="534003"/>
                      <a:pt x="304900" y="534012"/>
                    </a:cubicBezTo>
                    <a:lnTo>
                      <a:pt x="24663" y="534012"/>
                    </a:lnTo>
                    <a:cubicBezTo>
                      <a:pt x="19336" y="534003"/>
                      <a:pt x="15020" y="529688"/>
                      <a:pt x="15013" y="524361"/>
                    </a:cubicBezTo>
                    <a:lnTo>
                      <a:pt x="15013" y="24663"/>
                    </a:lnTo>
                    <a:cubicBezTo>
                      <a:pt x="15020" y="19336"/>
                      <a:pt x="19336" y="15019"/>
                      <a:pt x="24663" y="15012"/>
                    </a:cubicBezTo>
                    <a:lnTo>
                      <a:pt x="67471" y="15012"/>
                    </a:lnTo>
                    <a:lnTo>
                      <a:pt x="95638" y="43163"/>
                    </a:lnTo>
                    <a:cubicBezTo>
                      <a:pt x="105072" y="52633"/>
                      <a:pt x="117898" y="57940"/>
                      <a:pt x="131265" y="57905"/>
                    </a:cubicBezTo>
                    <a:lnTo>
                      <a:pt x="198298" y="57905"/>
                    </a:lnTo>
                    <a:cubicBezTo>
                      <a:pt x="211665" y="57940"/>
                      <a:pt x="224492" y="52633"/>
                      <a:pt x="233925" y="43163"/>
                    </a:cubicBezTo>
                    <a:lnTo>
                      <a:pt x="262093" y="15012"/>
                    </a:lnTo>
                    <a:lnTo>
                      <a:pt x="304900" y="15012"/>
                    </a:lnTo>
                    <a:cubicBezTo>
                      <a:pt x="310227" y="15019"/>
                      <a:pt x="314544" y="19336"/>
                      <a:pt x="314551" y="2466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95" name="Google Shape;2395;p28"/>
              <p:cNvSpPr/>
              <p:nvPr/>
            </p:nvSpPr>
            <p:spPr>
              <a:xfrm>
                <a:off x="6732201" y="2110795"/>
                <a:ext cx="85786" cy="98653"/>
              </a:xfrm>
              <a:custGeom>
                <a:avLst/>
                <a:gdLst/>
                <a:ahLst/>
                <a:cxnLst/>
                <a:rect l="l" t="t" r="r" b="b"/>
                <a:pathLst>
                  <a:path w="85785" h="98652" extrusionOk="0">
                    <a:moveTo>
                      <a:pt x="5040" y="98734"/>
                    </a:moveTo>
                    <a:cubicBezTo>
                      <a:pt x="8946" y="100102"/>
                      <a:pt x="13221" y="98044"/>
                      <a:pt x="14588" y="94138"/>
                    </a:cubicBezTo>
                    <a:cubicBezTo>
                      <a:pt x="14591" y="94130"/>
                      <a:pt x="14594" y="94122"/>
                      <a:pt x="14597" y="94115"/>
                    </a:cubicBezTo>
                    <a:lnTo>
                      <a:pt x="27499" y="57081"/>
                    </a:lnTo>
                    <a:lnTo>
                      <a:pt x="62242" y="57081"/>
                    </a:lnTo>
                    <a:lnTo>
                      <a:pt x="75136" y="94115"/>
                    </a:lnTo>
                    <a:cubicBezTo>
                      <a:pt x="76715" y="97948"/>
                      <a:pt x="81102" y="99776"/>
                      <a:pt x="84935" y="98197"/>
                    </a:cubicBezTo>
                    <a:cubicBezTo>
                      <a:pt x="88471" y="96740"/>
                      <a:pt x="90347" y="92858"/>
                      <a:pt x="89290" y="89182"/>
                    </a:cubicBezTo>
                    <a:lnTo>
                      <a:pt x="59994" y="5040"/>
                    </a:lnTo>
                    <a:cubicBezTo>
                      <a:pt x="58944" y="2022"/>
                      <a:pt x="56099" y="0"/>
                      <a:pt x="52904" y="0"/>
                    </a:cubicBezTo>
                    <a:lnTo>
                      <a:pt x="36819" y="0"/>
                    </a:lnTo>
                    <a:cubicBezTo>
                      <a:pt x="33624" y="0"/>
                      <a:pt x="30779" y="2022"/>
                      <a:pt x="29729" y="5040"/>
                    </a:cubicBezTo>
                    <a:lnTo>
                      <a:pt x="420" y="89182"/>
                    </a:lnTo>
                    <a:cubicBezTo>
                      <a:pt x="-944" y="93092"/>
                      <a:pt x="1120" y="97367"/>
                      <a:pt x="5030" y="98731"/>
                    </a:cubicBezTo>
                    <a:cubicBezTo>
                      <a:pt x="5034" y="98732"/>
                      <a:pt x="5037" y="98733"/>
                      <a:pt x="5040" y="98734"/>
                    </a:cubicBezTo>
                    <a:close/>
                    <a:moveTo>
                      <a:pt x="42151" y="15012"/>
                    </a:moveTo>
                    <a:lnTo>
                      <a:pt x="47568" y="15012"/>
                    </a:lnTo>
                    <a:lnTo>
                      <a:pt x="57005" y="42069"/>
                    </a:lnTo>
                    <a:lnTo>
                      <a:pt x="32727" y="4206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96" name="Google Shape;2396;p28"/>
              <p:cNvSpPr/>
              <p:nvPr/>
            </p:nvSpPr>
            <p:spPr>
              <a:xfrm>
                <a:off x="6886259" y="2110795"/>
                <a:ext cx="85786" cy="98653"/>
              </a:xfrm>
              <a:custGeom>
                <a:avLst/>
                <a:gdLst/>
                <a:ahLst/>
                <a:cxnLst/>
                <a:rect l="l" t="t" r="r" b="b"/>
                <a:pathLst>
                  <a:path w="85785" h="98652" extrusionOk="0">
                    <a:moveTo>
                      <a:pt x="82213" y="24629"/>
                    </a:moveTo>
                    <a:lnTo>
                      <a:pt x="52368" y="24629"/>
                    </a:lnTo>
                    <a:lnTo>
                      <a:pt x="52368" y="7506"/>
                    </a:lnTo>
                    <a:cubicBezTo>
                      <a:pt x="52368" y="3361"/>
                      <a:pt x="49007" y="0"/>
                      <a:pt x="44862" y="0"/>
                    </a:cubicBezTo>
                    <a:cubicBezTo>
                      <a:pt x="40716" y="0"/>
                      <a:pt x="37355" y="3361"/>
                      <a:pt x="37355" y="7506"/>
                    </a:cubicBezTo>
                    <a:lnTo>
                      <a:pt x="37355" y="24629"/>
                    </a:lnTo>
                    <a:lnTo>
                      <a:pt x="7506" y="24629"/>
                    </a:lnTo>
                    <a:cubicBezTo>
                      <a:pt x="3361" y="24629"/>
                      <a:pt x="0" y="27990"/>
                      <a:pt x="0" y="32135"/>
                    </a:cubicBezTo>
                    <a:cubicBezTo>
                      <a:pt x="0" y="36281"/>
                      <a:pt x="3361" y="39641"/>
                      <a:pt x="7506" y="39641"/>
                    </a:cubicBezTo>
                    <a:lnTo>
                      <a:pt x="17873" y="39641"/>
                    </a:lnTo>
                    <a:lnTo>
                      <a:pt x="17873" y="41027"/>
                    </a:lnTo>
                    <a:cubicBezTo>
                      <a:pt x="17867" y="52418"/>
                      <a:pt x="22457" y="63330"/>
                      <a:pt x="30604" y="71292"/>
                    </a:cubicBezTo>
                    <a:lnTo>
                      <a:pt x="4066" y="84974"/>
                    </a:lnTo>
                    <a:cubicBezTo>
                      <a:pt x="456" y="87016"/>
                      <a:pt x="-816" y="91599"/>
                      <a:pt x="1226" y="95209"/>
                    </a:cubicBezTo>
                    <a:cubicBezTo>
                      <a:pt x="3154" y="98618"/>
                      <a:pt x="7378" y="99973"/>
                      <a:pt x="10929" y="98322"/>
                    </a:cubicBezTo>
                    <a:lnTo>
                      <a:pt x="44845" y="80831"/>
                    </a:lnTo>
                    <a:lnTo>
                      <a:pt x="78756" y="98322"/>
                    </a:lnTo>
                    <a:cubicBezTo>
                      <a:pt x="82366" y="100365"/>
                      <a:pt x="86948" y="99093"/>
                      <a:pt x="88990" y="95483"/>
                    </a:cubicBezTo>
                    <a:cubicBezTo>
                      <a:pt x="91032" y="91872"/>
                      <a:pt x="89761" y="87290"/>
                      <a:pt x="86151" y="85248"/>
                    </a:cubicBezTo>
                    <a:cubicBezTo>
                      <a:pt x="85977" y="85150"/>
                      <a:pt x="85800" y="85058"/>
                      <a:pt x="85619" y="84974"/>
                    </a:cubicBezTo>
                    <a:lnTo>
                      <a:pt x="59085" y="71292"/>
                    </a:lnTo>
                    <a:cubicBezTo>
                      <a:pt x="67232" y="63329"/>
                      <a:pt x="71821" y="52415"/>
                      <a:pt x="71811" y="41022"/>
                    </a:cubicBezTo>
                    <a:lnTo>
                      <a:pt x="71811" y="39641"/>
                    </a:lnTo>
                    <a:lnTo>
                      <a:pt x="82179" y="39641"/>
                    </a:lnTo>
                    <a:cubicBezTo>
                      <a:pt x="86324" y="39641"/>
                      <a:pt x="89685" y="36281"/>
                      <a:pt x="89685" y="32135"/>
                    </a:cubicBezTo>
                    <a:cubicBezTo>
                      <a:pt x="89685" y="27990"/>
                      <a:pt x="86324" y="24629"/>
                      <a:pt x="82179" y="24629"/>
                    </a:cubicBezTo>
                    <a:close/>
                    <a:moveTo>
                      <a:pt x="56833" y="41022"/>
                    </a:moveTo>
                    <a:cubicBezTo>
                      <a:pt x="56848" y="50092"/>
                      <a:pt x="52363" y="58580"/>
                      <a:pt x="44862" y="63678"/>
                    </a:cubicBezTo>
                    <a:cubicBezTo>
                      <a:pt x="37360" y="58580"/>
                      <a:pt x="32874" y="50093"/>
                      <a:pt x="32886" y="41022"/>
                    </a:cubicBezTo>
                    <a:lnTo>
                      <a:pt x="32886" y="39641"/>
                    </a:lnTo>
                    <a:lnTo>
                      <a:pt x="56833" y="39641"/>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97" name="Google Shape;2397;p28"/>
              <p:cNvSpPr/>
              <p:nvPr/>
            </p:nvSpPr>
            <p:spPr>
              <a:xfrm>
                <a:off x="6832510" y="2152864"/>
                <a:ext cx="42893" cy="12868"/>
              </a:xfrm>
              <a:custGeom>
                <a:avLst/>
                <a:gdLst/>
                <a:ahLst/>
                <a:cxnLst/>
                <a:rect l="l" t="t" r="r" b="b"/>
                <a:pathLst>
                  <a:path w="42892" h="12867" extrusionOk="0">
                    <a:moveTo>
                      <a:pt x="7506" y="15012"/>
                    </a:moveTo>
                    <a:lnTo>
                      <a:pt x="35653" y="15012"/>
                    </a:lnTo>
                    <a:cubicBezTo>
                      <a:pt x="39798" y="15012"/>
                      <a:pt x="43159" y="11652"/>
                      <a:pt x="43159" y="7506"/>
                    </a:cubicBezTo>
                    <a:cubicBezTo>
                      <a:pt x="43159" y="3361"/>
                      <a:pt x="39798" y="0"/>
                      <a:pt x="35653"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98" name="Google Shape;2398;p28"/>
              <p:cNvSpPr/>
              <p:nvPr/>
            </p:nvSpPr>
            <p:spPr>
              <a:xfrm>
                <a:off x="6732201" y="223786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99" name="Google Shape;2399;p28"/>
              <p:cNvSpPr/>
              <p:nvPr/>
            </p:nvSpPr>
            <p:spPr>
              <a:xfrm>
                <a:off x="6756508" y="2288113"/>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00" name="Google Shape;2400;p28"/>
              <p:cNvSpPr/>
              <p:nvPr/>
            </p:nvSpPr>
            <p:spPr>
              <a:xfrm>
                <a:off x="6732201" y="2338361"/>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01" name="Google Shape;2401;p28"/>
              <p:cNvSpPr/>
              <p:nvPr/>
            </p:nvSpPr>
            <p:spPr>
              <a:xfrm>
                <a:off x="6756508" y="2388606"/>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02" name="Google Shape;2402;p28"/>
              <p:cNvSpPr/>
              <p:nvPr/>
            </p:nvSpPr>
            <p:spPr>
              <a:xfrm>
                <a:off x="6732201" y="243885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03" name="Google Shape;2403;p28"/>
              <p:cNvSpPr/>
              <p:nvPr/>
            </p:nvSpPr>
            <p:spPr>
              <a:xfrm>
                <a:off x="6756508" y="2491764"/>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404" name="Google Shape;2404;p28"/>
          <p:cNvSpPr/>
          <p:nvPr/>
        </p:nvSpPr>
        <p:spPr>
          <a:xfrm>
            <a:off x="2155587" y="1544321"/>
            <a:ext cx="1753954" cy="847316"/>
          </a:xfrm>
          <a:custGeom>
            <a:avLst/>
            <a:gdLst/>
            <a:ahLst/>
            <a:cxnLst/>
            <a:rect l="l" t="t" r="r" b="b"/>
            <a:pathLst>
              <a:path w="1997022" h="1014395" extrusionOk="0">
                <a:moveTo>
                  <a:pt x="998511" y="0"/>
                </a:moveTo>
                <a:cubicBezTo>
                  <a:pt x="1549973" y="0"/>
                  <a:pt x="1997022" y="447048"/>
                  <a:pt x="1997022" y="998510"/>
                </a:cubicBezTo>
                <a:lnTo>
                  <a:pt x="1996220" y="1014395"/>
                </a:lnTo>
                <a:lnTo>
                  <a:pt x="802" y="1014395"/>
                </a:lnTo>
                <a:lnTo>
                  <a:pt x="0" y="998510"/>
                </a:lnTo>
                <a:cubicBezTo>
                  <a:pt x="0" y="447048"/>
                  <a:pt x="447049" y="0"/>
                  <a:pt x="998511" y="0"/>
                </a:cubicBezTo>
                <a:close/>
              </a:path>
            </a:pathLst>
          </a:custGeom>
          <a:gradFill>
            <a:gsLst>
              <a:gs pos="0">
                <a:srgbClr val="E5E5E5"/>
              </a:gs>
              <a:gs pos="73000">
                <a:srgbClr val="F0F0F0">
                  <a:alpha val="47843"/>
                </a:srgbClr>
              </a:gs>
              <a:gs pos="100000">
                <a:srgbClr val="FFFFFF">
                  <a:alpha val="0"/>
                </a:srgbClr>
              </a:gs>
            </a:gsLst>
            <a:lin ang="54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05" name="Google Shape;2405;p28"/>
          <p:cNvSpPr/>
          <p:nvPr/>
        </p:nvSpPr>
        <p:spPr>
          <a:xfrm>
            <a:off x="6295955" y="1544321"/>
            <a:ext cx="1753954" cy="847316"/>
          </a:xfrm>
          <a:custGeom>
            <a:avLst/>
            <a:gdLst/>
            <a:ahLst/>
            <a:cxnLst/>
            <a:rect l="l" t="t" r="r" b="b"/>
            <a:pathLst>
              <a:path w="1997022" h="1014395" extrusionOk="0">
                <a:moveTo>
                  <a:pt x="998511" y="0"/>
                </a:moveTo>
                <a:cubicBezTo>
                  <a:pt x="1549973" y="0"/>
                  <a:pt x="1997022" y="447048"/>
                  <a:pt x="1997022" y="998510"/>
                </a:cubicBezTo>
                <a:lnTo>
                  <a:pt x="1996220" y="1014395"/>
                </a:lnTo>
                <a:lnTo>
                  <a:pt x="802" y="1014395"/>
                </a:lnTo>
                <a:lnTo>
                  <a:pt x="0" y="998510"/>
                </a:lnTo>
                <a:cubicBezTo>
                  <a:pt x="0" y="447048"/>
                  <a:pt x="447049" y="0"/>
                  <a:pt x="998511" y="0"/>
                </a:cubicBezTo>
                <a:close/>
              </a:path>
            </a:pathLst>
          </a:custGeom>
          <a:gradFill>
            <a:gsLst>
              <a:gs pos="0">
                <a:srgbClr val="E5E5E5"/>
              </a:gs>
              <a:gs pos="73000">
                <a:srgbClr val="F0F0F0">
                  <a:alpha val="47843"/>
                </a:srgbClr>
              </a:gs>
              <a:gs pos="100000">
                <a:srgbClr val="FFFFFF">
                  <a:alpha val="0"/>
                </a:srgbClr>
              </a:gs>
            </a:gsLst>
            <a:lin ang="54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06" name="Google Shape;2406;p28"/>
          <p:cNvSpPr/>
          <p:nvPr/>
        </p:nvSpPr>
        <p:spPr>
          <a:xfrm>
            <a:off x="9275249" y="1544321"/>
            <a:ext cx="1753954" cy="847316"/>
          </a:xfrm>
          <a:custGeom>
            <a:avLst/>
            <a:gdLst/>
            <a:ahLst/>
            <a:cxnLst/>
            <a:rect l="l" t="t" r="r" b="b"/>
            <a:pathLst>
              <a:path w="1997022" h="1014395" extrusionOk="0">
                <a:moveTo>
                  <a:pt x="998511" y="0"/>
                </a:moveTo>
                <a:cubicBezTo>
                  <a:pt x="1549973" y="0"/>
                  <a:pt x="1997022" y="447048"/>
                  <a:pt x="1997022" y="998510"/>
                </a:cubicBezTo>
                <a:lnTo>
                  <a:pt x="1996220" y="1014395"/>
                </a:lnTo>
                <a:lnTo>
                  <a:pt x="802" y="1014395"/>
                </a:lnTo>
                <a:lnTo>
                  <a:pt x="0" y="998510"/>
                </a:lnTo>
                <a:cubicBezTo>
                  <a:pt x="0" y="447048"/>
                  <a:pt x="447049" y="0"/>
                  <a:pt x="998511" y="0"/>
                </a:cubicBezTo>
                <a:close/>
              </a:path>
            </a:pathLst>
          </a:custGeom>
          <a:gradFill>
            <a:gsLst>
              <a:gs pos="0">
                <a:srgbClr val="E5E5E5"/>
              </a:gs>
              <a:gs pos="73000">
                <a:srgbClr val="F0F0F0">
                  <a:alpha val="47843"/>
                </a:srgbClr>
              </a:gs>
              <a:gs pos="100000">
                <a:srgbClr val="FFFFFF">
                  <a:alpha val="0"/>
                </a:srgbClr>
              </a:gs>
            </a:gsLst>
            <a:lin ang="54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cxnSp>
        <p:nvCxnSpPr>
          <p:cNvPr id="2407" name="Google Shape;2407;p28"/>
          <p:cNvCxnSpPr/>
          <p:nvPr/>
        </p:nvCxnSpPr>
        <p:spPr>
          <a:xfrm>
            <a:off x="539400" y="2598255"/>
            <a:ext cx="4986329" cy="0"/>
          </a:xfrm>
          <a:prstGeom prst="straightConnector1">
            <a:avLst/>
          </a:prstGeom>
          <a:noFill/>
          <a:ln w="12700" cap="flat" cmpd="sng">
            <a:solidFill>
              <a:schemeClr val="dk2"/>
            </a:solidFill>
            <a:prstDash val="solid"/>
            <a:miter lim="800000"/>
            <a:headEnd type="none" w="sm" len="sm"/>
            <a:tailEnd type="triangle" w="med" len="med"/>
          </a:ln>
        </p:spPr>
      </p:cxnSp>
      <p:cxnSp>
        <p:nvCxnSpPr>
          <p:cNvPr id="2408" name="Google Shape;2408;p28"/>
          <p:cNvCxnSpPr/>
          <p:nvPr/>
        </p:nvCxnSpPr>
        <p:spPr>
          <a:xfrm>
            <a:off x="5645900" y="2598255"/>
            <a:ext cx="3054065" cy="0"/>
          </a:xfrm>
          <a:prstGeom prst="straightConnector1">
            <a:avLst/>
          </a:prstGeom>
          <a:noFill/>
          <a:ln w="12700" cap="flat" cmpd="sng">
            <a:solidFill>
              <a:schemeClr val="dk2"/>
            </a:solidFill>
            <a:prstDash val="solid"/>
            <a:miter lim="800000"/>
            <a:headEnd type="none" w="sm" len="sm"/>
            <a:tailEnd type="triangle" w="med" len="med"/>
          </a:ln>
        </p:spPr>
      </p:cxnSp>
      <p:cxnSp>
        <p:nvCxnSpPr>
          <p:cNvPr id="2409" name="Google Shape;2409;p28"/>
          <p:cNvCxnSpPr/>
          <p:nvPr/>
        </p:nvCxnSpPr>
        <p:spPr>
          <a:xfrm>
            <a:off x="8800711" y="2598255"/>
            <a:ext cx="2703031" cy="0"/>
          </a:xfrm>
          <a:prstGeom prst="straightConnector1">
            <a:avLst/>
          </a:prstGeom>
          <a:noFill/>
          <a:ln w="12700" cap="flat" cmpd="sng">
            <a:solidFill>
              <a:schemeClr val="dk2"/>
            </a:solidFill>
            <a:prstDash val="solid"/>
            <a:miter lim="800000"/>
            <a:headEnd type="none" w="sm" len="sm"/>
            <a:tailEnd type="triangle" w="med" len="med"/>
          </a:ln>
        </p:spPr>
      </p:cxnSp>
      <p:sp>
        <p:nvSpPr>
          <p:cNvPr id="2410" name="Google Shape;2410;p28"/>
          <p:cNvSpPr/>
          <p:nvPr/>
        </p:nvSpPr>
        <p:spPr>
          <a:xfrm>
            <a:off x="5645900" y="3444874"/>
            <a:ext cx="3045816" cy="2167962"/>
          </a:xfrm>
          <a:prstGeom prst="rect">
            <a:avLst/>
          </a:prstGeom>
          <a:solidFill>
            <a:srgbClr val="99E3FE">
              <a:alpha val="60000"/>
            </a:srgbClr>
          </a:solidFill>
          <a:ln>
            <a:noFill/>
          </a:ln>
        </p:spPr>
        <p:txBody>
          <a:bodyPr spcFirstLastPara="1" wrap="square" lIns="0" tIns="37325" rIns="0" bIns="37325" anchor="ctr" anchorCtr="0">
            <a:noAutofit/>
          </a:bodyPr>
          <a:lstStyle/>
          <a:p>
            <a:pPr marL="0" marR="0" lvl="0" indent="0" algn="ctr" rtl="0">
              <a:lnSpc>
                <a:spcPct val="90000"/>
              </a:lnSpc>
              <a:spcBef>
                <a:spcPts val="0"/>
              </a:spcBef>
              <a:spcAft>
                <a:spcPts val="0"/>
              </a:spcAft>
              <a:buClr>
                <a:srgbClr val="000000"/>
              </a:buClr>
              <a:buSzPts val="1600"/>
              <a:buFont typeface="Arial"/>
              <a:buNone/>
            </a:pPr>
            <a:endParaRPr sz="1600" b="1" i="0" u="none" strike="noStrike" cap="none">
              <a:solidFill>
                <a:schemeClr val="lt1"/>
              </a:solidFill>
              <a:latin typeface="Calibri"/>
              <a:ea typeface="Calibri"/>
              <a:cs typeface="Calibri"/>
              <a:sym typeface="Calibri"/>
            </a:endParaRPr>
          </a:p>
        </p:txBody>
      </p:sp>
      <p:sp>
        <p:nvSpPr>
          <p:cNvPr id="2411" name="Google Shape;2411;p28"/>
          <p:cNvSpPr txBox="1"/>
          <p:nvPr/>
        </p:nvSpPr>
        <p:spPr>
          <a:xfrm>
            <a:off x="539399" y="3514825"/>
            <a:ext cx="2297874" cy="2344231"/>
          </a:xfrm>
          <a:prstGeom prst="rect">
            <a:avLst/>
          </a:prstGeom>
          <a:noFill/>
          <a:ln>
            <a:noFill/>
          </a:ln>
        </p:spPr>
        <p:txBody>
          <a:bodyPr spcFirstLastPara="1" wrap="square" lIns="0" tIns="0" rIns="0" bIns="0" anchor="t" anchorCtr="0">
            <a:spAutoFit/>
          </a:bodyPr>
          <a:lstStyle/>
          <a:p>
            <a:pPr marL="176213" marR="0" lvl="1" indent="-176213" algn="l" rtl="0">
              <a:lnSpc>
                <a:spcPct val="100000"/>
              </a:lnSpc>
              <a:spcBef>
                <a:spcPts val="0"/>
              </a:spcBef>
              <a:spcAft>
                <a:spcPts val="0"/>
              </a:spcAft>
              <a:buClr>
                <a:schemeClr val="dk2"/>
              </a:buClr>
              <a:buSzPts val="1440"/>
              <a:buFont typeface="Noto Sans Symbols"/>
              <a:buChar char="▪"/>
            </a:pPr>
            <a:r>
              <a:rPr lang="en-US" sz="1600" b="0" i="0" u="none" strike="noStrike" cap="none">
                <a:solidFill>
                  <a:schemeClr val="dk1"/>
                </a:solidFill>
                <a:latin typeface="Calibri"/>
                <a:ea typeface="Calibri"/>
                <a:cs typeface="Calibri"/>
                <a:sym typeface="Calibri"/>
              </a:rPr>
              <a:t>Get a deep understanding of the client request: language style, client vocabulary, dialect required, formatting needs </a:t>
            </a:r>
            <a:endParaRPr sz="1400" b="0" i="0" u="none" strike="noStrike" cap="none">
              <a:solidFill>
                <a:srgbClr val="000000"/>
              </a:solidFill>
              <a:latin typeface="Arial"/>
              <a:ea typeface="Arial"/>
              <a:cs typeface="Arial"/>
              <a:sym typeface="Arial"/>
            </a:endParaRPr>
          </a:p>
          <a:p>
            <a:pPr marL="176213" marR="0" lvl="1" indent="-176213" algn="l" rtl="0">
              <a:lnSpc>
                <a:spcPct val="100000"/>
              </a:lnSpc>
              <a:spcBef>
                <a:spcPts val="1000"/>
              </a:spcBef>
              <a:spcAft>
                <a:spcPts val="0"/>
              </a:spcAft>
              <a:buClr>
                <a:schemeClr val="dk2"/>
              </a:buClr>
              <a:buSzPts val="1440"/>
              <a:buFont typeface="Noto Sans Symbols"/>
              <a:buChar char="▪"/>
            </a:pPr>
            <a:r>
              <a:rPr lang="en-US" sz="1600" b="0" i="0" u="none" strike="noStrike" cap="none">
                <a:solidFill>
                  <a:schemeClr val="dk1"/>
                </a:solidFill>
                <a:latin typeface="Calibri"/>
                <a:ea typeface="Calibri"/>
                <a:cs typeface="Calibri"/>
                <a:sym typeface="Calibri"/>
              </a:rPr>
              <a:t>Understand the constraints – Deadline, time budget etc.</a:t>
            </a:r>
            <a:endParaRPr sz="1400" b="0" i="0" u="none" strike="noStrike" cap="none">
              <a:solidFill>
                <a:srgbClr val="000000"/>
              </a:solidFill>
              <a:latin typeface="Arial"/>
              <a:ea typeface="Arial"/>
              <a:cs typeface="Arial"/>
              <a:sym typeface="Arial"/>
            </a:endParaRPr>
          </a:p>
        </p:txBody>
      </p:sp>
      <p:sp>
        <p:nvSpPr>
          <p:cNvPr id="2412" name="Google Shape;2412;p28"/>
          <p:cNvSpPr/>
          <p:nvPr/>
        </p:nvSpPr>
        <p:spPr>
          <a:xfrm>
            <a:off x="539400" y="2787779"/>
            <a:ext cx="2566439" cy="632539"/>
          </a:xfrm>
          <a:prstGeom prst="homePlate">
            <a:avLst>
              <a:gd name="adj" fmla="val 16795"/>
            </a:avLst>
          </a:prstGeom>
          <a:solidFill>
            <a:schemeClr val="accent1"/>
          </a:solidFill>
          <a:ln>
            <a:noFill/>
          </a:ln>
        </p:spPr>
        <p:txBody>
          <a:bodyPr spcFirstLastPara="1" wrap="square" lIns="0" tIns="37325" rIns="0" bIns="37325" anchor="ctr" anchorCtr="0">
            <a:noAutofit/>
          </a:bodyPr>
          <a:lstStyle/>
          <a:p>
            <a:pPr marL="0" marR="0" lvl="0" indent="0" algn="ctr" rtl="0">
              <a:lnSpc>
                <a:spcPct val="85000"/>
              </a:lnSpc>
              <a:spcBef>
                <a:spcPts val="0"/>
              </a:spcBef>
              <a:spcAft>
                <a:spcPts val="0"/>
              </a:spcAft>
              <a:buClr>
                <a:schemeClr val="lt1"/>
              </a:buClr>
              <a:buSzPts val="1800"/>
              <a:buFont typeface="Calibri"/>
              <a:buNone/>
            </a:pPr>
            <a:r>
              <a:rPr lang="en-US" sz="1800" b="1" i="0" u="none" strike="noStrike" cap="none">
                <a:solidFill>
                  <a:schemeClr val="lt1"/>
                </a:solidFill>
                <a:latin typeface="Calibri"/>
                <a:ea typeface="Calibri"/>
                <a:cs typeface="Calibri"/>
                <a:sym typeface="Calibri"/>
              </a:rPr>
              <a:t>Understanding client</a:t>
            </a:r>
            <a:br>
              <a:rPr lang="en-US" sz="1800" b="1" i="0" u="none" strike="noStrike" cap="none">
                <a:solidFill>
                  <a:schemeClr val="lt1"/>
                </a:solidFill>
                <a:latin typeface="Calibri"/>
                <a:ea typeface="Calibri"/>
                <a:cs typeface="Calibri"/>
                <a:sym typeface="Calibri"/>
              </a:rPr>
            </a:br>
            <a:r>
              <a:rPr lang="en-US" sz="1800" b="1" i="0" u="none" strike="noStrike" cap="none">
                <a:solidFill>
                  <a:schemeClr val="lt1"/>
                </a:solidFill>
                <a:latin typeface="Calibri"/>
                <a:ea typeface="Calibri"/>
                <a:cs typeface="Calibri"/>
                <a:sym typeface="Calibri"/>
              </a:rPr>
              <a:t>needs and objective</a:t>
            </a:r>
            <a:endParaRPr sz="1400" b="0" i="0" u="none" strike="noStrike" cap="none">
              <a:solidFill>
                <a:srgbClr val="000000"/>
              </a:solidFill>
              <a:latin typeface="Arial"/>
              <a:ea typeface="Arial"/>
              <a:cs typeface="Arial"/>
              <a:sym typeface="Arial"/>
            </a:endParaRPr>
          </a:p>
        </p:txBody>
      </p:sp>
      <p:sp>
        <p:nvSpPr>
          <p:cNvPr id="2413" name="Google Shape;2413;p28"/>
          <p:cNvSpPr/>
          <p:nvPr/>
        </p:nvSpPr>
        <p:spPr>
          <a:xfrm>
            <a:off x="3092650" y="2787779"/>
            <a:ext cx="2566439" cy="632539"/>
          </a:xfrm>
          <a:prstGeom prst="chevron">
            <a:avLst>
              <a:gd name="adj" fmla="val 16379"/>
            </a:avLst>
          </a:prstGeom>
          <a:solidFill>
            <a:schemeClr val="accent1"/>
          </a:solidFill>
          <a:ln>
            <a:noFill/>
          </a:ln>
        </p:spPr>
        <p:txBody>
          <a:bodyPr spcFirstLastPara="1" wrap="square" lIns="0" tIns="37325" rIns="0" bIns="37325" anchor="ctr" anchorCtr="0">
            <a:noAutofit/>
          </a:bodyPr>
          <a:lstStyle/>
          <a:p>
            <a:pPr marL="0" marR="0" lvl="0" indent="0" algn="ctr" rtl="0">
              <a:lnSpc>
                <a:spcPct val="85000"/>
              </a:lnSpc>
              <a:spcBef>
                <a:spcPts val="0"/>
              </a:spcBef>
              <a:spcAft>
                <a:spcPts val="0"/>
              </a:spcAft>
              <a:buClr>
                <a:srgbClr val="000000"/>
              </a:buClr>
              <a:buSzPts val="1800"/>
              <a:buFont typeface="Arial"/>
              <a:buNone/>
            </a:pPr>
            <a:r>
              <a:rPr lang="en-US" sz="1800" b="1" i="0" u="none" strike="noStrike" cap="none">
                <a:solidFill>
                  <a:schemeClr val="lt1"/>
                </a:solidFill>
                <a:latin typeface="Calibri"/>
                <a:ea typeface="Calibri"/>
                <a:cs typeface="Calibri"/>
                <a:sym typeface="Calibri"/>
              </a:rPr>
              <a:t>Structuring approach</a:t>
            </a:r>
            <a:endParaRPr sz="1800" b="1" i="0" u="none" strike="noStrike" cap="none">
              <a:solidFill>
                <a:schemeClr val="lt1"/>
              </a:solidFill>
              <a:latin typeface="Calibri"/>
              <a:ea typeface="Calibri"/>
              <a:cs typeface="Calibri"/>
              <a:sym typeface="Calibri"/>
            </a:endParaRPr>
          </a:p>
        </p:txBody>
      </p:sp>
      <p:sp>
        <p:nvSpPr>
          <p:cNvPr id="2414" name="Google Shape;2414;p28"/>
          <p:cNvSpPr txBox="1"/>
          <p:nvPr/>
        </p:nvSpPr>
        <p:spPr>
          <a:xfrm>
            <a:off x="3174458" y="3514825"/>
            <a:ext cx="2297874" cy="1893852"/>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chemeClr val="dk2"/>
              </a:buClr>
              <a:buSzPts val="1440"/>
              <a:buFont typeface="Noto Sans Symbols"/>
              <a:buChar char="▪"/>
            </a:pPr>
            <a:r>
              <a:rPr lang="en-US" sz="1600" b="0" i="0" u="none" strike="noStrike" cap="none">
                <a:solidFill>
                  <a:schemeClr val="dk1"/>
                </a:solidFill>
                <a:latin typeface="Calibri"/>
                <a:ea typeface="Calibri"/>
                <a:cs typeface="Calibri"/>
                <a:sym typeface="Calibri"/>
              </a:rPr>
              <a:t>Assess the need to use OCR, automation, client translation memory</a:t>
            </a:r>
            <a:endParaRPr sz="1440" b="0" i="0" u="none" strike="noStrike" cap="none">
              <a:solidFill>
                <a:schemeClr val="dk1"/>
              </a:solidFill>
              <a:latin typeface="Calibri"/>
              <a:ea typeface="Calibri"/>
              <a:cs typeface="Calibri"/>
              <a:sym typeface="Calibri"/>
            </a:endParaRPr>
          </a:p>
          <a:p>
            <a:pPr marL="176213" marR="0" lvl="1" indent="-176213" algn="l" rtl="0">
              <a:lnSpc>
                <a:spcPct val="95000"/>
              </a:lnSpc>
              <a:spcBef>
                <a:spcPts val="1000"/>
              </a:spcBef>
              <a:spcAft>
                <a:spcPts val="0"/>
              </a:spcAft>
              <a:buClr>
                <a:schemeClr val="dk2"/>
              </a:buClr>
              <a:buSzPts val="1440"/>
              <a:buFont typeface="Noto Sans Symbols"/>
              <a:buChar char="▪"/>
            </a:pPr>
            <a:r>
              <a:rPr lang="en-US" sz="1600" b="0" i="0" u="none" strike="noStrike" cap="none">
                <a:solidFill>
                  <a:schemeClr val="dk1"/>
                </a:solidFill>
                <a:latin typeface="Calibri"/>
                <a:ea typeface="Calibri"/>
                <a:cs typeface="Calibri"/>
                <a:sym typeface="Calibri"/>
              </a:rPr>
              <a:t>Perform flipping and formatting as required</a:t>
            </a:r>
            <a:endParaRPr sz="1440" b="0" i="0" u="none" strike="noStrike" cap="none">
              <a:solidFill>
                <a:schemeClr val="dk1"/>
              </a:solidFill>
              <a:latin typeface="Calibri"/>
              <a:ea typeface="Calibri"/>
              <a:cs typeface="Calibri"/>
              <a:sym typeface="Calibri"/>
            </a:endParaRPr>
          </a:p>
          <a:p>
            <a:pPr marL="176213" marR="0" lvl="1" indent="-176213" algn="l" rtl="0">
              <a:lnSpc>
                <a:spcPct val="95000"/>
              </a:lnSpc>
              <a:spcBef>
                <a:spcPts val="1000"/>
              </a:spcBef>
              <a:spcAft>
                <a:spcPts val="0"/>
              </a:spcAft>
              <a:buClr>
                <a:schemeClr val="dk2"/>
              </a:buClr>
              <a:buSzPts val="1440"/>
              <a:buFont typeface="Noto Sans Symbols"/>
              <a:buChar char="▪"/>
            </a:pPr>
            <a:r>
              <a:rPr lang="en-US" sz="1600" b="0" i="0" u="none" strike="noStrike" cap="none">
                <a:solidFill>
                  <a:schemeClr val="dk1"/>
                </a:solidFill>
                <a:latin typeface="Calibri"/>
                <a:ea typeface="Calibri"/>
                <a:cs typeface="Calibri"/>
                <a:sym typeface="Calibri"/>
              </a:rPr>
              <a:t>Share expected delivery timing</a:t>
            </a:r>
            <a:endParaRPr sz="1440" b="0" i="0" u="none" strike="noStrike" cap="none">
              <a:solidFill>
                <a:schemeClr val="dk1"/>
              </a:solidFill>
              <a:latin typeface="Calibri"/>
              <a:ea typeface="Calibri"/>
              <a:cs typeface="Calibri"/>
              <a:sym typeface="Calibri"/>
            </a:endParaRPr>
          </a:p>
        </p:txBody>
      </p:sp>
      <p:sp>
        <p:nvSpPr>
          <p:cNvPr id="2415" name="Google Shape;2415;p28"/>
          <p:cNvSpPr txBox="1"/>
          <p:nvPr/>
        </p:nvSpPr>
        <p:spPr>
          <a:xfrm>
            <a:off x="5752630" y="3514825"/>
            <a:ext cx="2797323" cy="1893852"/>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chemeClr val="dk2"/>
              </a:buClr>
              <a:buSzPts val="1440"/>
              <a:buFont typeface="Noto Sans Symbols"/>
              <a:buChar char="▪"/>
            </a:pPr>
            <a:r>
              <a:rPr lang="en-US" sz="1600" b="0" i="0" u="none" strike="noStrike" cap="none">
                <a:solidFill>
                  <a:schemeClr val="dk1"/>
                </a:solidFill>
                <a:latin typeface="Calibri"/>
                <a:ea typeface="Calibri"/>
                <a:cs typeface="Calibri"/>
                <a:sym typeface="Calibri"/>
              </a:rPr>
              <a:t>Performing the translation, either fully “manually”, or through Computer Assisted Translation using industry-leading MemoQ</a:t>
            </a:r>
            <a:endParaRPr sz="1440" b="0" i="0" u="none" strike="noStrike" cap="none">
              <a:solidFill>
                <a:schemeClr val="dk1"/>
              </a:solidFill>
              <a:latin typeface="Calibri"/>
              <a:ea typeface="Calibri"/>
              <a:cs typeface="Calibri"/>
              <a:sym typeface="Calibri"/>
            </a:endParaRPr>
          </a:p>
          <a:p>
            <a:pPr marL="176213" marR="0" lvl="1" indent="-176213" algn="l" rtl="0">
              <a:lnSpc>
                <a:spcPct val="95000"/>
              </a:lnSpc>
              <a:spcBef>
                <a:spcPts val="1000"/>
              </a:spcBef>
              <a:spcAft>
                <a:spcPts val="0"/>
              </a:spcAft>
              <a:buClr>
                <a:schemeClr val="dk2"/>
              </a:buClr>
              <a:buSzPts val="1440"/>
              <a:buFont typeface="Noto Sans Symbols"/>
              <a:buChar char="▪"/>
            </a:pPr>
            <a:r>
              <a:rPr lang="en-US" sz="1600" b="0" i="0" u="none" strike="noStrike" cap="none">
                <a:solidFill>
                  <a:schemeClr val="dk1"/>
                </a:solidFill>
                <a:latin typeface="Calibri"/>
                <a:ea typeface="Calibri"/>
                <a:cs typeface="Calibri"/>
                <a:sym typeface="Calibri"/>
              </a:rPr>
              <a:t>In-depth QA process</a:t>
            </a:r>
            <a:endParaRPr sz="1440" b="0" i="0" u="none" strike="noStrike" cap="none">
              <a:solidFill>
                <a:schemeClr val="dk1"/>
              </a:solidFill>
              <a:latin typeface="Calibri"/>
              <a:ea typeface="Calibri"/>
              <a:cs typeface="Calibri"/>
              <a:sym typeface="Calibri"/>
            </a:endParaRPr>
          </a:p>
          <a:p>
            <a:pPr marL="176213" marR="0" lvl="1" indent="-176213" algn="l" rtl="0">
              <a:lnSpc>
                <a:spcPct val="95000"/>
              </a:lnSpc>
              <a:spcBef>
                <a:spcPts val="1000"/>
              </a:spcBef>
              <a:spcAft>
                <a:spcPts val="0"/>
              </a:spcAft>
              <a:buClr>
                <a:schemeClr val="dk2"/>
              </a:buClr>
              <a:buSzPts val="1440"/>
              <a:buFont typeface="Noto Sans Symbols"/>
              <a:buChar char="▪"/>
            </a:pPr>
            <a:r>
              <a:rPr lang="en-US" sz="1600" b="0" i="0" u="none" strike="noStrike" cap="none">
                <a:solidFill>
                  <a:schemeClr val="dk1"/>
                </a:solidFill>
                <a:latin typeface="Calibri"/>
                <a:ea typeface="Calibri"/>
                <a:cs typeface="Calibri"/>
                <a:sym typeface="Calibri"/>
              </a:rPr>
              <a:t>Updating the client regularly</a:t>
            </a:r>
            <a:endParaRPr sz="1440" b="0" i="0" u="none" strike="noStrike" cap="none">
              <a:solidFill>
                <a:schemeClr val="dk1"/>
              </a:solidFill>
              <a:latin typeface="Calibri"/>
              <a:ea typeface="Calibri"/>
              <a:cs typeface="Calibri"/>
              <a:sym typeface="Calibri"/>
            </a:endParaRPr>
          </a:p>
        </p:txBody>
      </p:sp>
      <p:sp>
        <p:nvSpPr>
          <p:cNvPr id="2416" name="Google Shape;2416;p28"/>
          <p:cNvSpPr txBox="1"/>
          <p:nvPr/>
        </p:nvSpPr>
        <p:spPr>
          <a:xfrm>
            <a:off x="8906755" y="3514825"/>
            <a:ext cx="2554347" cy="866904"/>
          </a:xfrm>
          <a:prstGeom prst="rect">
            <a:avLst/>
          </a:prstGeom>
          <a:noFill/>
          <a:ln>
            <a:noFill/>
          </a:ln>
        </p:spPr>
        <p:txBody>
          <a:bodyPr spcFirstLastPara="1" wrap="square" lIns="0" tIns="0" rIns="0" bIns="0" anchor="t" anchorCtr="0">
            <a:spAutoFit/>
          </a:bodyPr>
          <a:lstStyle/>
          <a:p>
            <a:pPr marL="176213" marR="0" lvl="1" indent="-176213" algn="l" rtl="0">
              <a:lnSpc>
                <a:spcPct val="100000"/>
              </a:lnSpc>
              <a:spcBef>
                <a:spcPts val="0"/>
              </a:spcBef>
              <a:spcAft>
                <a:spcPts val="0"/>
              </a:spcAft>
              <a:buClr>
                <a:schemeClr val="dk2"/>
              </a:buClr>
              <a:buSzPts val="1440"/>
              <a:buFont typeface="Noto Sans Symbols"/>
              <a:buChar char="▪"/>
            </a:pPr>
            <a:r>
              <a:rPr lang="en-US" sz="1600" b="0" i="0" u="none" strike="noStrike" cap="none">
                <a:solidFill>
                  <a:schemeClr val="dk1"/>
                </a:solidFill>
                <a:latin typeface="Calibri"/>
                <a:ea typeface="Calibri"/>
                <a:cs typeface="Calibri"/>
                <a:sym typeface="Calibri"/>
              </a:rPr>
              <a:t>Explaining the key translation choices made </a:t>
            </a:r>
            <a:endParaRPr sz="1400" b="0" i="0" u="none" strike="noStrike" cap="none">
              <a:solidFill>
                <a:srgbClr val="000000"/>
              </a:solidFill>
              <a:latin typeface="Arial"/>
              <a:ea typeface="Arial"/>
              <a:cs typeface="Arial"/>
              <a:sym typeface="Arial"/>
            </a:endParaRPr>
          </a:p>
          <a:p>
            <a:pPr marL="176213" marR="0" lvl="1" indent="-176213" algn="l" rtl="0">
              <a:lnSpc>
                <a:spcPct val="100000"/>
              </a:lnSpc>
              <a:spcBef>
                <a:spcPts val="1000"/>
              </a:spcBef>
              <a:spcAft>
                <a:spcPts val="0"/>
              </a:spcAft>
              <a:buClr>
                <a:schemeClr val="dk2"/>
              </a:buClr>
              <a:buSzPts val="1440"/>
              <a:buFont typeface="Noto Sans Symbols"/>
              <a:buChar char="▪"/>
            </a:pPr>
            <a:r>
              <a:rPr lang="en-US" sz="1600" b="0" i="0" u="none" strike="noStrike" cap="none">
                <a:solidFill>
                  <a:schemeClr val="dk1"/>
                </a:solidFill>
                <a:latin typeface="Calibri"/>
                <a:ea typeface="Calibri"/>
                <a:cs typeface="Calibri"/>
                <a:sym typeface="Calibri"/>
              </a:rPr>
              <a:t>Getting client feedback</a:t>
            </a:r>
            <a:endParaRPr sz="1400" b="0" i="0" u="none" strike="noStrike" cap="none">
              <a:solidFill>
                <a:srgbClr val="000000"/>
              </a:solidFill>
              <a:latin typeface="Arial"/>
              <a:ea typeface="Arial"/>
              <a:cs typeface="Arial"/>
              <a:sym typeface="Arial"/>
            </a:endParaRPr>
          </a:p>
        </p:txBody>
      </p:sp>
      <p:sp>
        <p:nvSpPr>
          <p:cNvPr id="2417" name="Google Shape;2417;p28"/>
          <p:cNvSpPr/>
          <p:nvPr/>
        </p:nvSpPr>
        <p:spPr>
          <a:xfrm>
            <a:off x="5645900" y="2787779"/>
            <a:ext cx="3168000" cy="632539"/>
          </a:xfrm>
          <a:prstGeom prst="chevron">
            <a:avLst>
              <a:gd name="adj" fmla="val 16379"/>
            </a:avLst>
          </a:prstGeom>
          <a:solidFill>
            <a:schemeClr val="accent1"/>
          </a:solidFill>
          <a:ln>
            <a:noFill/>
          </a:ln>
        </p:spPr>
        <p:txBody>
          <a:bodyPr spcFirstLastPara="1" wrap="square" lIns="0" tIns="37325" rIns="0" bIns="37325" anchor="ctr" anchorCtr="0">
            <a:noAutofit/>
          </a:bodyPr>
          <a:lstStyle/>
          <a:p>
            <a:pPr marL="0" marR="0" lvl="0" indent="0" algn="ctr" rtl="0">
              <a:lnSpc>
                <a:spcPct val="85000"/>
              </a:lnSpc>
              <a:spcBef>
                <a:spcPts val="0"/>
              </a:spcBef>
              <a:spcAft>
                <a:spcPts val="0"/>
              </a:spcAft>
              <a:buClr>
                <a:srgbClr val="000000"/>
              </a:buClr>
              <a:buSzPts val="1800"/>
              <a:buFont typeface="Arial"/>
              <a:buNone/>
            </a:pPr>
            <a:r>
              <a:rPr lang="en-US" sz="1800" b="1" i="0" u="none" strike="noStrike" cap="none">
                <a:solidFill>
                  <a:schemeClr val="lt1"/>
                </a:solidFill>
                <a:latin typeface="Calibri"/>
                <a:ea typeface="Calibri"/>
                <a:cs typeface="Calibri"/>
                <a:sym typeface="Calibri"/>
              </a:rPr>
              <a:t>Executing translation work</a:t>
            </a:r>
            <a:endParaRPr sz="1800" b="1" i="0" u="none" strike="noStrike" cap="none">
              <a:solidFill>
                <a:schemeClr val="lt1"/>
              </a:solidFill>
              <a:latin typeface="Calibri"/>
              <a:ea typeface="Calibri"/>
              <a:cs typeface="Calibri"/>
              <a:sym typeface="Calibri"/>
            </a:endParaRPr>
          </a:p>
        </p:txBody>
      </p:sp>
      <p:sp>
        <p:nvSpPr>
          <p:cNvPr id="2418" name="Google Shape;2418;p28"/>
          <p:cNvSpPr/>
          <p:nvPr/>
        </p:nvSpPr>
        <p:spPr>
          <a:xfrm>
            <a:off x="8800711" y="2787779"/>
            <a:ext cx="2847353" cy="632539"/>
          </a:xfrm>
          <a:prstGeom prst="chevron">
            <a:avLst>
              <a:gd name="adj" fmla="val 16379"/>
            </a:avLst>
          </a:prstGeom>
          <a:solidFill>
            <a:schemeClr val="accent1"/>
          </a:solidFill>
          <a:ln>
            <a:noFill/>
          </a:ln>
        </p:spPr>
        <p:txBody>
          <a:bodyPr spcFirstLastPara="1" wrap="square" lIns="0" tIns="37325" rIns="0" bIns="37325" anchor="ctr" anchorCtr="0">
            <a:noAutofit/>
          </a:bodyPr>
          <a:lstStyle/>
          <a:p>
            <a:pPr marL="0" marR="0" lvl="0" indent="0" algn="ctr" rtl="0">
              <a:lnSpc>
                <a:spcPct val="85000"/>
              </a:lnSpc>
              <a:spcBef>
                <a:spcPts val="0"/>
              </a:spcBef>
              <a:spcAft>
                <a:spcPts val="0"/>
              </a:spcAft>
              <a:buClr>
                <a:srgbClr val="000000"/>
              </a:buClr>
              <a:buSzPts val="1800"/>
              <a:buFont typeface="Arial"/>
              <a:buNone/>
            </a:pPr>
            <a:r>
              <a:rPr lang="en-US" sz="1800" b="1" i="0" u="none" strike="noStrike" cap="none">
                <a:solidFill>
                  <a:schemeClr val="lt1"/>
                </a:solidFill>
                <a:latin typeface="Calibri"/>
                <a:ea typeface="Calibri"/>
                <a:cs typeface="Calibri"/>
                <a:sym typeface="Calibri"/>
              </a:rPr>
              <a:t>Handover</a:t>
            </a:r>
            <a:endParaRPr sz="1800" b="1" i="0" u="none" strike="noStrike" cap="none">
              <a:solidFill>
                <a:schemeClr val="lt1"/>
              </a:solidFill>
              <a:latin typeface="Calibri"/>
              <a:ea typeface="Calibri"/>
              <a:cs typeface="Calibri"/>
              <a:sym typeface="Calibri"/>
            </a:endParaRPr>
          </a:p>
        </p:txBody>
      </p:sp>
      <p:sp>
        <p:nvSpPr>
          <p:cNvPr id="2419" name="Google Shape;2419;p28"/>
          <p:cNvSpPr/>
          <p:nvPr/>
        </p:nvSpPr>
        <p:spPr>
          <a:xfrm>
            <a:off x="2542904" y="2388172"/>
            <a:ext cx="926118" cy="338554"/>
          </a:xfrm>
          <a:prstGeom prst="rect">
            <a:avLst/>
          </a:prstGeom>
          <a:solidFill>
            <a:schemeClr val="lt1"/>
          </a:solidFill>
          <a:ln>
            <a:noFill/>
          </a:ln>
        </p:spPr>
        <p:txBody>
          <a:bodyPr spcFirstLastPara="1" wrap="square" lIns="72000" tIns="0" rIns="72000" bIns="0" anchor="ctr" anchorCtr="0">
            <a:spAutoFit/>
          </a:bodyPr>
          <a:lstStyle/>
          <a:p>
            <a:pPr marL="0" marR="0" lvl="0" indent="0" algn="ctr" rtl="0">
              <a:lnSpc>
                <a:spcPct val="100000"/>
              </a:lnSpc>
              <a:spcBef>
                <a:spcPts val="0"/>
              </a:spcBef>
              <a:spcAft>
                <a:spcPts val="0"/>
              </a:spcAft>
              <a:buClr>
                <a:srgbClr val="000000"/>
              </a:buClr>
              <a:buSzPts val="2200"/>
              <a:buFont typeface="Arial"/>
              <a:buNone/>
            </a:pPr>
            <a:r>
              <a:rPr lang="en-US" sz="2200" b="1" i="0" u="none" strike="noStrike" cap="none">
                <a:solidFill>
                  <a:schemeClr val="dk2"/>
                </a:solidFill>
                <a:latin typeface="Calibri"/>
                <a:ea typeface="Calibri"/>
                <a:cs typeface="Calibri"/>
                <a:sym typeface="Calibri"/>
              </a:rPr>
              <a:t>Intake</a:t>
            </a:r>
            <a:endParaRPr sz="2200" b="1" i="0" u="none" strike="noStrike" cap="none">
              <a:solidFill>
                <a:schemeClr val="dk2"/>
              </a:solidFill>
              <a:latin typeface="Calibri"/>
              <a:ea typeface="Calibri"/>
              <a:cs typeface="Calibri"/>
              <a:sym typeface="Calibri"/>
            </a:endParaRPr>
          </a:p>
        </p:txBody>
      </p:sp>
      <p:sp>
        <p:nvSpPr>
          <p:cNvPr id="2420" name="Google Shape;2420;p28"/>
          <p:cNvSpPr/>
          <p:nvPr/>
        </p:nvSpPr>
        <p:spPr>
          <a:xfrm>
            <a:off x="6528919" y="2388172"/>
            <a:ext cx="1288027" cy="338554"/>
          </a:xfrm>
          <a:prstGeom prst="rect">
            <a:avLst/>
          </a:prstGeom>
          <a:solidFill>
            <a:schemeClr val="lt1"/>
          </a:solidFill>
          <a:ln>
            <a:noFill/>
          </a:ln>
        </p:spPr>
        <p:txBody>
          <a:bodyPr spcFirstLastPara="1" wrap="square" lIns="72000" tIns="0" rIns="72000" bIns="0" anchor="ctr" anchorCtr="0">
            <a:spAutoFit/>
          </a:bodyPr>
          <a:lstStyle/>
          <a:p>
            <a:pPr marL="0" marR="0" lvl="0" indent="0" algn="ctr" rtl="0">
              <a:lnSpc>
                <a:spcPct val="100000"/>
              </a:lnSpc>
              <a:spcBef>
                <a:spcPts val="0"/>
              </a:spcBef>
              <a:spcAft>
                <a:spcPts val="0"/>
              </a:spcAft>
              <a:buClr>
                <a:srgbClr val="000000"/>
              </a:buClr>
              <a:buSzPts val="2200"/>
              <a:buFont typeface="Arial"/>
              <a:buNone/>
            </a:pPr>
            <a:r>
              <a:rPr lang="en-US" sz="2200" b="1" i="0" u="none" strike="noStrike" cap="none">
                <a:solidFill>
                  <a:schemeClr val="dk2"/>
                </a:solidFill>
                <a:latin typeface="Calibri"/>
                <a:ea typeface="Calibri"/>
                <a:cs typeface="Calibri"/>
                <a:sym typeface="Calibri"/>
              </a:rPr>
              <a:t>Execution</a:t>
            </a:r>
            <a:endParaRPr sz="2200" b="1" i="0" u="none" strike="noStrike" cap="none">
              <a:solidFill>
                <a:schemeClr val="dk2"/>
              </a:solidFill>
              <a:latin typeface="Calibri"/>
              <a:ea typeface="Calibri"/>
              <a:cs typeface="Calibri"/>
              <a:sym typeface="Calibri"/>
            </a:endParaRPr>
          </a:p>
        </p:txBody>
      </p:sp>
      <p:sp>
        <p:nvSpPr>
          <p:cNvPr id="2421" name="Google Shape;2421;p28"/>
          <p:cNvSpPr/>
          <p:nvPr/>
        </p:nvSpPr>
        <p:spPr>
          <a:xfrm>
            <a:off x="9596122" y="2388172"/>
            <a:ext cx="1112209" cy="338554"/>
          </a:xfrm>
          <a:prstGeom prst="rect">
            <a:avLst/>
          </a:prstGeom>
          <a:solidFill>
            <a:schemeClr val="lt1"/>
          </a:solidFill>
          <a:ln>
            <a:noFill/>
          </a:ln>
        </p:spPr>
        <p:txBody>
          <a:bodyPr spcFirstLastPara="1" wrap="square" lIns="72000" tIns="0" rIns="72000" bIns="0" anchor="ctr" anchorCtr="0">
            <a:spAutoFit/>
          </a:bodyPr>
          <a:lstStyle/>
          <a:p>
            <a:pPr marL="0" marR="0" lvl="0" indent="0" algn="ctr" rtl="0">
              <a:lnSpc>
                <a:spcPct val="100000"/>
              </a:lnSpc>
              <a:spcBef>
                <a:spcPts val="0"/>
              </a:spcBef>
              <a:spcAft>
                <a:spcPts val="0"/>
              </a:spcAft>
              <a:buClr>
                <a:srgbClr val="000000"/>
              </a:buClr>
              <a:buSzPts val="2200"/>
              <a:buFont typeface="Arial"/>
              <a:buNone/>
            </a:pPr>
            <a:r>
              <a:rPr lang="en-US" sz="2200" b="1" i="0" u="none" strike="noStrike" cap="none">
                <a:solidFill>
                  <a:schemeClr val="dk2"/>
                </a:solidFill>
                <a:latin typeface="Calibri"/>
                <a:ea typeface="Calibri"/>
                <a:cs typeface="Calibri"/>
                <a:sym typeface="Calibri"/>
              </a:rPr>
              <a:t>Delivery</a:t>
            </a:r>
            <a:endParaRPr sz="1400" b="0" i="0" u="none" strike="noStrike" cap="none">
              <a:solidFill>
                <a:srgbClr val="000000"/>
              </a:solidFill>
              <a:latin typeface="Arial"/>
              <a:ea typeface="Arial"/>
              <a:cs typeface="Arial"/>
              <a:sym typeface="Arial"/>
            </a:endParaRPr>
          </a:p>
        </p:txBody>
      </p:sp>
      <p:grpSp>
        <p:nvGrpSpPr>
          <p:cNvPr id="2422" name="Google Shape;2422;p28"/>
          <p:cNvGrpSpPr/>
          <p:nvPr/>
        </p:nvGrpSpPr>
        <p:grpSpPr>
          <a:xfrm>
            <a:off x="2737179" y="1684820"/>
            <a:ext cx="590770" cy="590768"/>
            <a:chOff x="2021329" y="1470497"/>
            <a:chExt cx="594555" cy="594555"/>
          </a:xfrm>
        </p:grpSpPr>
        <p:sp>
          <p:nvSpPr>
            <p:cNvPr id="2423" name="Google Shape;2423;p28"/>
            <p:cNvSpPr/>
            <p:nvPr/>
          </p:nvSpPr>
          <p:spPr>
            <a:xfrm>
              <a:off x="2568219" y="1786590"/>
              <a:ext cx="17560" cy="61046"/>
            </a:xfrm>
            <a:custGeom>
              <a:avLst/>
              <a:gdLst/>
              <a:ahLst/>
              <a:cxnLst/>
              <a:rect l="l" t="t" r="r" b="b"/>
              <a:pathLst>
                <a:path w="17560" h="61046" extrusionOk="0">
                  <a:moveTo>
                    <a:pt x="8780" y="0"/>
                  </a:moveTo>
                  <a:cubicBezTo>
                    <a:pt x="3934" y="-3"/>
                    <a:pt x="3" y="3924"/>
                    <a:pt x="0" y="8770"/>
                  </a:cubicBezTo>
                  <a:cubicBezTo>
                    <a:pt x="0" y="8774"/>
                    <a:pt x="0" y="8777"/>
                    <a:pt x="0" y="8780"/>
                  </a:cubicBezTo>
                  <a:lnTo>
                    <a:pt x="0" y="52266"/>
                  </a:lnTo>
                  <a:cubicBezTo>
                    <a:pt x="0" y="57115"/>
                    <a:pt x="3931" y="61046"/>
                    <a:pt x="8780" y="61046"/>
                  </a:cubicBezTo>
                  <a:cubicBezTo>
                    <a:pt x="13630" y="61046"/>
                    <a:pt x="17561" y="57115"/>
                    <a:pt x="17561" y="52266"/>
                  </a:cubicBezTo>
                  <a:lnTo>
                    <a:pt x="17561" y="8780"/>
                  </a:lnTo>
                  <a:cubicBezTo>
                    <a:pt x="17563" y="3934"/>
                    <a:pt x="13637" y="3"/>
                    <a:pt x="8790" y="0"/>
                  </a:cubicBezTo>
                  <a:cubicBezTo>
                    <a:pt x="8787" y="0"/>
                    <a:pt x="8784" y="0"/>
                    <a:pt x="8780" y="0"/>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24" name="Google Shape;2424;p28"/>
            <p:cNvSpPr/>
            <p:nvPr/>
          </p:nvSpPr>
          <p:spPr>
            <a:xfrm>
              <a:off x="2021329" y="1470497"/>
              <a:ext cx="594555" cy="594555"/>
            </a:xfrm>
            <a:custGeom>
              <a:avLst/>
              <a:gdLst/>
              <a:ahLst/>
              <a:cxnLst/>
              <a:rect l="l" t="t" r="r" b="b"/>
              <a:pathLst>
                <a:path w="594555" h="594555" extrusionOk="0">
                  <a:moveTo>
                    <a:pt x="555671" y="0"/>
                  </a:moveTo>
                  <a:lnTo>
                    <a:pt x="38884" y="0"/>
                  </a:lnTo>
                  <a:cubicBezTo>
                    <a:pt x="17419" y="25"/>
                    <a:pt x="25" y="17419"/>
                    <a:pt x="0" y="38884"/>
                  </a:cubicBezTo>
                  <a:lnTo>
                    <a:pt x="0" y="466914"/>
                  </a:lnTo>
                  <a:cubicBezTo>
                    <a:pt x="25" y="488379"/>
                    <a:pt x="17419" y="505774"/>
                    <a:pt x="38884" y="505798"/>
                  </a:cubicBezTo>
                  <a:lnTo>
                    <a:pt x="88757" y="505798"/>
                  </a:lnTo>
                  <a:lnTo>
                    <a:pt x="88757" y="555671"/>
                  </a:lnTo>
                  <a:cubicBezTo>
                    <a:pt x="88782" y="577136"/>
                    <a:pt x="106176" y="594530"/>
                    <a:pt x="127641" y="594555"/>
                  </a:cubicBezTo>
                  <a:lnTo>
                    <a:pt x="466914" y="594555"/>
                  </a:lnTo>
                  <a:cubicBezTo>
                    <a:pt x="488379" y="594530"/>
                    <a:pt x="505774" y="577136"/>
                    <a:pt x="505798" y="555671"/>
                  </a:cubicBezTo>
                  <a:lnTo>
                    <a:pt x="505798" y="505798"/>
                  </a:lnTo>
                  <a:lnTo>
                    <a:pt x="555671" y="505798"/>
                  </a:lnTo>
                  <a:cubicBezTo>
                    <a:pt x="577136" y="505774"/>
                    <a:pt x="594530" y="488379"/>
                    <a:pt x="594555" y="466914"/>
                  </a:cubicBezTo>
                  <a:lnTo>
                    <a:pt x="594555" y="38884"/>
                  </a:lnTo>
                  <a:cubicBezTo>
                    <a:pt x="594530" y="17419"/>
                    <a:pt x="577136" y="25"/>
                    <a:pt x="555671" y="0"/>
                  </a:cubicBezTo>
                  <a:close/>
                  <a:moveTo>
                    <a:pt x="17561" y="38884"/>
                  </a:moveTo>
                  <a:cubicBezTo>
                    <a:pt x="17575" y="27113"/>
                    <a:pt x="27113" y="17575"/>
                    <a:pt x="38884" y="17561"/>
                  </a:cubicBezTo>
                  <a:lnTo>
                    <a:pt x="555671" y="17561"/>
                  </a:lnTo>
                  <a:cubicBezTo>
                    <a:pt x="567443" y="17572"/>
                    <a:pt x="576983" y="27112"/>
                    <a:pt x="576995" y="38884"/>
                  </a:cubicBezTo>
                  <a:lnTo>
                    <a:pt x="576995" y="60208"/>
                  </a:lnTo>
                  <a:lnTo>
                    <a:pt x="17561" y="60208"/>
                  </a:lnTo>
                  <a:close/>
                  <a:moveTo>
                    <a:pt x="288497" y="363903"/>
                  </a:moveTo>
                  <a:lnTo>
                    <a:pt x="247305" y="330603"/>
                  </a:lnTo>
                  <a:cubicBezTo>
                    <a:pt x="243557" y="327526"/>
                    <a:pt x="238024" y="328070"/>
                    <a:pt x="234947" y="331818"/>
                  </a:cubicBezTo>
                  <a:cubicBezTo>
                    <a:pt x="231870" y="335566"/>
                    <a:pt x="232414" y="341099"/>
                    <a:pt x="236162" y="344176"/>
                  </a:cubicBezTo>
                  <a:cubicBezTo>
                    <a:pt x="236197" y="344204"/>
                    <a:pt x="236232" y="344232"/>
                    <a:pt x="236267" y="344260"/>
                  </a:cubicBezTo>
                  <a:lnTo>
                    <a:pt x="291759" y="389120"/>
                  </a:lnTo>
                  <a:cubicBezTo>
                    <a:pt x="294981" y="391713"/>
                    <a:pt x="299574" y="391713"/>
                    <a:pt x="302797" y="389120"/>
                  </a:cubicBezTo>
                  <a:lnTo>
                    <a:pt x="358289" y="344260"/>
                  </a:lnTo>
                  <a:cubicBezTo>
                    <a:pt x="362083" y="341241"/>
                    <a:pt x="362712" y="335717"/>
                    <a:pt x="359692" y="331922"/>
                  </a:cubicBezTo>
                  <a:cubicBezTo>
                    <a:pt x="356673" y="328128"/>
                    <a:pt x="351149" y="327499"/>
                    <a:pt x="347355" y="330518"/>
                  </a:cubicBezTo>
                  <a:cubicBezTo>
                    <a:pt x="347320" y="330546"/>
                    <a:pt x="347285" y="330574"/>
                    <a:pt x="347250" y="330603"/>
                  </a:cubicBezTo>
                  <a:lnTo>
                    <a:pt x="306058" y="363903"/>
                  </a:lnTo>
                  <a:lnTo>
                    <a:pt x="306058" y="306058"/>
                  </a:lnTo>
                  <a:lnTo>
                    <a:pt x="466914" y="306058"/>
                  </a:lnTo>
                  <a:cubicBezTo>
                    <a:pt x="468451" y="306073"/>
                    <a:pt x="469982" y="306256"/>
                    <a:pt x="471480" y="306605"/>
                  </a:cubicBezTo>
                  <a:lnTo>
                    <a:pt x="297278" y="447397"/>
                  </a:lnTo>
                  <a:lnTo>
                    <a:pt x="123075" y="306605"/>
                  </a:lnTo>
                  <a:cubicBezTo>
                    <a:pt x="124573" y="306256"/>
                    <a:pt x="126104" y="306073"/>
                    <a:pt x="127641" y="306058"/>
                  </a:cubicBezTo>
                  <a:lnTo>
                    <a:pt x="288497" y="306058"/>
                  </a:lnTo>
                  <a:close/>
                  <a:moveTo>
                    <a:pt x="488238" y="555671"/>
                  </a:moveTo>
                  <a:cubicBezTo>
                    <a:pt x="488224" y="567442"/>
                    <a:pt x="478685" y="576981"/>
                    <a:pt x="466914" y="576995"/>
                  </a:cubicBezTo>
                  <a:lnTo>
                    <a:pt x="127641" y="576995"/>
                  </a:lnTo>
                  <a:cubicBezTo>
                    <a:pt x="115870" y="576981"/>
                    <a:pt x="106331" y="567442"/>
                    <a:pt x="106318" y="555671"/>
                  </a:cubicBezTo>
                  <a:lnTo>
                    <a:pt x="106318" y="327382"/>
                  </a:lnTo>
                  <a:cubicBezTo>
                    <a:pt x="106354" y="323985"/>
                    <a:pt x="107215" y="320648"/>
                    <a:pt x="108826" y="317658"/>
                  </a:cubicBezTo>
                  <a:lnTo>
                    <a:pt x="291759" y="465514"/>
                  </a:lnTo>
                  <a:cubicBezTo>
                    <a:pt x="294978" y="468116"/>
                    <a:pt x="299577" y="468116"/>
                    <a:pt x="302797" y="465514"/>
                  </a:cubicBezTo>
                  <a:lnTo>
                    <a:pt x="485749" y="317653"/>
                  </a:lnTo>
                  <a:cubicBezTo>
                    <a:pt x="487357" y="320646"/>
                    <a:pt x="488218" y="323984"/>
                    <a:pt x="488258" y="327382"/>
                  </a:cubicBezTo>
                  <a:close/>
                  <a:moveTo>
                    <a:pt x="555671" y="488238"/>
                  </a:moveTo>
                  <a:lnTo>
                    <a:pt x="505798" y="488238"/>
                  </a:lnTo>
                  <a:lnTo>
                    <a:pt x="505798" y="327382"/>
                  </a:lnTo>
                  <a:cubicBezTo>
                    <a:pt x="505783" y="316496"/>
                    <a:pt x="501193" y="306118"/>
                    <a:pt x="493150" y="298783"/>
                  </a:cubicBezTo>
                  <a:lnTo>
                    <a:pt x="492844" y="298522"/>
                  </a:lnTo>
                  <a:lnTo>
                    <a:pt x="492678" y="298386"/>
                  </a:lnTo>
                  <a:cubicBezTo>
                    <a:pt x="485609" y="292017"/>
                    <a:pt x="476430" y="288494"/>
                    <a:pt x="466914" y="288497"/>
                  </a:cubicBezTo>
                  <a:lnTo>
                    <a:pt x="306058" y="288497"/>
                  </a:lnTo>
                  <a:lnTo>
                    <a:pt x="306058" y="204457"/>
                  </a:lnTo>
                  <a:cubicBezTo>
                    <a:pt x="306058" y="199608"/>
                    <a:pt x="302127" y="195676"/>
                    <a:pt x="297278" y="195676"/>
                  </a:cubicBezTo>
                  <a:cubicBezTo>
                    <a:pt x="292428" y="195676"/>
                    <a:pt x="288497" y="199608"/>
                    <a:pt x="288497" y="204457"/>
                  </a:cubicBezTo>
                  <a:lnTo>
                    <a:pt x="288497" y="288497"/>
                  </a:lnTo>
                  <a:lnTo>
                    <a:pt x="127641" y="288497"/>
                  </a:lnTo>
                  <a:cubicBezTo>
                    <a:pt x="118121" y="288483"/>
                    <a:pt x="108935" y="292003"/>
                    <a:pt x="101862" y="298376"/>
                  </a:cubicBezTo>
                  <a:lnTo>
                    <a:pt x="101727" y="298492"/>
                  </a:lnTo>
                  <a:lnTo>
                    <a:pt x="101466" y="298708"/>
                  </a:lnTo>
                  <a:cubicBezTo>
                    <a:pt x="93384" y="306052"/>
                    <a:pt x="88771" y="316461"/>
                    <a:pt x="88757" y="327382"/>
                  </a:cubicBezTo>
                  <a:lnTo>
                    <a:pt x="88757" y="488238"/>
                  </a:lnTo>
                  <a:lnTo>
                    <a:pt x="38884" y="488238"/>
                  </a:lnTo>
                  <a:cubicBezTo>
                    <a:pt x="27113" y="488224"/>
                    <a:pt x="17575" y="478685"/>
                    <a:pt x="17561" y="466914"/>
                  </a:cubicBezTo>
                  <a:lnTo>
                    <a:pt x="17561" y="77769"/>
                  </a:lnTo>
                  <a:lnTo>
                    <a:pt x="576995" y="77769"/>
                  </a:lnTo>
                  <a:lnTo>
                    <a:pt x="576995" y="466914"/>
                  </a:lnTo>
                  <a:cubicBezTo>
                    <a:pt x="576981" y="478685"/>
                    <a:pt x="567442" y="488224"/>
                    <a:pt x="555671" y="488238"/>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25" name="Google Shape;2425;p28"/>
            <p:cNvSpPr/>
            <p:nvPr/>
          </p:nvSpPr>
          <p:spPr>
            <a:xfrm>
              <a:off x="2478620" y="1501855"/>
              <a:ext cx="15052" cy="15052"/>
            </a:xfrm>
            <a:custGeom>
              <a:avLst/>
              <a:gdLst/>
              <a:ahLst/>
              <a:cxnLst/>
              <a:rect l="l" t="t" r="r" b="b"/>
              <a:pathLst>
                <a:path w="15052" h="15052" extrusionOk="0">
                  <a:moveTo>
                    <a:pt x="15052" y="7526"/>
                  </a:moveTo>
                  <a:cubicBezTo>
                    <a:pt x="15052" y="11683"/>
                    <a:pt x="11683" y="15052"/>
                    <a:pt x="7526" y="15052"/>
                  </a:cubicBezTo>
                  <a:cubicBezTo>
                    <a:pt x="3369" y="15052"/>
                    <a:pt x="0" y="11683"/>
                    <a:pt x="0" y="7526"/>
                  </a:cubicBezTo>
                  <a:cubicBezTo>
                    <a:pt x="0" y="3370"/>
                    <a:pt x="3369" y="0"/>
                    <a:pt x="7526" y="0"/>
                  </a:cubicBezTo>
                  <a:cubicBezTo>
                    <a:pt x="11683" y="0"/>
                    <a:pt x="15052" y="3370"/>
                    <a:pt x="15052" y="7526"/>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26" name="Google Shape;2426;p28"/>
            <p:cNvSpPr/>
            <p:nvPr/>
          </p:nvSpPr>
          <p:spPr>
            <a:xfrm>
              <a:off x="2511232" y="1501855"/>
              <a:ext cx="15052" cy="15052"/>
            </a:xfrm>
            <a:custGeom>
              <a:avLst/>
              <a:gdLst/>
              <a:ahLst/>
              <a:cxnLst/>
              <a:rect l="l" t="t" r="r" b="b"/>
              <a:pathLst>
                <a:path w="15052" h="15052" extrusionOk="0">
                  <a:moveTo>
                    <a:pt x="15052" y="7526"/>
                  </a:moveTo>
                  <a:cubicBezTo>
                    <a:pt x="15052" y="11683"/>
                    <a:pt x="11683" y="15052"/>
                    <a:pt x="7526" y="15052"/>
                  </a:cubicBezTo>
                  <a:cubicBezTo>
                    <a:pt x="3369" y="15052"/>
                    <a:pt x="0" y="11683"/>
                    <a:pt x="0" y="7526"/>
                  </a:cubicBezTo>
                  <a:cubicBezTo>
                    <a:pt x="0" y="3370"/>
                    <a:pt x="3369" y="0"/>
                    <a:pt x="7526" y="0"/>
                  </a:cubicBezTo>
                  <a:cubicBezTo>
                    <a:pt x="11683" y="0"/>
                    <a:pt x="15052" y="3370"/>
                    <a:pt x="15052" y="7526"/>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27" name="Google Shape;2427;p28"/>
            <p:cNvSpPr/>
            <p:nvPr/>
          </p:nvSpPr>
          <p:spPr>
            <a:xfrm>
              <a:off x="2543845" y="1501855"/>
              <a:ext cx="15052" cy="15052"/>
            </a:xfrm>
            <a:custGeom>
              <a:avLst/>
              <a:gdLst/>
              <a:ahLst/>
              <a:cxnLst/>
              <a:rect l="l" t="t" r="r" b="b"/>
              <a:pathLst>
                <a:path w="15052" h="15052" extrusionOk="0">
                  <a:moveTo>
                    <a:pt x="15052" y="7526"/>
                  </a:moveTo>
                  <a:cubicBezTo>
                    <a:pt x="15052" y="11683"/>
                    <a:pt x="11683" y="15052"/>
                    <a:pt x="7526" y="15052"/>
                  </a:cubicBezTo>
                  <a:cubicBezTo>
                    <a:pt x="3369" y="15052"/>
                    <a:pt x="0" y="11683"/>
                    <a:pt x="0" y="7526"/>
                  </a:cubicBezTo>
                  <a:cubicBezTo>
                    <a:pt x="0" y="3370"/>
                    <a:pt x="3369" y="0"/>
                    <a:pt x="7526" y="0"/>
                  </a:cubicBezTo>
                  <a:cubicBezTo>
                    <a:pt x="11683" y="0"/>
                    <a:pt x="15052" y="3370"/>
                    <a:pt x="15052" y="7526"/>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2428" name="Google Shape;2428;p28"/>
          <p:cNvPicPr preferRelativeResize="0"/>
          <p:nvPr/>
        </p:nvPicPr>
        <p:blipFill rotWithShape="1">
          <a:blip r:embed="rId3">
            <a:alphaModFix/>
          </a:blip>
          <a:srcRect/>
          <a:stretch/>
        </p:blipFill>
        <p:spPr>
          <a:xfrm>
            <a:off x="9829137" y="1644114"/>
            <a:ext cx="646179" cy="646177"/>
          </a:xfrm>
          <a:prstGeom prst="rect">
            <a:avLst/>
          </a:prstGeom>
          <a:noFill/>
          <a:ln>
            <a:noFill/>
          </a:ln>
        </p:spPr>
      </p:pic>
      <p:pic>
        <p:nvPicPr>
          <p:cNvPr id="2429" name="Google Shape;2429;p28"/>
          <p:cNvPicPr preferRelativeResize="0"/>
          <p:nvPr/>
        </p:nvPicPr>
        <p:blipFill rotWithShape="1">
          <a:blip r:embed="rId4">
            <a:alphaModFix/>
          </a:blip>
          <a:srcRect/>
          <a:stretch/>
        </p:blipFill>
        <p:spPr>
          <a:xfrm>
            <a:off x="6857199" y="1644116"/>
            <a:ext cx="631466" cy="631466"/>
          </a:xfrm>
          <a:prstGeom prst="rect">
            <a:avLst/>
          </a:prstGeom>
          <a:noFill/>
          <a:ln>
            <a:noFill/>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2433"/>
        <p:cNvGrpSpPr/>
        <p:nvPr/>
      </p:nvGrpSpPr>
      <p:grpSpPr>
        <a:xfrm>
          <a:off x="0" y="0"/>
          <a:ext cx="0" cy="0"/>
          <a:chOff x="0" y="0"/>
          <a:chExt cx="0" cy="0"/>
        </a:xfrm>
      </p:grpSpPr>
      <p:pic>
        <p:nvPicPr>
          <p:cNvPr id="2434" name="Google Shape;2434;p29"/>
          <p:cNvPicPr preferRelativeResize="0"/>
          <p:nvPr/>
        </p:nvPicPr>
        <p:blipFill rotWithShape="1">
          <a:blip r:embed="rId3">
            <a:alphaModFix/>
          </a:blip>
          <a:srcRect/>
          <a:stretch/>
        </p:blipFill>
        <p:spPr>
          <a:xfrm>
            <a:off x="8515571" y="0"/>
            <a:ext cx="3676429" cy="6857999"/>
          </a:xfrm>
          <a:prstGeom prst="rect">
            <a:avLst/>
          </a:prstGeom>
          <a:noFill/>
          <a:ln>
            <a:noFill/>
          </a:ln>
        </p:spPr>
      </p:pic>
      <p:sp>
        <p:nvSpPr>
          <p:cNvPr id="2435" name="Google Shape;2435;p29"/>
          <p:cNvSpPr/>
          <p:nvPr/>
        </p:nvSpPr>
        <p:spPr>
          <a:xfrm>
            <a:off x="8534621" y="-1"/>
            <a:ext cx="3657379" cy="6857999"/>
          </a:xfrm>
          <a:prstGeom prst="rect">
            <a:avLst/>
          </a:prstGeom>
          <a:gradFill>
            <a:gsLst>
              <a:gs pos="0">
                <a:srgbClr val="062379"/>
              </a:gs>
              <a:gs pos="18000">
                <a:srgbClr val="062379"/>
              </a:gs>
              <a:gs pos="55000">
                <a:srgbClr val="0F47F2">
                  <a:alpha val="80000"/>
                </a:srgbClr>
              </a:gs>
              <a:gs pos="84000">
                <a:srgbClr val="0F47F2">
                  <a:alpha val="4784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36" name="Google Shape;2436;p29"/>
          <p:cNvSpPr txBox="1">
            <a:spLocks noGrp="1"/>
          </p:cNvSpPr>
          <p:nvPr>
            <p:ph type="sldNum" idx="12"/>
          </p:nvPr>
        </p:nvSpPr>
        <p:spPr>
          <a:xfrm>
            <a:off x="11490153" y="6450225"/>
            <a:ext cx="150682" cy="153888"/>
          </a:xfrm>
          <a:prstGeom prst="rect">
            <a:avLst/>
          </a:prstGeom>
          <a:noFill/>
          <a:ln>
            <a:noFill/>
          </a:ln>
        </p:spPr>
        <p:txBody>
          <a:bodyPr spcFirstLastPara="1" wrap="square" lIns="0" tIns="0" rIns="0" bIns="0" anchor="b" anchorCtr="0">
            <a:spAutoFit/>
          </a:bodyPr>
          <a:lstStyle/>
          <a:p>
            <a:pPr marL="0" lvl="0" indent="0" algn="r" rtl="0">
              <a:lnSpc>
                <a:spcPct val="90000"/>
              </a:lnSpc>
              <a:spcBef>
                <a:spcPts val="0"/>
              </a:spcBef>
              <a:spcAft>
                <a:spcPts val="0"/>
              </a:spcAft>
              <a:buSzPts val="900"/>
              <a:buNone/>
            </a:pPr>
            <a:fld id="{00000000-1234-1234-1234-123412341234}" type="slidenum">
              <a:rPr lang="en-US" sz="900" b="0" i="0" u="none" strike="noStrike" cap="none">
                <a:solidFill>
                  <a:srgbClr val="5F5F5F"/>
                </a:solidFill>
                <a:latin typeface="Lato"/>
                <a:ea typeface="Lato"/>
                <a:cs typeface="Lato"/>
                <a:sym typeface="Lato"/>
              </a:rPr>
              <a:t>34</a:t>
            </a:fld>
            <a:endParaRPr sz="900" b="0" i="0" u="none" strike="noStrike" cap="none">
              <a:solidFill>
                <a:srgbClr val="5F5F5F"/>
              </a:solidFill>
              <a:latin typeface="Lato"/>
              <a:ea typeface="Lato"/>
              <a:cs typeface="Lato"/>
              <a:sym typeface="Lato"/>
            </a:endParaRPr>
          </a:p>
        </p:txBody>
      </p:sp>
      <p:sp>
        <p:nvSpPr>
          <p:cNvPr id="2437" name="Google Shape;2437;p29"/>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Our work process</a:t>
            </a:r>
            <a:endParaRPr/>
          </a:p>
        </p:txBody>
      </p:sp>
      <p:sp>
        <p:nvSpPr>
          <p:cNvPr id="2438" name="Google Shape;2438;p29"/>
          <p:cNvSpPr txBox="1">
            <a:spLocks noGrp="1"/>
          </p:cNvSpPr>
          <p:nvPr>
            <p:ph type="body" idx="1"/>
          </p:nvPr>
        </p:nvSpPr>
        <p:spPr>
          <a:xfrm>
            <a:off x="550862" y="1028324"/>
            <a:ext cx="11089972" cy="292388"/>
          </a:xfrm>
          <a:prstGeom prst="rect">
            <a:avLst/>
          </a:prstGeom>
          <a:noFill/>
          <a:ln>
            <a:noFill/>
          </a:ln>
        </p:spPr>
        <p:txBody>
          <a:bodyPr spcFirstLastPara="1" wrap="square" lIns="0" tIns="0" rIns="0" bIns="0" anchor="t" anchorCtr="0">
            <a:spAutoFit/>
          </a:bodyPr>
          <a:lstStyle/>
          <a:p>
            <a:pPr marL="0" lvl="0" indent="0" algn="l" rtl="0">
              <a:lnSpc>
                <a:spcPct val="95000"/>
              </a:lnSpc>
              <a:spcBef>
                <a:spcPts val="0"/>
              </a:spcBef>
              <a:spcAft>
                <a:spcPts val="0"/>
              </a:spcAft>
              <a:buClr>
                <a:srgbClr val="6D90F8"/>
              </a:buClr>
              <a:buSzPts val="2000"/>
              <a:buNone/>
            </a:pPr>
            <a:r>
              <a:rPr lang="en-US"/>
              <a:t>Our business translators follow a simple work process for</a:t>
            </a:r>
            <a:br>
              <a:rPr lang="en-US"/>
            </a:br>
            <a:r>
              <a:rPr lang="en-US"/>
              <a:t>maximized effectiveness and control</a:t>
            </a:r>
            <a:endParaRPr/>
          </a:p>
        </p:txBody>
      </p:sp>
      <p:sp>
        <p:nvSpPr>
          <p:cNvPr id="2439" name="Google Shape;2439;p29"/>
          <p:cNvSpPr/>
          <p:nvPr/>
        </p:nvSpPr>
        <p:spPr>
          <a:xfrm>
            <a:off x="520716" y="2271862"/>
            <a:ext cx="1190870" cy="1190868"/>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40" name="Google Shape;2440;p29"/>
          <p:cNvSpPr/>
          <p:nvPr/>
        </p:nvSpPr>
        <p:spPr>
          <a:xfrm>
            <a:off x="2153660" y="2271862"/>
            <a:ext cx="1190870" cy="1190868"/>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41" name="Google Shape;2441;p29"/>
          <p:cNvSpPr/>
          <p:nvPr/>
        </p:nvSpPr>
        <p:spPr>
          <a:xfrm>
            <a:off x="3775676" y="2271862"/>
            <a:ext cx="1190870" cy="1190868"/>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42" name="Google Shape;2442;p29"/>
          <p:cNvSpPr/>
          <p:nvPr/>
        </p:nvSpPr>
        <p:spPr>
          <a:xfrm>
            <a:off x="5403156" y="2271862"/>
            <a:ext cx="1190870" cy="1190868"/>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43" name="Google Shape;2443;p29"/>
          <p:cNvSpPr/>
          <p:nvPr/>
        </p:nvSpPr>
        <p:spPr>
          <a:xfrm>
            <a:off x="7030637" y="2271862"/>
            <a:ext cx="1190870" cy="1190868"/>
          </a:xfrm>
          <a:prstGeom prst="ellipse">
            <a:avLst/>
          </a:prstGeom>
          <a:solidFill>
            <a:schemeClr val="accent4"/>
          </a:solidFill>
          <a:ln>
            <a:noFill/>
          </a:ln>
          <a:effectLst>
            <a:outerShdw blurRad="127000" algn="tl" rotWithShape="0">
              <a:srgbClr val="000000">
                <a:alpha val="20000"/>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44" name="Google Shape;2444;p29"/>
          <p:cNvSpPr/>
          <p:nvPr/>
        </p:nvSpPr>
        <p:spPr>
          <a:xfrm>
            <a:off x="627011" y="3794152"/>
            <a:ext cx="978280" cy="312906"/>
          </a:xfrm>
          <a:prstGeom prst="rect">
            <a:avLst/>
          </a:prstGeom>
          <a:noFill/>
          <a:ln>
            <a:noFill/>
          </a:ln>
        </p:spPr>
        <p:txBody>
          <a:bodyPr spcFirstLastPara="1" wrap="square" lIns="0" tIns="0" rIns="0" bIns="0" anchor="t" anchorCtr="0">
            <a:spAutoFit/>
          </a:bodyPr>
          <a:lstStyle/>
          <a:p>
            <a:pPr marL="0" marR="0" lvl="0" indent="0" algn="ctr" rtl="0">
              <a:lnSpc>
                <a:spcPct val="110000"/>
              </a:lnSpc>
              <a:spcBef>
                <a:spcPts val="0"/>
              </a:spcBef>
              <a:spcAft>
                <a:spcPts val="0"/>
              </a:spcAft>
              <a:buClr>
                <a:srgbClr val="000000"/>
              </a:buClr>
              <a:buSzPts val="2000"/>
              <a:buFont typeface="Arial"/>
              <a:buNone/>
            </a:pPr>
            <a:r>
              <a:rPr lang="en-US" sz="2000" b="0" i="0" u="none" strike="noStrike" cap="none">
                <a:solidFill>
                  <a:srgbClr val="00B0F0"/>
                </a:solidFill>
                <a:latin typeface="Franklin Gothic"/>
                <a:ea typeface="Franklin Gothic"/>
                <a:cs typeface="Franklin Gothic"/>
                <a:sym typeface="Franklin Gothic"/>
              </a:rPr>
              <a:t>Respond</a:t>
            </a:r>
            <a:endParaRPr sz="1400" b="0" i="0" u="none" strike="noStrike" cap="none">
              <a:solidFill>
                <a:srgbClr val="000000"/>
              </a:solidFill>
              <a:latin typeface="Arial"/>
              <a:ea typeface="Arial"/>
              <a:cs typeface="Arial"/>
              <a:sym typeface="Arial"/>
            </a:endParaRPr>
          </a:p>
        </p:txBody>
      </p:sp>
      <p:sp>
        <p:nvSpPr>
          <p:cNvPr id="2445" name="Google Shape;2445;p29"/>
          <p:cNvSpPr/>
          <p:nvPr/>
        </p:nvSpPr>
        <p:spPr>
          <a:xfrm>
            <a:off x="2279820" y="3794152"/>
            <a:ext cx="918520" cy="312906"/>
          </a:xfrm>
          <a:prstGeom prst="rect">
            <a:avLst/>
          </a:prstGeom>
          <a:noFill/>
          <a:ln>
            <a:noFill/>
          </a:ln>
        </p:spPr>
        <p:txBody>
          <a:bodyPr spcFirstLastPara="1" wrap="square" lIns="0" tIns="0" rIns="0" bIns="0" anchor="t" anchorCtr="0">
            <a:spAutoFit/>
          </a:bodyPr>
          <a:lstStyle/>
          <a:p>
            <a:pPr marL="0" marR="0" lvl="0" indent="0" algn="ctr" rtl="0">
              <a:lnSpc>
                <a:spcPct val="110000"/>
              </a:lnSpc>
              <a:spcBef>
                <a:spcPts val="0"/>
              </a:spcBef>
              <a:spcAft>
                <a:spcPts val="0"/>
              </a:spcAft>
              <a:buClr>
                <a:srgbClr val="000000"/>
              </a:buClr>
              <a:buSzPts val="2000"/>
              <a:buFont typeface="Arial"/>
              <a:buNone/>
            </a:pPr>
            <a:r>
              <a:rPr lang="en-US" sz="2000" b="0" i="0" u="none" strike="noStrike" cap="none">
                <a:solidFill>
                  <a:srgbClr val="00B0F0"/>
                </a:solidFill>
                <a:latin typeface="Franklin Gothic"/>
                <a:ea typeface="Franklin Gothic"/>
                <a:cs typeface="Franklin Gothic"/>
                <a:sym typeface="Franklin Gothic"/>
              </a:rPr>
              <a:t>Propose</a:t>
            </a:r>
            <a:endParaRPr sz="1400" b="0" i="0" u="none" strike="noStrike" cap="none">
              <a:solidFill>
                <a:srgbClr val="000000"/>
              </a:solidFill>
              <a:latin typeface="Arial"/>
              <a:ea typeface="Arial"/>
              <a:cs typeface="Arial"/>
              <a:sym typeface="Arial"/>
            </a:endParaRPr>
          </a:p>
        </p:txBody>
      </p:sp>
      <p:sp>
        <p:nvSpPr>
          <p:cNvPr id="2446" name="Google Shape;2446;p29"/>
          <p:cNvSpPr/>
          <p:nvPr/>
        </p:nvSpPr>
        <p:spPr>
          <a:xfrm>
            <a:off x="3731771" y="3794152"/>
            <a:ext cx="1269578" cy="312906"/>
          </a:xfrm>
          <a:prstGeom prst="rect">
            <a:avLst/>
          </a:prstGeom>
          <a:noFill/>
          <a:ln>
            <a:noFill/>
          </a:ln>
        </p:spPr>
        <p:txBody>
          <a:bodyPr spcFirstLastPara="1" wrap="square" lIns="0" tIns="0" rIns="0" bIns="0" anchor="t" anchorCtr="0">
            <a:spAutoFit/>
          </a:bodyPr>
          <a:lstStyle/>
          <a:p>
            <a:pPr marL="0" marR="0" lvl="0" indent="0" algn="ctr" rtl="0">
              <a:lnSpc>
                <a:spcPct val="110000"/>
              </a:lnSpc>
              <a:spcBef>
                <a:spcPts val="0"/>
              </a:spcBef>
              <a:spcAft>
                <a:spcPts val="0"/>
              </a:spcAft>
              <a:buClr>
                <a:srgbClr val="000000"/>
              </a:buClr>
              <a:buSzPts val="2000"/>
              <a:buFont typeface="Arial"/>
              <a:buNone/>
            </a:pPr>
            <a:r>
              <a:rPr lang="en-US" sz="2000" b="0" i="0" u="none" strike="noStrike" cap="none">
                <a:solidFill>
                  <a:srgbClr val="00B0F0"/>
                </a:solidFill>
                <a:latin typeface="Franklin Gothic"/>
                <a:ea typeface="Franklin Gothic"/>
                <a:cs typeface="Franklin Gothic"/>
                <a:sym typeface="Franklin Gothic"/>
              </a:rPr>
              <a:t>Commence</a:t>
            </a:r>
            <a:endParaRPr sz="1400" b="0" i="0" u="none" strike="noStrike" cap="none">
              <a:solidFill>
                <a:srgbClr val="000000"/>
              </a:solidFill>
              <a:latin typeface="Arial"/>
              <a:ea typeface="Arial"/>
              <a:cs typeface="Arial"/>
              <a:sym typeface="Arial"/>
            </a:endParaRPr>
          </a:p>
        </p:txBody>
      </p:sp>
      <p:sp>
        <p:nvSpPr>
          <p:cNvPr id="2447" name="Google Shape;2447;p29"/>
          <p:cNvSpPr/>
          <p:nvPr/>
        </p:nvSpPr>
        <p:spPr>
          <a:xfrm>
            <a:off x="5593160" y="3794152"/>
            <a:ext cx="801758" cy="312906"/>
          </a:xfrm>
          <a:prstGeom prst="rect">
            <a:avLst/>
          </a:prstGeom>
          <a:noFill/>
          <a:ln>
            <a:noFill/>
          </a:ln>
        </p:spPr>
        <p:txBody>
          <a:bodyPr spcFirstLastPara="1" wrap="square" lIns="0" tIns="0" rIns="0" bIns="0" anchor="t" anchorCtr="0">
            <a:spAutoFit/>
          </a:bodyPr>
          <a:lstStyle/>
          <a:p>
            <a:pPr marL="0" marR="0" lvl="0" indent="0" algn="ctr" rtl="0">
              <a:lnSpc>
                <a:spcPct val="110000"/>
              </a:lnSpc>
              <a:spcBef>
                <a:spcPts val="0"/>
              </a:spcBef>
              <a:spcAft>
                <a:spcPts val="0"/>
              </a:spcAft>
              <a:buClr>
                <a:srgbClr val="000000"/>
              </a:buClr>
              <a:buSzPts val="2000"/>
              <a:buFont typeface="Arial"/>
              <a:buNone/>
            </a:pPr>
            <a:r>
              <a:rPr lang="en-US" sz="2000" b="0" i="0" u="none" strike="noStrike" cap="none">
                <a:solidFill>
                  <a:srgbClr val="00B0F0"/>
                </a:solidFill>
                <a:latin typeface="Franklin Gothic"/>
                <a:ea typeface="Franklin Gothic"/>
                <a:cs typeface="Franklin Gothic"/>
                <a:sym typeface="Franklin Gothic"/>
              </a:rPr>
              <a:t>Review</a:t>
            </a:r>
            <a:endParaRPr sz="1400" b="0" i="0" u="none" strike="noStrike" cap="none">
              <a:solidFill>
                <a:srgbClr val="000000"/>
              </a:solidFill>
              <a:latin typeface="Arial"/>
              <a:ea typeface="Arial"/>
              <a:cs typeface="Arial"/>
              <a:sym typeface="Arial"/>
            </a:endParaRPr>
          </a:p>
        </p:txBody>
      </p:sp>
      <p:sp>
        <p:nvSpPr>
          <p:cNvPr id="2448" name="Google Shape;2448;p29"/>
          <p:cNvSpPr/>
          <p:nvPr/>
        </p:nvSpPr>
        <p:spPr>
          <a:xfrm>
            <a:off x="7081950" y="3794152"/>
            <a:ext cx="1079142" cy="312906"/>
          </a:xfrm>
          <a:prstGeom prst="rect">
            <a:avLst/>
          </a:prstGeom>
          <a:noFill/>
          <a:ln>
            <a:noFill/>
          </a:ln>
        </p:spPr>
        <p:txBody>
          <a:bodyPr spcFirstLastPara="1" wrap="square" lIns="0" tIns="0" rIns="0" bIns="0" anchor="t" anchorCtr="0">
            <a:spAutoFit/>
          </a:bodyPr>
          <a:lstStyle/>
          <a:p>
            <a:pPr marL="0" marR="0" lvl="0" indent="0" algn="ctr" rtl="0">
              <a:lnSpc>
                <a:spcPct val="110000"/>
              </a:lnSpc>
              <a:spcBef>
                <a:spcPts val="0"/>
              </a:spcBef>
              <a:spcAft>
                <a:spcPts val="0"/>
              </a:spcAft>
              <a:buClr>
                <a:srgbClr val="000000"/>
              </a:buClr>
              <a:buSzPts val="2000"/>
              <a:buFont typeface="Arial"/>
              <a:buNone/>
            </a:pPr>
            <a:r>
              <a:rPr lang="en-US" sz="2000" b="0" i="0" u="none" strike="noStrike" cap="none">
                <a:solidFill>
                  <a:srgbClr val="00B050"/>
                </a:solidFill>
                <a:latin typeface="Franklin Gothic"/>
                <a:ea typeface="Franklin Gothic"/>
                <a:cs typeface="Franklin Gothic"/>
                <a:sym typeface="Franklin Gothic"/>
              </a:rPr>
              <a:t>Complete</a:t>
            </a:r>
            <a:endParaRPr sz="1400" b="0" i="0" u="none" strike="noStrike" cap="none">
              <a:solidFill>
                <a:srgbClr val="000000"/>
              </a:solidFill>
              <a:latin typeface="Arial"/>
              <a:ea typeface="Arial"/>
              <a:cs typeface="Arial"/>
              <a:sym typeface="Arial"/>
            </a:endParaRPr>
          </a:p>
        </p:txBody>
      </p:sp>
      <p:sp>
        <p:nvSpPr>
          <p:cNvPr id="2449" name="Google Shape;2449;p29"/>
          <p:cNvSpPr/>
          <p:nvPr/>
        </p:nvSpPr>
        <p:spPr>
          <a:xfrm>
            <a:off x="481600" y="4209425"/>
            <a:ext cx="1260000" cy="92333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500"/>
              <a:buFont typeface="Arial"/>
              <a:buNone/>
            </a:pPr>
            <a:r>
              <a:rPr lang="en-US" sz="1500" b="0" i="0" u="none" strike="noStrike" cap="none">
                <a:solidFill>
                  <a:srgbClr val="5F5F5F"/>
                </a:solidFill>
                <a:latin typeface="Calibri"/>
                <a:ea typeface="Calibri"/>
                <a:cs typeface="Calibri"/>
                <a:sym typeface="Calibri"/>
              </a:rPr>
              <a:t>within 30 minutes to client’s email requests</a:t>
            </a:r>
            <a:endParaRPr sz="1400" b="0" i="0" u="none" strike="noStrike" cap="none">
              <a:solidFill>
                <a:srgbClr val="000000"/>
              </a:solidFill>
              <a:latin typeface="Arial"/>
              <a:ea typeface="Arial"/>
              <a:cs typeface="Arial"/>
              <a:sym typeface="Arial"/>
            </a:endParaRPr>
          </a:p>
        </p:txBody>
      </p:sp>
      <p:sp>
        <p:nvSpPr>
          <p:cNvPr id="2450" name="Google Shape;2450;p29"/>
          <p:cNvSpPr/>
          <p:nvPr/>
        </p:nvSpPr>
        <p:spPr>
          <a:xfrm>
            <a:off x="2050115" y="4209425"/>
            <a:ext cx="1346354" cy="1154162"/>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500"/>
              <a:buFont typeface="Arial"/>
              <a:buNone/>
            </a:pPr>
            <a:r>
              <a:rPr lang="en-US" sz="1500" b="0" i="0" u="none" strike="noStrike" cap="none">
                <a:solidFill>
                  <a:srgbClr val="5F5F5F"/>
                </a:solidFill>
                <a:latin typeface="Calibri"/>
                <a:ea typeface="Calibri"/>
                <a:cs typeface="Calibri"/>
                <a:sym typeface="Calibri"/>
              </a:rPr>
              <a:t>a time budget and delivery deadline based on the volume of translation</a:t>
            </a:r>
            <a:endParaRPr sz="1400" b="0" i="0" u="none" strike="noStrike" cap="none">
              <a:solidFill>
                <a:srgbClr val="000000"/>
              </a:solidFill>
              <a:latin typeface="Arial"/>
              <a:ea typeface="Arial"/>
              <a:cs typeface="Arial"/>
              <a:sym typeface="Arial"/>
            </a:endParaRPr>
          </a:p>
        </p:txBody>
      </p:sp>
      <p:sp>
        <p:nvSpPr>
          <p:cNvPr id="2451" name="Google Shape;2451;p29"/>
          <p:cNvSpPr/>
          <p:nvPr/>
        </p:nvSpPr>
        <p:spPr>
          <a:xfrm>
            <a:off x="3747488" y="4209425"/>
            <a:ext cx="1260000" cy="1154162"/>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500"/>
              <a:buFont typeface="Arial"/>
              <a:buNone/>
            </a:pPr>
            <a:r>
              <a:rPr lang="en-US" sz="1500" b="0" i="0" u="none" strike="noStrike" cap="none">
                <a:solidFill>
                  <a:srgbClr val="5F5F5F"/>
                </a:solidFill>
                <a:latin typeface="Calibri"/>
                <a:ea typeface="Calibri"/>
                <a:cs typeface="Calibri"/>
                <a:sym typeface="Calibri"/>
              </a:rPr>
              <a:t>the translation process and formatting, confirm deadline</a:t>
            </a:r>
            <a:endParaRPr sz="1400" b="0" i="0" u="none" strike="noStrike" cap="none">
              <a:solidFill>
                <a:srgbClr val="000000"/>
              </a:solidFill>
              <a:latin typeface="Arial"/>
              <a:ea typeface="Arial"/>
              <a:cs typeface="Arial"/>
              <a:sym typeface="Arial"/>
            </a:endParaRPr>
          </a:p>
        </p:txBody>
      </p:sp>
      <p:sp>
        <p:nvSpPr>
          <p:cNvPr id="2452" name="Google Shape;2452;p29"/>
          <p:cNvSpPr/>
          <p:nvPr/>
        </p:nvSpPr>
        <p:spPr>
          <a:xfrm>
            <a:off x="5289527" y="4209425"/>
            <a:ext cx="1441810" cy="1154162"/>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500"/>
              <a:buFont typeface="Arial"/>
              <a:buNone/>
            </a:pPr>
            <a:r>
              <a:rPr lang="en-US" sz="1500" b="0" i="0" u="none" strike="noStrike" cap="none">
                <a:solidFill>
                  <a:srgbClr val="5F5F5F"/>
                </a:solidFill>
                <a:latin typeface="Calibri"/>
                <a:ea typeface="Calibri"/>
                <a:cs typeface="Calibri"/>
                <a:sym typeface="Calibri"/>
              </a:rPr>
              <a:t>translation output under senior proofreaders/ managers supervision</a:t>
            </a:r>
            <a:endParaRPr sz="1400" b="0" i="0" u="none" strike="noStrike" cap="none">
              <a:solidFill>
                <a:srgbClr val="000000"/>
              </a:solidFill>
              <a:latin typeface="Arial"/>
              <a:ea typeface="Arial"/>
              <a:cs typeface="Arial"/>
              <a:sym typeface="Arial"/>
            </a:endParaRPr>
          </a:p>
        </p:txBody>
      </p:sp>
      <p:sp>
        <p:nvSpPr>
          <p:cNvPr id="2453" name="Google Shape;2453;p29"/>
          <p:cNvSpPr/>
          <p:nvPr/>
        </p:nvSpPr>
        <p:spPr>
          <a:xfrm>
            <a:off x="7013374" y="4209425"/>
            <a:ext cx="1260000" cy="692497"/>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500"/>
              <a:buFont typeface="Arial"/>
              <a:buNone/>
            </a:pPr>
            <a:r>
              <a:rPr lang="en-US" sz="1500" b="0" i="0" u="none" strike="noStrike" cap="none">
                <a:solidFill>
                  <a:srgbClr val="5F5F5F"/>
                </a:solidFill>
                <a:latin typeface="Calibri"/>
                <a:ea typeface="Calibri"/>
                <a:cs typeface="Calibri"/>
                <a:sym typeface="Calibri"/>
              </a:rPr>
              <a:t>and send</a:t>
            </a:r>
            <a:br>
              <a:rPr lang="en-US" sz="1500" b="0" i="0" u="none" strike="noStrike" cap="none">
                <a:solidFill>
                  <a:srgbClr val="5F5F5F"/>
                </a:solidFill>
                <a:latin typeface="Calibri"/>
                <a:ea typeface="Calibri"/>
                <a:cs typeface="Calibri"/>
                <a:sym typeface="Calibri"/>
              </a:rPr>
            </a:br>
            <a:r>
              <a:rPr lang="en-US" sz="1500" b="0" i="0" u="none" strike="noStrike" cap="none">
                <a:solidFill>
                  <a:srgbClr val="5F5F5F"/>
                </a:solidFill>
                <a:latin typeface="Calibri"/>
                <a:ea typeface="Calibri"/>
                <a:cs typeface="Calibri"/>
                <a:sym typeface="Calibri"/>
              </a:rPr>
              <a:t>the final deliverable</a:t>
            </a:r>
            <a:endParaRPr sz="1400" b="0" i="0" u="none" strike="noStrike" cap="none">
              <a:solidFill>
                <a:srgbClr val="000000"/>
              </a:solidFill>
              <a:latin typeface="Arial"/>
              <a:ea typeface="Arial"/>
              <a:cs typeface="Arial"/>
              <a:sym typeface="Arial"/>
            </a:endParaRPr>
          </a:p>
        </p:txBody>
      </p:sp>
      <p:pic>
        <p:nvPicPr>
          <p:cNvPr id="2454" name="Google Shape;2454;p29"/>
          <p:cNvPicPr preferRelativeResize="0"/>
          <p:nvPr/>
        </p:nvPicPr>
        <p:blipFill rotWithShape="1">
          <a:blip r:embed="rId4">
            <a:alphaModFix/>
          </a:blip>
          <a:srcRect/>
          <a:stretch/>
        </p:blipFill>
        <p:spPr>
          <a:xfrm>
            <a:off x="877529" y="2587580"/>
            <a:ext cx="501626" cy="558332"/>
          </a:xfrm>
          <a:prstGeom prst="rect">
            <a:avLst/>
          </a:prstGeom>
          <a:noFill/>
          <a:ln>
            <a:noFill/>
          </a:ln>
        </p:spPr>
      </p:pic>
      <p:pic>
        <p:nvPicPr>
          <p:cNvPr id="2455" name="Google Shape;2455;p29"/>
          <p:cNvPicPr preferRelativeResize="0"/>
          <p:nvPr/>
        </p:nvPicPr>
        <p:blipFill rotWithShape="1">
          <a:blip r:embed="rId5">
            <a:alphaModFix/>
          </a:blip>
          <a:srcRect/>
          <a:stretch/>
        </p:blipFill>
        <p:spPr>
          <a:xfrm>
            <a:off x="2493652" y="2587580"/>
            <a:ext cx="558332" cy="558332"/>
          </a:xfrm>
          <a:prstGeom prst="rect">
            <a:avLst/>
          </a:prstGeom>
          <a:noFill/>
          <a:ln>
            <a:noFill/>
          </a:ln>
        </p:spPr>
      </p:pic>
      <p:pic>
        <p:nvPicPr>
          <p:cNvPr id="2456" name="Google Shape;2456;p29"/>
          <p:cNvPicPr preferRelativeResize="0"/>
          <p:nvPr/>
        </p:nvPicPr>
        <p:blipFill rotWithShape="1">
          <a:blip r:embed="rId6">
            <a:alphaModFix/>
          </a:blip>
          <a:srcRect/>
          <a:stretch/>
        </p:blipFill>
        <p:spPr>
          <a:xfrm>
            <a:off x="4046593" y="2587580"/>
            <a:ext cx="558332" cy="558332"/>
          </a:xfrm>
          <a:prstGeom prst="rect">
            <a:avLst/>
          </a:prstGeom>
          <a:noFill/>
          <a:ln>
            <a:noFill/>
          </a:ln>
        </p:spPr>
      </p:pic>
      <p:pic>
        <p:nvPicPr>
          <p:cNvPr id="2457" name="Google Shape;2457;p29"/>
          <p:cNvPicPr preferRelativeResize="0"/>
          <p:nvPr/>
        </p:nvPicPr>
        <p:blipFill rotWithShape="1">
          <a:blip r:embed="rId7">
            <a:alphaModFix/>
          </a:blip>
          <a:srcRect/>
          <a:stretch/>
        </p:blipFill>
        <p:spPr>
          <a:xfrm>
            <a:off x="7435568" y="2587580"/>
            <a:ext cx="468912" cy="558332"/>
          </a:xfrm>
          <a:prstGeom prst="rect">
            <a:avLst/>
          </a:prstGeom>
          <a:noFill/>
          <a:ln>
            <a:noFill/>
          </a:ln>
        </p:spPr>
      </p:pic>
      <p:pic>
        <p:nvPicPr>
          <p:cNvPr id="2458" name="Google Shape;2458;p29"/>
          <p:cNvPicPr preferRelativeResize="0"/>
          <p:nvPr/>
        </p:nvPicPr>
        <p:blipFill rotWithShape="1">
          <a:blip r:embed="rId8">
            <a:alphaModFix/>
          </a:blip>
          <a:srcRect/>
          <a:stretch/>
        </p:blipFill>
        <p:spPr>
          <a:xfrm>
            <a:off x="5705130" y="2587580"/>
            <a:ext cx="558332" cy="558332"/>
          </a:xfrm>
          <a:prstGeom prst="rect">
            <a:avLst/>
          </a:prstGeom>
          <a:noFill/>
          <a:ln>
            <a:noFill/>
          </a:ln>
        </p:spPr>
      </p:pic>
      <p:sp>
        <p:nvSpPr>
          <p:cNvPr id="2459" name="Google Shape;2459;p29"/>
          <p:cNvSpPr/>
          <p:nvPr/>
        </p:nvSpPr>
        <p:spPr>
          <a:xfrm>
            <a:off x="966697" y="3329071"/>
            <a:ext cx="298908" cy="298908"/>
          </a:xfrm>
          <a:prstGeom prst="ellipse">
            <a:avLst/>
          </a:prstGeom>
          <a:solidFill>
            <a:schemeClr val="accent1"/>
          </a:solidFill>
          <a:ln>
            <a:noFill/>
          </a:ln>
        </p:spPr>
        <p:txBody>
          <a:bodyPr spcFirstLastPara="1" wrap="square" lIns="0" tIns="0" rIns="0" bIns="0" anchor="ctr" anchorCtr="0">
            <a:noAutofit/>
          </a:bodyPr>
          <a:lstStyle/>
          <a:p>
            <a:pPr marL="0" marR="0" lvl="0" indent="0" algn="ctr" rtl="0">
              <a:lnSpc>
                <a:spcPct val="110000"/>
              </a:lnSpc>
              <a:spcBef>
                <a:spcPts val="0"/>
              </a:spcBef>
              <a:spcAft>
                <a:spcPts val="0"/>
              </a:spcAft>
              <a:buClr>
                <a:srgbClr val="000000"/>
              </a:buClr>
              <a:buSzPts val="1600"/>
              <a:buFont typeface="Arial"/>
              <a:buNone/>
            </a:pPr>
            <a:r>
              <a:rPr lang="en-US" sz="1600" b="1" i="0" u="none" strike="noStrike" cap="none">
                <a:solidFill>
                  <a:schemeClr val="lt1"/>
                </a:solidFill>
                <a:latin typeface="Franklin Gothic"/>
                <a:ea typeface="Franklin Gothic"/>
                <a:cs typeface="Franklin Gothic"/>
                <a:sym typeface="Franklin Gothic"/>
              </a:rPr>
              <a:t>1</a:t>
            </a:r>
            <a:endParaRPr sz="1400" b="0" i="0" u="none" strike="noStrike" cap="none">
              <a:solidFill>
                <a:srgbClr val="000000"/>
              </a:solidFill>
              <a:latin typeface="Arial"/>
              <a:ea typeface="Arial"/>
              <a:cs typeface="Arial"/>
              <a:sym typeface="Arial"/>
            </a:endParaRPr>
          </a:p>
        </p:txBody>
      </p:sp>
      <p:sp>
        <p:nvSpPr>
          <p:cNvPr id="2460" name="Google Shape;2460;p29"/>
          <p:cNvSpPr/>
          <p:nvPr/>
        </p:nvSpPr>
        <p:spPr>
          <a:xfrm>
            <a:off x="2599641" y="3329071"/>
            <a:ext cx="298908" cy="298908"/>
          </a:xfrm>
          <a:prstGeom prst="ellipse">
            <a:avLst/>
          </a:prstGeom>
          <a:solidFill>
            <a:schemeClr val="accent1"/>
          </a:solidFill>
          <a:ln>
            <a:noFill/>
          </a:ln>
        </p:spPr>
        <p:txBody>
          <a:bodyPr spcFirstLastPara="1" wrap="square" lIns="0" tIns="0" rIns="0" bIns="0" anchor="ctr" anchorCtr="0">
            <a:noAutofit/>
          </a:bodyPr>
          <a:lstStyle/>
          <a:p>
            <a:pPr marL="0" marR="0" lvl="0" indent="0" algn="ctr" rtl="0">
              <a:lnSpc>
                <a:spcPct val="110000"/>
              </a:lnSpc>
              <a:spcBef>
                <a:spcPts val="0"/>
              </a:spcBef>
              <a:spcAft>
                <a:spcPts val="0"/>
              </a:spcAft>
              <a:buClr>
                <a:srgbClr val="000000"/>
              </a:buClr>
              <a:buSzPts val="1600"/>
              <a:buFont typeface="Arial"/>
              <a:buNone/>
            </a:pPr>
            <a:r>
              <a:rPr lang="en-US" sz="1600" b="1" i="0" u="none" strike="noStrike" cap="none">
                <a:solidFill>
                  <a:schemeClr val="lt1"/>
                </a:solidFill>
                <a:latin typeface="Franklin Gothic"/>
                <a:ea typeface="Franklin Gothic"/>
                <a:cs typeface="Franklin Gothic"/>
                <a:sym typeface="Franklin Gothic"/>
              </a:rPr>
              <a:t>2</a:t>
            </a:r>
            <a:endParaRPr sz="1400" b="0" i="0" u="none" strike="noStrike" cap="none">
              <a:solidFill>
                <a:srgbClr val="000000"/>
              </a:solidFill>
              <a:latin typeface="Arial"/>
              <a:ea typeface="Arial"/>
              <a:cs typeface="Arial"/>
              <a:sym typeface="Arial"/>
            </a:endParaRPr>
          </a:p>
        </p:txBody>
      </p:sp>
      <p:sp>
        <p:nvSpPr>
          <p:cNvPr id="2461" name="Google Shape;2461;p29"/>
          <p:cNvSpPr/>
          <p:nvPr/>
        </p:nvSpPr>
        <p:spPr>
          <a:xfrm>
            <a:off x="4221657" y="3329071"/>
            <a:ext cx="298908" cy="298908"/>
          </a:xfrm>
          <a:prstGeom prst="ellipse">
            <a:avLst/>
          </a:prstGeom>
          <a:solidFill>
            <a:schemeClr val="accent1"/>
          </a:solidFill>
          <a:ln>
            <a:noFill/>
          </a:ln>
        </p:spPr>
        <p:txBody>
          <a:bodyPr spcFirstLastPara="1" wrap="square" lIns="0" tIns="0" rIns="0" bIns="0" anchor="ctr" anchorCtr="0">
            <a:noAutofit/>
          </a:bodyPr>
          <a:lstStyle/>
          <a:p>
            <a:pPr marL="0" marR="0" lvl="0" indent="0" algn="ctr" rtl="0">
              <a:lnSpc>
                <a:spcPct val="110000"/>
              </a:lnSpc>
              <a:spcBef>
                <a:spcPts val="0"/>
              </a:spcBef>
              <a:spcAft>
                <a:spcPts val="0"/>
              </a:spcAft>
              <a:buClr>
                <a:srgbClr val="000000"/>
              </a:buClr>
              <a:buSzPts val="1600"/>
              <a:buFont typeface="Arial"/>
              <a:buNone/>
            </a:pPr>
            <a:r>
              <a:rPr lang="en-US" sz="1600" b="1" i="0" u="none" strike="noStrike" cap="none">
                <a:solidFill>
                  <a:schemeClr val="lt1"/>
                </a:solidFill>
                <a:latin typeface="Franklin Gothic"/>
                <a:ea typeface="Franklin Gothic"/>
                <a:cs typeface="Franklin Gothic"/>
                <a:sym typeface="Franklin Gothic"/>
              </a:rPr>
              <a:t>3</a:t>
            </a:r>
            <a:endParaRPr sz="1400" b="0" i="0" u="none" strike="noStrike" cap="none">
              <a:solidFill>
                <a:srgbClr val="000000"/>
              </a:solidFill>
              <a:latin typeface="Arial"/>
              <a:ea typeface="Arial"/>
              <a:cs typeface="Arial"/>
              <a:sym typeface="Arial"/>
            </a:endParaRPr>
          </a:p>
        </p:txBody>
      </p:sp>
      <p:sp>
        <p:nvSpPr>
          <p:cNvPr id="2462" name="Google Shape;2462;p29"/>
          <p:cNvSpPr/>
          <p:nvPr/>
        </p:nvSpPr>
        <p:spPr>
          <a:xfrm>
            <a:off x="5849137" y="3329071"/>
            <a:ext cx="298908" cy="298908"/>
          </a:xfrm>
          <a:prstGeom prst="ellipse">
            <a:avLst/>
          </a:prstGeom>
          <a:solidFill>
            <a:schemeClr val="accent1"/>
          </a:solidFill>
          <a:ln>
            <a:noFill/>
          </a:ln>
        </p:spPr>
        <p:txBody>
          <a:bodyPr spcFirstLastPara="1" wrap="square" lIns="0" tIns="0" rIns="0" bIns="0" anchor="ctr" anchorCtr="0">
            <a:noAutofit/>
          </a:bodyPr>
          <a:lstStyle/>
          <a:p>
            <a:pPr marL="0" marR="0" lvl="0" indent="0" algn="ctr" rtl="0">
              <a:lnSpc>
                <a:spcPct val="110000"/>
              </a:lnSpc>
              <a:spcBef>
                <a:spcPts val="0"/>
              </a:spcBef>
              <a:spcAft>
                <a:spcPts val="0"/>
              </a:spcAft>
              <a:buClr>
                <a:srgbClr val="000000"/>
              </a:buClr>
              <a:buSzPts val="1600"/>
              <a:buFont typeface="Arial"/>
              <a:buNone/>
            </a:pPr>
            <a:r>
              <a:rPr lang="en-US" sz="1600" b="1" i="0" u="none" strike="noStrike" cap="none">
                <a:solidFill>
                  <a:schemeClr val="lt1"/>
                </a:solidFill>
                <a:latin typeface="Franklin Gothic"/>
                <a:ea typeface="Franklin Gothic"/>
                <a:cs typeface="Franklin Gothic"/>
                <a:sym typeface="Franklin Gothic"/>
              </a:rPr>
              <a:t>4</a:t>
            </a:r>
            <a:endParaRPr sz="1400" b="0" i="0" u="none" strike="noStrike" cap="none">
              <a:solidFill>
                <a:srgbClr val="000000"/>
              </a:solidFill>
              <a:latin typeface="Arial"/>
              <a:ea typeface="Arial"/>
              <a:cs typeface="Arial"/>
              <a:sym typeface="Arial"/>
            </a:endParaRPr>
          </a:p>
        </p:txBody>
      </p:sp>
      <p:sp>
        <p:nvSpPr>
          <p:cNvPr id="2463" name="Google Shape;2463;p29"/>
          <p:cNvSpPr/>
          <p:nvPr/>
        </p:nvSpPr>
        <p:spPr>
          <a:xfrm>
            <a:off x="7476618" y="3329071"/>
            <a:ext cx="298908" cy="298908"/>
          </a:xfrm>
          <a:prstGeom prst="ellipse">
            <a:avLst/>
          </a:prstGeom>
          <a:solidFill>
            <a:srgbClr val="005827"/>
          </a:solidFill>
          <a:ln>
            <a:noFill/>
          </a:ln>
        </p:spPr>
        <p:txBody>
          <a:bodyPr spcFirstLastPara="1" wrap="square" lIns="0" tIns="0" rIns="0" bIns="0" anchor="ctr" anchorCtr="0">
            <a:noAutofit/>
          </a:bodyPr>
          <a:lstStyle/>
          <a:p>
            <a:pPr marL="0" marR="0" lvl="0" indent="0" algn="ctr" rtl="0">
              <a:lnSpc>
                <a:spcPct val="110000"/>
              </a:lnSpc>
              <a:spcBef>
                <a:spcPts val="0"/>
              </a:spcBef>
              <a:spcAft>
                <a:spcPts val="0"/>
              </a:spcAft>
              <a:buClr>
                <a:srgbClr val="000000"/>
              </a:buClr>
              <a:buSzPts val="1600"/>
              <a:buFont typeface="Arial"/>
              <a:buNone/>
            </a:pPr>
            <a:r>
              <a:rPr lang="en-US" sz="1600" b="1" i="0" u="none" strike="noStrike" cap="none">
                <a:solidFill>
                  <a:schemeClr val="lt1"/>
                </a:solidFill>
                <a:latin typeface="Franklin Gothic"/>
                <a:ea typeface="Franklin Gothic"/>
                <a:cs typeface="Franklin Gothic"/>
                <a:sym typeface="Franklin Gothic"/>
              </a:rPr>
              <a:t>5</a:t>
            </a:r>
            <a:endParaRPr sz="1400" b="0" i="0" u="none" strike="noStrike" cap="none">
              <a:solidFill>
                <a:srgbClr val="000000"/>
              </a:solidFill>
              <a:latin typeface="Arial"/>
              <a:ea typeface="Arial"/>
              <a:cs typeface="Arial"/>
              <a:sym typeface="Arial"/>
            </a:endParaRPr>
          </a:p>
        </p:txBody>
      </p:sp>
      <p:sp>
        <p:nvSpPr>
          <p:cNvPr id="2464" name="Google Shape;2464;p29"/>
          <p:cNvSpPr txBox="1"/>
          <p:nvPr/>
        </p:nvSpPr>
        <p:spPr>
          <a:xfrm>
            <a:off x="508494" y="6213583"/>
            <a:ext cx="7551059" cy="20774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A1A1A1"/>
              </a:buClr>
              <a:buSzPts val="1500"/>
              <a:buFont typeface="Lato"/>
              <a:buNone/>
            </a:pPr>
            <a:r>
              <a:rPr lang="en-US" sz="1500" b="0" i="0" u="none" strike="noStrike" cap="none">
                <a:solidFill>
                  <a:srgbClr val="A1A1A1"/>
                </a:solidFill>
                <a:latin typeface="Lato"/>
                <a:ea typeface="Lato"/>
                <a:cs typeface="Lato"/>
                <a:sym typeface="Lato"/>
              </a:rPr>
              <a:t>One email address for all your design needs: </a:t>
            </a:r>
            <a:r>
              <a:rPr lang="en-US" sz="1500" b="0" i="0" u="sng" strike="noStrike" cap="none">
                <a:solidFill>
                  <a:srgbClr val="A1A1A1"/>
                </a:solidFill>
                <a:latin typeface="Lato"/>
                <a:ea typeface="Lato"/>
                <a:cs typeface="Lato"/>
                <a:sym typeface="Lato"/>
                <a:hlinkClick r:id="rId9">
                  <a:extLst>
                    <a:ext uri="{A12FA001-AC4F-418D-AE19-62706E023703}">
                      <ahyp:hlinkClr xmlns:ahyp="http://schemas.microsoft.com/office/drawing/2018/hyperlinkcolor" val="tx"/>
                    </a:ext>
                  </a:extLst>
                </a:hlinkClick>
              </a:rPr>
              <a:t>translation@infomineo.com</a:t>
            </a:r>
            <a:r>
              <a:rPr lang="en-US" sz="1500" b="0" i="0" u="none" strike="noStrike" cap="none">
                <a:solidFill>
                  <a:srgbClr val="A1A1A1"/>
                </a:solidFill>
                <a:latin typeface="Lato"/>
                <a:ea typeface="Lato"/>
                <a:cs typeface="Lato"/>
                <a:sym typeface="Lato"/>
              </a:rPr>
              <a:t> </a:t>
            </a:r>
            <a:endParaRPr sz="2000" b="0" i="0" u="none" strike="noStrike" cap="none">
              <a:solidFill>
                <a:srgbClr val="A1A1A1"/>
              </a:solidFill>
              <a:latin typeface="Lato"/>
              <a:ea typeface="Lato"/>
              <a:cs typeface="Lato"/>
              <a:sym typeface="Lato"/>
            </a:endParaRPr>
          </a:p>
        </p:txBody>
      </p:sp>
      <p:sp>
        <p:nvSpPr>
          <p:cNvPr id="2465" name="Google Shape;2465;p29"/>
          <p:cNvSpPr/>
          <p:nvPr/>
        </p:nvSpPr>
        <p:spPr>
          <a:xfrm>
            <a:off x="8949267" y="1824713"/>
            <a:ext cx="2960696" cy="3208530"/>
          </a:xfrm>
          <a:prstGeom prst="rect">
            <a:avLst/>
          </a:prstGeom>
          <a:noFill/>
          <a:ln>
            <a:noFill/>
          </a:ln>
        </p:spPr>
        <p:txBody>
          <a:bodyPr spcFirstLastPara="1" wrap="square" lIns="0" tIns="45700" rIns="0" bIns="45700" anchor="t" anchorCtr="0">
            <a:spAutoFit/>
          </a:bodyPr>
          <a:lstStyle/>
          <a:p>
            <a:pPr marL="0" marR="0" lvl="0" indent="0" algn="ctr" rtl="0">
              <a:lnSpc>
                <a:spcPct val="90000"/>
              </a:lnSpc>
              <a:spcBef>
                <a:spcPts val="0"/>
              </a:spcBef>
              <a:spcAft>
                <a:spcPts val="0"/>
              </a:spcAft>
              <a:buClr>
                <a:srgbClr val="000000"/>
              </a:buClr>
              <a:buSzPts val="3000"/>
              <a:buFont typeface="Arial"/>
              <a:buNone/>
            </a:pPr>
            <a:r>
              <a:rPr lang="en-US" sz="3000" b="1" i="0" u="none" strike="noStrike" cap="none">
                <a:solidFill>
                  <a:schemeClr val="lt1"/>
                </a:solidFill>
                <a:latin typeface="Lato"/>
                <a:ea typeface="Lato"/>
                <a:cs typeface="Lato"/>
                <a:sym typeface="Lato"/>
              </a:rPr>
              <a:t>The translation team is located</a:t>
            </a:r>
            <a:br>
              <a:rPr lang="en-US" sz="3000" b="1" i="0" u="none" strike="noStrike" cap="none">
                <a:solidFill>
                  <a:schemeClr val="lt1"/>
                </a:solidFill>
                <a:latin typeface="Lato"/>
                <a:ea typeface="Lato"/>
                <a:cs typeface="Lato"/>
                <a:sym typeface="Lato"/>
              </a:rPr>
            </a:br>
            <a:r>
              <a:rPr lang="en-US" sz="3000" b="1" i="0" u="none" strike="noStrike" cap="none">
                <a:solidFill>
                  <a:schemeClr val="lt1"/>
                </a:solidFill>
                <a:latin typeface="Lato"/>
                <a:ea typeface="Lato"/>
                <a:cs typeface="Lato"/>
                <a:sym typeface="Lato"/>
              </a:rPr>
              <a:t>in Egypt and is available from </a:t>
            </a:r>
            <a:r>
              <a:rPr lang="en-US" sz="3500" b="0" i="0" u="none" strike="noStrike" cap="none">
                <a:solidFill>
                  <a:srgbClr val="43E1D3"/>
                </a:solidFill>
                <a:latin typeface="Lato Black"/>
                <a:ea typeface="Lato Black"/>
                <a:cs typeface="Lato Black"/>
                <a:sym typeface="Lato Black"/>
              </a:rPr>
              <a:t>Sunday to Friday</a:t>
            </a:r>
            <a:br>
              <a:rPr lang="en-US" sz="3500" b="0" i="0" u="none" strike="noStrike" cap="none">
                <a:solidFill>
                  <a:srgbClr val="43E1D3"/>
                </a:solidFill>
                <a:latin typeface="Lato Black"/>
                <a:ea typeface="Lato Black"/>
                <a:cs typeface="Lato Black"/>
                <a:sym typeface="Lato Black"/>
              </a:rPr>
            </a:br>
            <a:r>
              <a:rPr lang="en-US" sz="3500" b="0" i="0" u="none" strike="noStrike" cap="none">
                <a:solidFill>
                  <a:srgbClr val="43E1D3"/>
                </a:solidFill>
                <a:latin typeface="Lato Black"/>
                <a:ea typeface="Lato Black"/>
                <a:cs typeface="Lato Black"/>
                <a:sym typeface="Lato Black"/>
              </a:rPr>
              <a:t>11 hrs a day</a:t>
            </a:r>
            <a:endParaRPr sz="1400" b="0" i="0" u="none" strike="noStrike" cap="none">
              <a:solidFill>
                <a:srgbClr val="000000"/>
              </a:solidFill>
              <a:latin typeface="Arial"/>
              <a:ea typeface="Arial"/>
              <a:cs typeface="Arial"/>
              <a:sym typeface="Arial"/>
            </a:endParaRPr>
          </a:p>
        </p:txBody>
      </p:sp>
      <p:grpSp>
        <p:nvGrpSpPr>
          <p:cNvPr id="2466" name="Google Shape;2466;p29"/>
          <p:cNvGrpSpPr/>
          <p:nvPr/>
        </p:nvGrpSpPr>
        <p:grpSpPr>
          <a:xfrm>
            <a:off x="10881886" y="135255"/>
            <a:ext cx="1141311" cy="468742"/>
            <a:chOff x="10881886" y="135255"/>
            <a:chExt cx="1141311" cy="468742"/>
          </a:xfrm>
        </p:grpSpPr>
        <p:grpSp>
          <p:nvGrpSpPr>
            <p:cNvPr id="2467" name="Google Shape;2467;p29"/>
            <p:cNvGrpSpPr/>
            <p:nvPr/>
          </p:nvGrpSpPr>
          <p:grpSpPr>
            <a:xfrm>
              <a:off x="10881886" y="135255"/>
              <a:ext cx="1141311" cy="468742"/>
              <a:chOff x="10881886" y="135255"/>
              <a:chExt cx="1141311" cy="468742"/>
            </a:xfrm>
          </p:grpSpPr>
          <p:sp>
            <p:nvSpPr>
              <p:cNvPr id="2468" name="Google Shape;2468;p29"/>
              <p:cNvSpPr txBox="1"/>
              <p:nvPr/>
            </p:nvSpPr>
            <p:spPr>
              <a:xfrm>
                <a:off x="10881886" y="230150"/>
                <a:ext cx="628378" cy="2769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lt1"/>
                    </a:solidFill>
                    <a:latin typeface="Franklin Gothic"/>
                    <a:ea typeface="Franklin Gothic"/>
                    <a:cs typeface="Franklin Gothic"/>
                    <a:sym typeface="Franklin Gothic"/>
                  </a:rPr>
                  <a:t>Business </a:t>
                </a:r>
                <a:endParaRPr sz="1400" b="0" i="0" u="none" strike="noStrike" cap="none">
                  <a:solidFill>
                    <a:srgbClr val="000000"/>
                  </a:solidFill>
                  <a:latin typeface="Arial"/>
                  <a:ea typeface="Arial"/>
                  <a:cs typeface="Arial"/>
                  <a:sym typeface="Arial"/>
                </a:endParaRPr>
              </a:p>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lt1"/>
                    </a:solidFill>
                    <a:latin typeface="Franklin Gothic"/>
                    <a:ea typeface="Franklin Gothic"/>
                    <a:cs typeface="Franklin Gothic"/>
                    <a:sym typeface="Franklin Gothic"/>
                  </a:rPr>
                  <a:t>Translation</a:t>
                </a:r>
                <a:endParaRPr sz="1400" b="0" i="0" u="none" strike="noStrike" cap="none">
                  <a:solidFill>
                    <a:srgbClr val="000000"/>
                  </a:solidFill>
                  <a:latin typeface="Arial"/>
                  <a:ea typeface="Arial"/>
                  <a:cs typeface="Arial"/>
                  <a:sym typeface="Arial"/>
                </a:endParaRPr>
              </a:p>
            </p:txBody>
          </p:sp>
          <p:sp>
            <p:nvSpPr>
              <p:cNvPr id="2469" name="Google Shape;2469;p29"/>
              <p:cNvSpPr/>
              <p:nvPr/>
            </p:nvSpPr>
            <p:spPr>
              <a:xfrm>
                <a:off x="11554453" y="135255"/>
                <a:ext cx="468744" cy="468742"/>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grpSp>
          <p:nvGrpSpPr>
            <p:cNvPr id="2470" name="Google Shape;2470;p29"/>
            <p:cNvGrpSpPr/>
            <p:nvPr/>
          </p:nvGrpSpPr>
          <p:grpSpPr>
            <a:xfrm>
              <a:off x="11701145" y="220980"/>
              <a:ext cx="175360" cy="295338"/>
              <a:chOff x="6689308" y="2024976"/>
              <a:chExt cx="325986" cy="549024"/>
            </a:xfrm>
          </p:grpSpPr>
          <p:sp>
            <p:nvSpPr>
              <p:cNvPr id="2471" name="Google Shape;2471;p29"/>
              <p:cNvSpPr/>
              <p:nvPr/>
            </p:nvSpPr>
            <p:spPr>
              <a:xfrm>
                <a:off x="6689308" y="2024976"/>
                <a:ext cx="325986" cy="549024"/>
              </a:xfrm>
              <a:custGeom>
                <a:avLst/>
                <a:gdLst/>
                <a:ahLst/>
                <a:cxnLst/>
                <a:rect l="l" t="t" r="r" b="b"/>
                <a:pathLst>
                  <a:path w="325986" h="549024" extrusionOk="0">
                    <a:moveTo>
                      <a:pt x="304900" y="0"/>
                    </a:moveTo>
                    <a:lnTo>
                      <a:pt x="24663" y="0"/>
                    </a:lnTo>
                    <a:cubicBezTo>
                      <a:pt x="11049" y="17"/>
                      <a:pt x="17" y="11049"/>
                      <a:pt x="0" y="24663"/>
                    </a:cubicBezTo>
                    <a:lnTo>
                      <a:pt x="0" y="524361"/>
                    </a:lnTo>
                    <a:cubicBezTo>
                      <a:pt x="17" y="537975"/>
                      <a:pt x="11049" y="549007"/>
                      <a:pt x="24663" y="549024"/>
                    </a:cubicBezTo>
                    <a:lnTo>
                      <a:pt x="304900" y="549024"/>
                    </a:lnTo>
                    <a:cubicBezTo>
                      <a:pt x="318516" y="549011"/>
                      <a:pt x="329551" y="537975"/>
                      <a:pt x="329563" y="524361"/>
                    </a:cubicBezTo>
                    <a:lnTo>
                      <a:pt x="329563" y="24663"/>
                    </a:lnTo>
                    <a:cubicBezTo>
                      <a:pt x="329551" y="11048"/>
                      <a:pt x="318516" y="14"/>
                      <a:pt x="304900" y="0"/>
                    </a:cubicBezTo>
                    <a:close/>
                    <a:moveTo>
                      <a:pt x="240852" y="15012"/>
                    </a:moveTo>
                    <a:lnTo>
                      <a:pt x="223313" y="32538"/>
                    </a:lnTo>
                    <a:cubicBezTo>
                      <a:pt x="216691" y="39189"/>
                      <a:pt x="207684" y="42917"/>
                      <a:pt x="198298" y="42893"/>
                    </a:cubicBezTo>
                    <a:lnTo>
                      <a:pt x="131265" y="42893"/>
                    </a:lnTo>
                    <a:cubicBezTo>
                      <a:pt x="121879" y="42917"/>
                      <a:pt x="112873" y="39189"/>
                      <a:pt x="106250" y="32538"/>
                    </a:cubicBezTo>
                    <a:lnTo>
                      <a:pt x="88711" y="15012"/>
                    </a:lnTo>
                    <a:close/>
                    <a:moveTo>
                      <a:pt x="314551" y="524361"/>
                    </a:moveTo>
                    <a:cubicBezTo>
                      <a:pt x="314544" y="529688"/>
                      <a:pt x="310227" y="534003"/>
                      <a:pt x="304900" y="534012"/>
                    </a:cubicBezTo>
                    <a:lnTo>
                      <a:pt x="24663" y="534012"/>
                    </a:lnTo>
                    <a:cubicBezTo>
                      <a:pt x="19336" y="534003"/>
                      <a:pt x="15020" y="529688"/>
                      <a:pt x="15013" y="524361"/>
                    </a:cubicBezTo>
                    <a:lnTo>
                      <a:pt x="15013" y="24663"/>
                    </a:lnTo>
                    <a:cubicBezTo>
                      <a:pt x="15020" y="19336"/>
                      <a:pt x="19336" y="15019"/>
                      <a:pt x="24663" y="15012"/>
                    </a:cubicBezTo>
                    <a:lnTo>
                      <a:pt x="67471" y="15012"/>
                    </a:lnTo>
                    <a:lnTo>
                      <a:pt x="95638" y="43163"/>
                    </a:lnTo>
                    <a:cubicBezTo>
                      <a:pt x="105072" y="52633"/>
                      <a:pt x="117898" y="57940"/>
                      <a:pt x="131265" y="57905"/>
                    </a:cubicBezTo>
                    <a:lnTo>
                      <a:pt x="198298" y="57905"/>
                    </a:lnTo>
                    <a:cubicBezTo>
                      <a:pt x="211665" y="57940"/>
                      <a:pt x="224492" y="52633"/>
                      <a:pt x="233925" y="43163"/>
                    </a:cubicBezTo>
                    <a:lnTo>
                      <a:pt x="262093" y="15012"/>
                    </a:lnTo>
                    <a:lnTo>
                      <a:pt x="304900" y="15012"/>
                    </a:lnTo>
                    <a:cubicBezTo>
                      <a:pt x="310227" y="15019"/>
                      <a:pt x="314544" y="19336"/>
                      <a:pt x="314551" y="2466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72" name="Google Shape;2472;p29"/>
              <p:cNvSpPr/>
              <p:nvPr/>
            </p:nvSpPr>
            <p:spPr>
              <a:xfrm>
                <a:off x="6732201" y="2110795"/>
                <a:ext cx="85786" cy="98653"/>
              </a:xfrm>
              <a:custGeom>
                <a:avLst/>
                <a:gdLst/>
                <a:ahLst/>
                <a:cxnLst/>
                <a:rect l="l" t="t" r="r" b="b"/>
                <a:pathLst>
                  <a:path w="85785" h="98652" extrusionOk="0">
                    <a:moveTo>
                      <a:pt x="5040" y="98734"/>
                    </a:moveTo>
                    <a:cubicBezTo>
                      <a:pt x="8946" y="100102"/>
                      <a:pt x="13221" y="98044"/>
                      <a:pt x="14588" y="94138"/>
                    </a:cubicBezTo>
                    <a:cubicBezTo>
                      <a:pt x="14591" y="94130"/>
                      <a:pt x="14594" y="94122"/>
                      <a:pt x="14597" y="94115"/>
                    </a:cubicBezTo>
                    <a:lnTo>
                      <a:pt x="27499" y="57081"/>
                    </a:lnTo>
                    <a:lnTo>
                      <a:pt x="62242" y="57081"/>
                    </a:lnTo>
                    <a:lnTo>
                      <a:pt x="75136" y="94115"/>
                    </a:lnTo>
                    <a:cubicBezTo>
                      <a:pt x="76715" y="97948"/>
                      <a:pt x="81102" y="99776"/>
                      <a:pt x="84935" y="98197"/>
                    </a:cubicBezTo>
                    <a:cubicBezTo>
                      <a:pt x="88471" y="96740"/>
                      <a:pt x="90347" y="92858"/>
                      <a:pt x="89290" y="89182"/>
                    </a:cubicBezTo>
                    <a:lnTo>
                      <a:pt x="59994" y="5040"/>
                    </a:lnTo>
                    <a:cubicBezTo>
                      <a:pt x="58944" y="2022"/>
                      <a:pt x="56099" y="0"/>
                      <a:pt x="52904" y="0"/>
                    </a:cubicBezTo>
                    <a:lnTo>
                      <a:pt x="36819" y="0"/>
                    </a:lnTo>
                    <a:cubicBezTo>
                      <a:pt x="33624" y="0"/>
                      <a:pt x="30779" y="2022"/>
                      <a:pt x="29729" y="5040"/>
                    </a:cubicBezTo>
                    <a:lnTo>
                      <a:pt x="420" y="89182"/>
                    </a:lnTo>
                    <a:cubicBezTo>
                      <a:pt x="-944" y="93092"/>
                      <a:pt x="1120" y="97367"/>
                      <a:pt x="5030" y="98731"/>
                    </a:cubicBezTo>
                    <a:cubicBezTo>
                      <a:pt x="5034" y="98732"/>
                      <a:pt x="5037" y="98733"/>
                      <a:pt x="5040" y="98734"/>
                    </a:cubicBezTo>
                    <a:close/>
                    <a:moveTo>
                      <a:pt x="42151" y="15012"/>
                    </a:moveTo>
                    <a:lnTo>
                      <a:pt x="47568" y="15012"/>
                    </a:lnTo>
                    <a:lnTo>
                      <a:pt x="57005" y="42069"/>
                    </a:lnTo>
                    <a:lnTo>
                      <a:pt x="32727" y="42069"/>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73" name="Google Shape;2473;p29"/>
              <p:cNvSpPr/>
              <p:nvPr/>
            </p:nvSpPr>
            <p:spPr>
              <a:xfrm>
                <a:off x="6886259" y="2110795"/>
                <a:ext cx="85786" cy="98653"/>
              </a:xfrm>
              <a:custGeom>
                <a:avLst/>
                <a:gdLst/>
                <a:ahLst/>
                <a:cxnLst/>
                <a:rect l="l" t="t" r="r" b="b"/>
                <a:pathLst>
                  <a:path w="85785" h="98652" extrusionOk="0">
                    <a:moveTo>
                      <a:pt x="82213" y="24629"/>
                    </a:moveTo>
                    <a:lnTo>
                      <a:pt x="52368" y="24629"/>
                    </a:lnTo>
                    <a:lnTo>
                      <a:pt x="52368" y="7506"/>
                    </a:lnTo>
                    <a:cubicBezTo>
                      <a:pt x="52368" y="3361"/>
                      <a:pt x="49007" y="0"/>
                      <a:pt x="44862" y="0"/>
                    </a:cubicBezTo>
                    <a:cubicBezTo>
                      <a:pt x="40716" y="0"/>
                      <a:pt x="37355" y="3361"/>
                      <a:pt x="37355" y="7506"/>
                    </a:cubicBezTo>
                    <a:lnTo>
                      <a:pt x="37355" y="24629"/>
                    </a:lnTo>
                    <a:lnTo>
                      <a:pt x="7506" y="24629"/>
                    </a:lnTo>
                    <a:cubicBezTo>
                      <a:pt x="3361" y="24629"/>
                      <a:pt x="0" y="27990"/>
                      <a:pt x="0" y="32135"/>
                    </a:cubicBezTo>
                    <a:cubicBezTo>
                      <a:pt x="0" y="36281"/>
                      <a:pt x="3361" y="39641"/>
                      <a:pt x="7506" y="39641"/>
                    </a:cubicBezTo>
                    <a:lnTo>
                      <a:pt x="17873" y="39641"/>
                    </a:lnTo>
                    <a:lnTo>
                      <a:pt x="17873" y="41027"/>
                    </a:lnTo>
                    <a:cubicBezTo>
                      <a:pt x="17867" y="52418"/>
                      <a:pt x="22457" y="63330"/>
                      <a:pt x="30604" y="71292"/>
                    </a:cubicBezTo>
                    <a:lnTo>
                      <a:pt x="4066" y="84974"/>
                    </a:lnTo>
                    <a:cubicBezTo>
                      <a:pt x="456" y="87016"/>
                      <a:pt x="-816" y="91599"/>
                      <a:pt x="1226" y="95209"/>
                    </a:cubicBezTo>
                    <a:cubicBezTo>
                      <a:pt x="3154" y="98618"/>
                      <a:pt x="7378" y="99973"/>
                      <a:pt x="10929" y="98322"/>
                    </a:cubicBezTo>
                    <a:lnTo>
                      <a:pt x="44845" y="80831"/>
                    </a:lnTo>
                    <a:lnTo>
                      <a:pt x="78756" y="98322"/>
                    </a:lnTo>
                    <a:cubicBezTo>
                      <a:pt x="82366" y="100365"/>
                      <a:pt x="86948" y="99093"/>
                      <a:pt x="88990" y="95483"/>
                    </a:cubicBezTo>
                    <a:cubicBezTo>
                      <a:pt x="91032" y="91872"/>
                      <a:pt x="89761" y="87290"/>
                      <a:pt x="86151" y="85248"/>
                    </a:cubicBezTo>
                    <a:cubicBezTo>
                      <a:pt x="85977" y="85150"/>
                      <a:pt x="85800" y="85058"/>
                      <a:pt x="85619" y="84974"/>
                    </a:cubicBezTo>
                    <a:lnTo>
                      <a:pt x="59085" y="71292"/>
                    </a:lnTo>
                    <a:cubicBezTo>
                      <a:pt x="67232" y="63329"/>
                      <a:pt x="71821" y="52415"/>
                      <a:pt x="71811" y="41022"/>
                    </a:cubicBezTo>
                    <a:lnTo>
                      <a:pt x="71811" y="39641"/>
                    </a:lnTo>
                    <a:lnTo>
                      <a:pt x="82179" y="39641"/>
                    </a:lnTo>
                    <a:cubicBezTo>
                      <a:pt x="86324" y="39641"/>
                      <a:pt x="89685" y="36281"/>
                      <a:pt x="89685" y="32135"/>
                    </a:cubicBezTo>
                    <a:cubicBezTo>
                      <a:pt x="89685" y="27990"/>
                      <a:pt x="86324" y="24629"/>
                      <a:pt x="82179" y="24629"/>
                    </a:cubicBezTo>
                    <a:close/>
                    <a:moveTo>
                      <a:pt x="56833" y="41022"/>
                    </a:moveTo>
                    <a:cubicBezTo>
                      <a:pt x="56848" y="50092"/>
                      <a:pt x="52363" y="58580"/>
                      <a:pt x="44862" y="63678"/>
                    </a:cubicBezTo>
                    <a:cubicBezTo>
                      <a:pt x="37360" y="58580"/>
                      <a:pt x="32874" y="50093"/>
                      <a:pt x="32886" y="41022"/>
                    </a:cubicBezTo>
                    <a:lnTo>
                      <a:pt x="32886" y="39641"/>
                    </a:lnTo>
                    <a:lnTo>
                      <a:pt x="56833" y="39641"/>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74" name="Google Shape;2474;p29"/>
              <p:cNvSpPr/>
              <p:nvPr/>
            </p:nvSpPr>
            <p:spPr>
              <a:xfrm>
                <a:off x="6832510" y="2152864"/>
                <a:ext cx="42893" cy="12868"/>
              </a:xfrm>
              <a:custGeom>
                <a:avLst/>
                <a:gdLst/>
                <a:ahLst/>
                <a:cxnLst/>
                <a:rect l="l" t="t" r="r" b="b"/>
                <a:pathLst>
                  <a:path w="42892" h="12867" extrusionOk="0">
                    <a:moveTo>
                      <a:pt x="7506" y="15012"/>
                    </a:moveTo>
                    <a:lnTo>
                      <a:pt x="35653" y="15012"/>
                    </a:lnTo>
                    <a:cubicBezTo>
                      <a:pt x="39798" y="15012"/>
                      <a:pt x="43159" y="11652"/>
                      <a:pt x="43159" y="7506"/>
                    </a:cubicBezTo>
                    <a:cubicBezTo>
                      <a:pt x="43159" y="3361"/>
                      <a:pt x="39798" y="0"/>
                      <a:pt x="35653"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75" name="Google Shape;2475;p29"/>
              <p:cNvSpPr/>
              <p:nvPr/>
            </p:nvSpPr>
            <p:spPr>
              <a:xfrm>
                <a:off x="6732201" y="223786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76" name="Google Shape;2476;p29"/>
              <p:cNvSpPr/>
              <p:nvPr/>
            </p:nvSpPr>
            <p:spPr>
              <a:xfrm>
                <a:off x="6756508" y="2288113"/>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77" name="Google Shape;2477;p29"/>
              <p:cNvSpPr/>
              <p:nvPr/>
            </p:nvSpPr>
            <p:spPr>
              <a:xfrm>
                <a:off x="6732201" y="2338361"/>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78" name="Google Shape;2478;p29"/>
              <p:cNvSpPr/>
              <p:nvPr/>
            </p:nvSpPr>
            <p:spPr>
              <a:xfrm>
                <a:off x="6756508" y="2388606"/>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79" name="Google Shape;2479;p29"/>
              <p:cNvSpPr/>
              <p:nvPr/>
            </p:nvSpPr>
            <p:spPr>
              <a:xfrm>
                <a:off x="6732201" y="243885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80" name="Google Shape;2480;p29"/>
              <p:cNvSpPr/>
              <p:nvPr/>
            </p:nvSpPr>
            <p:spPr>
              <a:xfrm>
                <a:off x="6756508" y="2491764"/>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2484"/>
        <p:cNvGrpSpPr/>
        <p:nvPr/>
      </p:nvGrpSpPr>
      <p:grpSpPr>
        <a:xfrm>
          <a:off x="0" y="0"/>
          <a:ext cx="0" cy="0"/>
          <a:chOff x="0" y="0"/>
          <a:chExt cx="0" cy="0"/>
        </a:xfrm>
      </p:grpSpPr>
      <p:pic>
        <p:nvPicPr>
          <p:cNvPr id="2485" name="Google Shape;2485;p31"/>
          <p:cNvPicPr preferRelativeResize="0"/>
          <p:nvPr/>
        </p:nvPicPr>
        <p:blipFill rotWithShape="1">
          <a:blip r:embed="rId3">
            <a:alphaModFix/>
          </a:blip>
          <a:srcRect l="20073" r="34001"/>
          <a:stretch/>
        </p:blipFill>
        <p:spPr>
          <a:xfrm>
            <a:off x="7467600" y="0"/>
            <a:ext cx="4724400" cy="6858000"/>
          </a:xfrm>
          <a:prstGeom prst="rect">
            <a:avLst/>
          </a:prstGeom>
          <a:noFill/>
          <a:ln>
            <a:noFill/>
          </a:ln>
        </p:spPr>
      </p:pic>
      <p:sp>
        <p:nvSpPr>
          <p:cNvPr id="2486" name="Google Shape;2486;p31"/>
          <p:cNvSpPr txBox="1">
            <a:spLocks noGrp="1"/>
          </p:cNvSpPr>
          <p:nvPr>
            <p:ph type="title"/>
          </p:nvPr>
        </p:nvSpPr>
        <p:spPr>
          <a:xfrm>
            <a:off x="539400"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Our work - Consulting Proposals</a:t>
            </a:r>
            <a:endParaRPr/>
          </a:p>
        </p:txBody>
      </p:sp>
      <p:sp>
        <p:nvSpPr>
          <p:cNvPr id="2487" name="Google Shape;2487;p31"/>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lvl="0" indent="0" algn="r" rtl="0">
              <a:lnSpc>
                <a:spcPct val="90000"/>
              </a:lnSpc>
              <a:spcBef>
                <a:spcPts val="0"/>
              </a:spcBef>
              <a:spcAft>
                <a:spcPts val="0"/>
              </a:spcAft>
              <a:buSzPts val="900"/>
              <a:buNone/>
            </a:pPr>
            <a:fld id="{00000000-1234-1234-1234-123412341234}" type="slidenum">
              <a:rPr lang="en-US" sz="900" b="0" i="0" u="none" strike="noStrike" cap="none">
                <a:solidFill>
                  <a:srgbClr val="5F5F5F"/>
                </a:solidFill>
                <a:latin typeface="Lato"/>
                <a:ea typeface="Lato"/>
                <a:cs typeface="Lato"/>
                <a:sym typeface="Lato"/>
              </a:rPr>
              <a:t>35</a:t>
            </a:fld>
            <a:endParaRPr sz="900" b="0" i="0" u="none" strike="noStrike" cap="none">
              <a:solidFill>
                <a:srgbClr val="5F5F5F"/>
              </a:solidFill>
              <a:latin typeface="Lato"/>
              <a:ea typeface="Lato"/>
              <a:cs typeface="Lato"/>
              <a:sym typeface="Lato"/>
            </a:endParaRPr>
          </a:p>
        </p:txBody>
      </p:sp>
      <p:graphicFrame>
        <p:nvGraphicFramePr>
          <p:cNvPr id="2488" name="Google Shape;2488;p31"/>
          <p:cNvGraphicFramePr/>
          <p:nvPr/>
        </p:nvGraphicFramePr>
        <p:xfrm>
          <a:off x="539400" y="1949236"/>
          <a:ext cx="6471000" cy="3963312"/>
        </p:xfrm>
        <a:graphic>
          <a:graphicData uri="http://schemas.openxmlformats.org/drawingml/2006/table">
            <a:tbl>
              <a:tblPr>
                <a:noFill/>
                <a:tableStyleId>{410035E7-BAF8-4B9D-805A-DB07596FDFCD}</a:tableStyleId>
              </a:tblPr>
              <a:tblGrid>
                <a:gridCol w="1438875">
                  <a:extLst>
                    <a:ext uri="{9D8B030D-6E8A-4147-A177-3AD203B41FA5}">
                      <a16:colId xmlns:a16="http://schemas.microsoft.com/office/drawing/2014/main" val="20000"/>
                    </a:ext>
                  </a:extLst>
                </a:gridCol>
                <a:gridCol w="5032125">
                  <a:extLst>
                    <a:ext uri="{9D8B030D-6E8A-4147-A177-3AD203B41FA5}">
                      <a16:colId xmlns:a16="http://schemas.microsoft.com/office/drawing/2014/main" val="20001"/>
                    </a:ext>
                  </a:extLst>
                </a:gridCol>
              </a:tblGrid>
              <a:tr h="177800">
                <a:tc>
                  <a:txBody>
                    <a:bodyPr/>
                    <a:lstStyle/>
                    <a:p>
                      <a:pPr marL="0" marR="0" lvl="0" indent="0" algn="l" rtl="0">
                        <a:lnSpc>
                          <a:spcPct val="128571"/>
                        </a:lnSpc>
                        <a:spcBef>
                          <a:spcPts val="0"/>
                        </a:spcBef>
                        <a:spcAft>
                          <a:spcPts val="0"/>
                        </a:spcAft>
                        <a:buClr>
                          <a:srgbClr val="000000"/>
                        </a:buClr>
                        <a:buSzPts val="1600"/>
                        <a:buFont typeface="Arial"/>
                        <a:buNone/>
                      </a:pPr>
                      <a:r>
                        <a:rPr lang="en-US" sz="1600" b="1" u="none" strike="noStrike" cap="none">
                          <a:solidFill>
                            <a:schemeClr val="accent1"/>
                          </a:solidFill>
                          <a:latin typeface="Calibri"/>
                          <a:ea typeface="Calibri"/>
                          <a:cs typeface="Calibri"/>
                          <a:sym typeface="Calibri"/>
                        </a:rPr>
                        <a:t>Text</a:t>
                      </a:r>
                      <a:br>
                        <a:rPr lang="en-US" sz="1600" b="1" u="none" strike="noStrike" cap="none">
                          <a:solidFill>
                            <a:schemeClr val="accent1"/>
                          </a:solidFill>
                          <a:latin typeface="Calibri"/>
                          <a:ea typeface="Calibri"/>
                          <a:cs typeface="Calibri"/>
                          <a:sym typeface="Calibri"/>
                        </a:rPr>
                      </a:br>
                      <a:r>
                        <a:rPr lang="en-US" sz="1600" b="1" u="none" strike="noStrike" cap="none">
                          <a:solidFill>
                            <a:schemeClr val="accent1"/>
                          </a:solidFill>
                          <a:latin typeface="Calibri"/>
                          <a:ea typeface="Calibri"/>
                          <a:cs typeface="Calibri"/>
                          <a:sym typeface="Calibri"/>
                        </a:rPr>
                        <a:t>Characteristics</a:t>
                      </a:r>
                      <a:endParaRPr sz="1600" u="none" strike="noStrike" cap="none"/>
                    </a:p>
                  </a:txBody>
                  <a:tcPr marL="0" marR="0" marT="54000" marB="54000">
                    <a:lnT w="12700" cap="flat" cmpd="sng">
                      <a:solidFill>
                        <a:schemeClr val="accent1"/>
                      </a:solidFill>
                      <a:prstDash val="solid"/>
                      <a:round/>
                      <a:headEnd type="none" w="sm" len="sm"/>
                      <a:tailEnd type="none" w="sm" len="sm"/>
                    </a:lnT>
                    <a:lnB w="9525" cap="flat" cmpd="sng">
                      <a:solidFill>
                        <a:srgbClr val="7F7F7F"/>
                      </a:solidFill>
                      <a:prstDash val="dash"/>
                      <a:round/>
                      <a:headEnd type="none" w="sm" len="sm"/>
                      <a:tailEnd type="none" w="sm" len="sm"/>
                    </a:lnB>
                  </a:tcPr>
                </a:tc>
                <a:tc>
                  <a:txBody>
                    <a:bodyPr/>
                    <a:lstStyle/>
                    <a:p>
                      <a:pPr marL="174625" marR="0" lvl="0" indent="-174625" algn="l" rtl="0">
                        <a:lnSpc>
                          <a:spcPct val="128571"/>
                        </a:lnSpc>
                        <a:spcBef>
                          <a:spcPts val="0"/>
                        </a:spcBef>
                        <a:spcAft>
                          <a:spcPts val="0"/>
                        </a:spcAft>
                        <a:buClr>
                          <a:schemeClr val="dk2"/>
                        </a:buClr>
                        <a:buSzPts val="1400"/>
                        <a:buFont typeface="Noto Sans Symbols"/>
                        <a:buChar char="▪"/>
                      </a:pPr>
                      <a:r>
                        <a:rPr lang="en-US" sz="1600" u="none" strike="noStrike" cap="none">
                          <a:solidFill>
                            <a:schemeClr val="dk1"/>
                          </a:solidFill>
                          <a:latin typeface="Calibri"/>
                          <a:ea typeface="Calibri"/>
                          <a:cs typeface="Calibri"/>
                          <a:sym typeface="Calibri"/>
                        </a:rPr>
                        <a:t>Text is characterized by avoiding bulky text, using action titles</a:t>
                      </a:r>
                      <a:endParaRPr sz="1600" u="none" strike="noStrike" cap="none"/>
                    </a:p>
                    <a:p>
                      <a:pPr marL="174625" marR="0" lvl="0" indent="-174625" algn="l" rtl="0">
                        <a:lnSpc>
                          <a:spcPct val="128571"/>
                        </a:lnSpc>
                        <a:spcBef>
                          <a:spcPts val="500"/>
                        </a:spcBef>
                        <a:spcAft>
                          <a:spcPts val="0"/>
                        </a:spcAft>
                        <a:buClr>
                          <a:schemeClr val="dk2"/>
                        </a:buClr>
                        <a:buSzPts val="1400"/>
                        <a:buFont typeface="Noto Sans Symbols"/>
                        <a:buChar char="▪"/>
                      </a:pPr>
                      <a:r>
                        <a:rPr lang="en-US" sz="1600" u="none" strike="noStrike" cap="none">
                          <a:solidFill>
                            <a:schemeClr val="dk1"/>
                          </a:solidFill>
                          <a:latin typeface="Calibri"/>
                          <a:ea typeface="Calibri"/>
                          <a:cs typeface="Calibri"/>
                          <a:sym typeface="Calibri"/>
                        </a:rPr>
                        <a:t>Use of charts, process shapes, timelines and tables</a:t>
                      </a:r>
                      <a:endParaRPr sz="1600" u="none" strike="noStrike" cap="none"/>
                    </a:p>
                  </a:txBody>
                  <a:tcPr marL="0" marR="0" marT="54000" marB="54000">
                    <a:lnT w="12700" cap="flat" cmpd="sng">
                      <a:solidFill>
                        <a:schemeClr val="accent1"/>
                      </a:solidFill>
                      <a:prstDash val="solid"/>
                      <a:round/>
                      <a:headEnd type="none" w="sm" len="sm"/>
                      <a:tailEnd type="none" w="sm" len="sm"/>
                    </a:lnT>
                    <a:lnB w="9525" cap="flat" cmpd="sng">
                      <a:solidFill>
                        <a:srgbClr val="7F7F7F"/>
                      </a:solidFill>
                      <a:prstDash val="dash"/>
                      <a:round/>
                      <a:headEnd type="none" w="sm" len="sm"/>
                      <a:tailEnd type="none" w="sm" len="sm"/>
                    </a:lnB>
                  </a:tcPr>
                </a:tc>
                <a:extLst>
                  <a:ext uri="{0D108BD9-81ED-4DB2-BD59-A6C34878D82A}">
                    <a16:rowId xmlns:a16="http://schemas.microsoft.com/office/drawing/2014/main" val="10000"/>
                  </a:ext>
                </a:extLst>
              </a:tr>
              <a:tr h="177800">
                <a:tc>
                  <a:txBody>
                    <a:bodyPr/>
                    <a:lstStyle/>
                    <a:p>
                      <a:pPr marL="0" marR="0" lvl="0" indent="0" algn="l" rtl="0">
                        <a:lnSpc>
                          <a:spcPct val="128571"/>
                        </a:lnSpc>
                        <a:spcBef>
                          <a:spcPts val="0"/>
                        </a:spcBef>
                        <a:spcAft>
                          <a:spcPts val="0"/>
                        </a:spcAft>
                        <a:buClr>
                          <a:srgbClr val="000000"/>
                        </a:buClr>
                        <a:buSzPts val="1600"/>
                        <a:buFont typeface="Arial"/>
                        <a:buNone/>
                      </a:pPr>
                      <a:r>
                        <a:rPr lang="en-US" sz="1600" b="1" u="none" strike="noStrike" cap="none">
                          <a:solidFill>
                            <a:schemeClr val="accent1"/>
                          </a:solidFill>
                          <a:latin typeface="Calibri"/>
                          <a:ea typeface="Calibri"/>
                          <a:cs typeface="Calibri"/>
                          <a:sym typeface="Calibri"/>
                        </a:rPr>
                        <a:t>Challenge</a:t>
                      </a:r>
                      <a:endParaRPr sz="1600" u="none" strike="noStrike" cap="none"/>
                    </a:p>
                  </a:txBody>
                  <a:tcPr marL="0" marR="0" marT="54000" marB="54000">
                    <a:lnT w="9525" cap="flat" cmpd="sng">
                      <a:solidFill>
                        <a:srgbClr val="7F7F7F"/>
                      </a:solidFill>
                      <a:prstDash val="dash"/>
                      <a:round/>
                      <a:headEnd type="none" w="sm" len="sm"/>
                      <a:tailEnd type="none" w="sm" len="sm"/>
                    </a:lnT>
                    <a:lnB w="9525" cap="flat" cmpd="sng">
                      <a:solidFill>
                        <a:srgbClr val="7F7F7F"/>
                      </a:solidFill>
                      <a:prstDash val="dash"/>
                      <a:round/>
                      <a:headEnd type="none" w="sm" len="sm"/>
                      <a:tailEnd type="none" w="sm" len="sm"/>
                    </a:lnB>
                  </a:tcPr>
                </a:tc>
                <a:tc>
                  <a:txBody>
                    <a:bodyPr/>
                    <a:lstStyle/>
                    <a:p>
                      <a:pPr marL="174625" marR="0" lvl="0" indent="-174625" algn="l" rtl="0">
                        <a:lnSpc>
                          <a:spcPct val="128571"/>
                        </a:lnSpc>
                        <a:spcBef>
                          <a:spcPts val="0"/>
                        </a:spcBef>
                        <a:spcAft>
                          <a:spcPts val="0"/>
                        </a:spcAft>
                        <a:buClr>
                          <a:schemeClr val="dk2"/>
                        </a:buClr>
                        <a:buSzPts val="1400"/>
                        <a:buFont typeface="Noto Sans Symbols"/>
                        <a:buChar char="▪"/>
                      </a:pPr>
                      <a:r>
                        <a:rPr lang="en-US" sz="1600" u="none" strike="noStrike" cap="none">
                          <a:solidFill>
                            <a:schemeClr val="dk1"/>
                          </a:solidFill>
                          <a:latin typeface="Calibri"/>
                          <a:ea typeface="Calibri"/>
                          <a:cs typeface="Calibri"/>
                          <a:sym typeface="Calibri"/>
                        </a:rPr>
                        <a:t>Linking ideas and capture the action titles without circumlocution</a:t>
                      </a:r>
                      <a:endParaRPr sz="1600" u="none" strike="noStrike" cap="none"/>
                    </a:p>
                    <a:p>
                      <a:pPr marL="174625" marR="0" lvl="0" indent="-174625" algn="l" rtl="0">
                        <a:lnSpc>
                          <a:spcPct val="128571"/>
                        </a:lnSpc>
                        <a:spcBef>
                          <a:spcPts val="500"/>
                        </a:spcBef>
                        <a:spcAft>
                          <a:spcPts val="0"/>
                        </a:spcAft>
                        <a:buClr>
                          <a:schemeClr val="dk2"/>
                        </a:buClr>
                        <a:buSzPts val="1400"/>
                        <a:buFont typeface="Noto Sans Symbols"/>
                        <a:buChar char="▪"/>
                      </a:pPr>
                      <a:r>
                        <a:rPr lang="en-US" sz="1600" u="none" strike="noStrike" cap="none">
                          <a:solidFill>
                            <a:schemeClr val="dk1"/>
                          </a:solidFill>
                          <a:latin typeface="Calibri"/>
                          <a:ea typeface="Calibri"/>
                          <a:cs typeface="Calibri"/>
                          <a:sym typeface="Calibri"/>
                        </a:rPr>
                        <a:t>Bound by the document design, formatting and style</a:t>
                      </a:r>
                      <a:endParaRPr sz="1600" u="none" strike="noStrike" cap="none"/>
                    </a:p>
                  </a:txBody>
                  <a:tcPr marL="0" marR="0" marT="54000" marB="54000">
                    <a:lnT w="9525" cap="flat" cmpd="sng">
                      <a:solidFill>
                        <a:srgbClr val="7F7F7F"/>
                      </a:solidFill>
                      <a:prstDash val="dash"/>
                      <a:round/>
                      <a:headEnd type="none" w="sm" len="sm"/>
                      <a:tailEnd type="none" w="sm" len="sm"/>
                    </a:lnT>
                    <a:lnB w="9525" cap="flat" cmpd="sng">
                      <a:solidFill>
                        <a:srgbClr val="7F7F7F"/>
                      </a:solidFill>
                      <a:prstDash val="dash"/>
                      <a:round/>
                      <a:headEnd type="none" w="sm" len="sm"/>
                      <a:tailEnd type="none" w="sm" len="sm"/>
                    </a:lnB>
                  </a:tcPr>
                </a:tc>
                <a:extLst>
                  <a:ext uri="{0D108BD9-81ED-4DB2-BD59-A6C34878D82A}">
                    <a16:rowId xmlns:a16="http://schemas.microsoft.com/office/drawing/2014/main" val="10001"/>
                  </a:ext>
                </a:extLst>
              </a:tr>
              <a:tr h="252000">
                <a:tc>
                  <a:txBody>
                    <a:bodyPr/>
                    <a:lstStyle/>
                    <a:p>
                      <a:pPr marL="0" marR="0" lvl="0" indent="0" algn="l" rtl="0">
                        <a:lnSpc>
                          <a:spcPct val="128571"/>
                        </a:lnSpc>
                        <a:spcBef>
                          <a:spcPts val="0"/>
                        </a:spcBef>
                        <a:spcAft>
                          <a:spcPts val="0"/>
                        </a:spcAft>
                        <a:buClr>
                          <a:srgbClr val="000000"/>
                        </a:buClr>
                        <a:buSzPts val="1600"/>
                        <a:buFont typeface="Arial"/>
                        <a:buNone/>
                      </a:pPr>
                      <a:r>
                        <a:rPr lang="en-US" sz="1600" b="1" u="none" strike="noStrike" cap="none">
                          <a:solidFill>
                            <a:schemeClr val="accent1"/>
                          </a:solidFill>
                          <a:latin typeface="Calibri"/>
                          <a:ea typeface="Calibri"/>
                          <a:cs typeface="Calibri"/>
                          <a:sym typeface="Calibri"/>
                        </a:rPr>
                        <a:t>Translation Methodology</a:t>
                      </a:r>
                      <a:endParaRPr sz="1600" u="none" strike="noStrike" cap="none"/>
                    </a:p>
                  </a:txBody>
                  <a:tcPr marL="0" marR="0" marT="54000" marB="54000">
                    <a:lnT w="9525" cap="flat" cmpd="sng">
                      <a:solidFill>
                        <a:srgbClr val="7F7F7F"/>
                      </a:solidFill>
                      <a:prstDash val="dash"/>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174625" marR="0" lvl="0" indent="-174625" algn="l" rtl="0">
                        <a:lnSpc>
                          <a:spcPct val="128571"/>
                        </a:lnSpc>
                        <a:spcBef>
                          <a:spcPts val="0"/>
                        </a:spcBef>
                        <a:spcAft>
                          <a:spcPts val="0"/>
                        </a:spcAft>
                        <a:buClr>
                          <a:schemeClr val="dk2"/>
                        </a:buClr>
                        <a:buSzPts val="1400"/>
                        <a:buFont typeface="Noto Sans Symbols"/>
                        <a:buChar char="▪"/>
                      </a:pPr>
                      <a:r>
                        <a:rPr lang="en-US" sz="1600" u="none" strike="noStrike" cap="none">
                          <a:latin typeface="Calibri"/>
                          <a:ea typeface="Calibri"/>
                          <a:cs typeface="Calibri"/>
                          <a:sym typeface="Calibri"/>
                        </a:rPr>
                        <a:t>Reading the document carefully, understanding its structure and flow of ideas</a:t>
                      </a:r>
                      <a:endParaRPr sz="1600" u="none" strike="noStrike" cap="none"/>
                    </a:p>
                    <a:p>
                      <a:pPr marL="174625" marR="0" lvl="0" indent="-174625" algn="l" rtl="0">
                        <a:lnSpc>
                          <a:spcPct val="128571"/>
                        </a:lnSpc>
                        <a:spcBef>
                          <a:spcPts val="500"/>
                        </a:spcBef>
                        <a:spcAft>
                          <a:spcPts val="0"/>
                        </a:spcAft>
                        <a:buClr>
                          <a:schemeClr val="dk2"/>
                        </a:buClr>
                        <a:buSzPts val="1400"/>
                        <a:buFont typeface="Noto Sans Symbols"/>
                        <a:buChar char="▪"/>
                      </a:pPr>
                      <a:r>
                        <a:rPr lang="en-US" sz="1600" u="none" strike="noStrike" cap="none">
                          <a:latin typeface="Calibri"/>
                          <a:ea typeface="Calibri"/>
                          <a:cs typeface="Calibri"/>
                          <a:sym typeface="Calibri"/>
                        </a:rPr>
                        <a:t>Avoiding literal translation </a:t>
                      </a:r>
                      <a:endParaRPr sz="1600" u="none" strike="noStrike" cap="none"/>
                    </a:p>
                    <a:p>
                      <a:pPr marL="174625" marR="0" lvl="0" indent="-174625" algn="l" rtl="0">
                        <a:lnSpc>
                          <a:spcPct val="128571"/>
                        </a:lnSpc>
                        <a:spcBef>
                          <a:spcPts val="500"/>
                        </a:spcBef>
                        <a:spcAft>
                          <a:spcPts val="0"/>
                        </a:spcAft>
                        <a:buClr>
                          <a:schemeClr val="dk2"/>
                        </a:buClr>
                        <a:buSzPts val="1400"/>
                        <a:buFont typeface="Noto Sans Symbols"/>
                        <a:buChar char="▪"/>
                      </a:pPr>
                      <a:r>
                        <a:rPr lang="en-US" sz="1600" u="none" strike="noStrike" cap="none">
                          <a:latin typeface="Calibri"/>
                          <a:ea typeface="Calibri"/>
                          <a:cs typeface="Calibri"/>
                          <a:sym typeface="Calibri"/>
                        </a:rPr>
                        <a:t>Employing best writing and translation techniques such as paraphrasing, loss and gain, functional shifts</a:t>
                      </a:r>
                      <a:endParaRPr sz="1600" u="none" strike="noStrike" cap="none"/>
                    </a:p>
                  </a:txBody>
                  <a:tcPr marL="0" marR="0" marT="54000" marB="54000">
                    <a:lnT w="9525" cap="flat" cmpd="sng">
                      <a:solidFill>
                        <a:srgbClr val="7F7F7F"/>
                      </a:solidFill>
                      <a:prstDash val="dash"/>
                      <a:round/>
                      <a:headEnd type="none" w="sm" len="sm"/>
                      <a:tailEnd type="none" w="sm" len="sm"/>
                    </a:lnT>
                    <a:lnB w="12700" cap="flat" cmpd="sng">
                      <a:solidFill>
                        <a:schemeClr val="accent1"/>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sp>
        <p:nvSpPr>
          <p:cNvPr id="2489" name="Google Shape;2489;p31"/>
          <p:cNvSpPr/>
          <p:nvPr/>
        </p:nvSpPr>
        <p:spPr>
          <a:xfrm>
            <a:off x="7467600" y="-1"/>
            <a:ext cx="4724400" cy="6857999"/>
          </a:xfrm>
          <a:prstGeom prst="rect">
            <a:avLst/>
          </a:prstGeom>
          <a:solidFill>
            <a:srgbClr val="4C4C4C">
              <a:alpha val="60000"/>
            </a:srgbClr>
          </a:solidFill>
          <a:ln w="9525" cap="flat" cmpd="sng">
            <a:solidFill>
              <a:schemeClr val="accent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nvGrpSpPr>
          <p:cNvPr id="2490" name="Google Shape;2490;p31"/>
          <p:cNvGrpSpPr/>
          <p:nvPr/>
        </p:nvGrpSpPr>
        <p:grpSpPr>
          <a:xfrm>
            <a:off x="10881886" y="135255"/>
            <a:ext cx="1141311" cy="468742"/>
            <a:chOff x="10881886" y="135255"/>
            <a:chExt cx="1141311" cy="468742"/>
          </a:xfrm>
        </p:grpSpPr>
        <p:grpSp>
          <p:nvGrpSpPr>
            <p:cNvPr id="2491" name="Google Shape;2491;p31"/>
            <p:cNvGrpSpPr/>
            <p:nvPr/>
          </p:nvGrpSpPr>
          <p:grpSpPr>
            <a:xfrm>
              <a:off x="10881886" y="135255"/>
              <a:ext cx="1141311" cy="468742"/>
              <a:chOff x="10881886" y="135255"/>
              <a:chExt cx="1141311" cy="468742"/>
            </a:xfrm>
          </p:grpSpPr>
          <p:sp>
            <p:nvSpPr>
              <p:cNvPr id="2492" name="Google Shape;2492;p31"/>
              <p:cNvSpPr txBox="1"/>
              <p:nvPr/>
            </p:nvSpPr>
            <p:spPr>
              <a:xfrm>
                <a:off x="10881886" y="230150"/>
                <a:ext cx="628378" cy="2769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lt1"/>
                    </a:solidFill>
                    <a:latin typeface="Franklin Gothic"/>
                    <a:ea typeface="Franklin Gothic"/>
                    <a:cs typeface="Franklin Gothic"/>
                    <a:sym typeface="Franklin Gothic"/>
                  </a:rPr>
                  <a:t>Business </a:t>
                </a:r>
                <a:endParaRPr sz="1400" b="0" i="0" u="none" strike="noStrike" cap="none">
                  <a:solidFill>
                    <a:srgbClr val="000000"/>
                  </a:solidFill>
                  <a:latin typeface="Arial"/>
                  <a:ea typeface="Arial"/>
                  <a:cs typeface="Arial"/>
                  <a:sym typeface="Arial"/>
                </a:endParaRPr>
              </a:p>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lt1"/>
                    </a:solidFill>
                    <a:latin typeface="Franklin Gothic"/>
                    <a:ea typeface="Franklin Gothic"/>
                    <a:cs typeface="Franklin Gothic"/>
                    <a:sym typeface="Franklin Gothic"/>
                  </a:rPr>
                  <a:t>Translation</a:t>
                </a:r>
                <a:endParaRPr sz="1400" b="0" i="0" u="none" strike="noStrike" cap="none">
                  <a:solidFill>
                    <a:srgbClr val="000000"/>
                  </a:solidFill>
                  <a:latin typeface="Arial"/>
                  <a:ea typeface="Arial"/>
                  <a:cs typeface="Arial"/>
                  <a:sym typeface="Arial"/>
                </a:endParaRPr>
              </a:p>
            </p:txBody>
          </p:sp>
          <p:sp>
            <p:nvSpPr>
              <p:cNvPr id="2493" name="Google Shape;2493;p31"/>
              <p:cNvSpPr/>
              <p:nvPr/>
            </p:nvSpPr>
            <p:spPr>
              <a:xfrm>
                <a:off x="11554453" y="135255"/>
                <a:ext cx="468744" cy="468742"/>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grpSp>
          <p:nvGrpSpPr>
            <p:cNvPr id="2494" name="Google Shape;2494;p31"/>
            <p:cNvGrpSpPr/>
            <p:nvPr/>
          </p:nvGrpSpPr>
          <p:grpSpPr>
            <a:xfrm>
              <a:off x="11701145" y="220980"/>
              <a:ext cx="175360" cy="295338"/>
              <a:chOff x="6689308" y="2024976"/>
              <a:chExt cx="325986" cy="549024"/>
            </a:xfrm>
          </p:grpSpPr>
          <p:sp>
            <p:nvSpPr>
              <p:cNvPr id="2495" name="Google Shape;2495;p31"/>
              <p:cNvSpPr/>
              <p:nvPr/>
            </p:nvSpPr>
            <p:spPr>
              <a:xfrm>
                <a:off x="6689308" y="2024976"/>
                <a:ext cx="325986" cy="549024"/>
              </a:xfrm>
              <a:custGeom>
                <a:avLst/>
                <a:gdLst/>
                <a:ahLst/>
                <a:cxnLst/>
                <a:rect l="l" t="t" r="r" b="b"/>
                <a:pathLst>
                  <a:path w="325986" h="549024" extrusionOk="0">
                    <a:moveTo>
                      <a:pt x="304900" y="0"/>
                    </a:moveTo>
                    <a:lnTo>
                      <a:pt x="24663" y="0"/>
                    </a:lnTo>
                    <a:cubicBezTo>
                      <a:pt x="11049" y="17"/>
                      <a:pt x="17" y="11049"/>
                      <a:pt x="0" y="24663"/>
                    </a:cubicBezTo>
                    <a:lnTo>
                      <a:pt x="0" y="524361"/>
                    </a:lnTo>
                    <a:cubicBezTo>
                      <a:pt x="17" y="537975"/>
                      <a:pt x="11049" y="549007"/>
                      <a:pt x="24663" y="549024"/>
                    </a:cubicBezTo>
                    <a:lnTo>
                      <a:pt x="304900" y="549024"/>
                    </a:lnTo>
                    <a:cubicBezTo>
                      <a:pt x="318516" y="549011"/>
                      <a:pt x="329551" y="537975"/>
                      <a:pt x="329563" y="524361"/>
                    </a:cubicBezTo>
                    <a:lnTo>
                      <a:pt x="329563" y="24663"/>
                    </a:lnTo>
                    <a:cubicBezTo>
                      <a:pt x="329551" y="11048"/>
                      <a:pt x="318516" y="14"/>
                      <a:pt x="304900" y="0"/>
                    </a:cubicBezTo>
                    <a:close/>
                    <a:moveTo>
                      <a:pt x="240852" y="15012"/>
                    </a:moveTo>
                    <a:lnTo>
                      <a:pt x="223313" y="32538"/>
                    </a:lnTo>
                    <a:cubicBezTo>
                      <a:pt x="216691" y="39189"/>
                      <a:pt x="207684" y="42917"/>
                      <a:pt x="198298" y="42893"/>
                    </a:cubicBezTo>
                    <a:lnTo>
                      <a:pt x="131265" y="42893"/>
                    </a:lnTo>
                    <a:cubicBezTo>
                      <a:pt x="121879" y="42917"/>
                      <a:pt x="112873" y="39189"/>
                      <a:pt x="106250" y="32538"/>
                    </a:cubicBezTo>
                    <a:lnTo>
                      <a:pt x="88711" y="15012"/>
                    </a:lnTo>
                    <a:close/>
                    <a:moveTo>
                      <a:pt x="314551" y="524361"/>
                    </a:moveTo>
                    <a:cubicBezTo>
                      <a:pt x="314544" y="529688"/>
                      <a:pt x="310227" y="534003"/>
                      <a:pt x="304900" y="534012"/>
                    </a:cubicBezTo>
                    <a:lnTo>
                      <a:pt x="24663" y="534012"/>
                    </a:lnTo>
                    <a:cubicBezTo>
                      <a:pt x="19336" y="534003"/>
                      <a:pt x="15020" y="529688"/>
                      <a:pt x="15013" y="524361"/>
                    </a:cubicBezTo>
                    <a:lnTo>
                      <a:pt x="15013" y="24663"/>
                    </a:lnTo>
                    <a:cubicBezTo>
                      <a:pt x="15020" y="19336"/>
                      <a:pt x="19336" y="15019"/>
                      <a:pt x="24663" y="15012"/>
                    </a:cubicBezTo>
                    <a:lnTo>
                      <a:pt x="67471" y="15012"/>
                    </a:lnTo>
                    <a:lnTo>
                      <a:pt x="95638" y="43163"/>
                    </a:lnTo>
                    <a:cubicBezTo>
                      <a:pt x="105072" y="52633"/>
                      <a:pt x="117898" y="57940"/>
                      <a:pt x="131265" y="57905"/>
                    </a:cubicBezTo>
                    <a:lnTo>
                      <a:pt x="198298" y="57905"/>
                    </a:lnTo>
                    <a:cubicBezTo>
                      <a:pt x="211665" y="57940"/>
                      <a:pt x="224492" y="52633"/>
                      <a:pt x="233925" y="43163"/>
                    </a:cubicBezTo>
                    <a:lnTo>
                      <a:pt x="262093" y="15012"/>
                    </a:lnTo>
                    <a:lnTo>
                      <a:pt x="304900" y="15012"/>
                    </a:lnTo>
                    <a:cubicBezTo>
                      <a:pt x="310227" y="15019"/>
                      <a:pt x="314544" y="19336"/>
                      <a:pt x="314551" y="2466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96" name="Google Shape;2496;p31"/>
              <p:cNvSpPr/>
              <p:nvPr/>
            </p:nvSpPr>
            <p:spPr>
              <a:xfrm>
                <a:off x="6732201" y="2110795"/>
                <a:ext cx="85786" cy="98653"/>
              </a:xfrm>
              <a:custGeom>
                <a:avLst/>
                <a:gdLst/>
                <a:ahLst/>
                <a:cxnLst/>
                <a:rect l="l" t="t" r="r" b="b"/>
                <a:pathLst>
                  <a:path w="85785" h="98652" extrusionOk="0">
                    <a:moveTo>
                      <a:pt x="5040" y="98734"/>
                    </a:moveTo>
                    <a:cubicBezTo>
                      <a:pt x="8946" y="100102"/>
                      <a:pt x="13221" y="98044"/>
                      <a:pt x="14588" y="94138"/>
                    </a:cubicBezTo>
                    <a:cubicBezTo>
                      <a:pt x="14591" y="94130"/>
                      <a:pt x="14594" y="94122"/>
                      <a:pt x="14597" y="94115"/>
                    </a:cubicBezTo>
                    <a:lnTo>
                      <a:pt x="27499" y="57081"/>
                    </a:lnTo>
                    <a:lnTo>
                      <a:pt x="62242" y="57081"/>
                    </a:lnTo>
                    <a:lnTo>
                      <a:pt x="75136" y="94115"/>
                    </a:lnTo>
                    <a:cubicBezTo>
                      <a:pt x="76715" y="97948"/>
                      <a:pt x="81102" y="99776"/>
                      <a:pt x="84935" y="98197"/>
                    </a:cubicBezTo>
                    <a:cubicBezTo>
                      <a:pt x="88471" y="96740"/>
                      <a:pt x="90347" y="92858"/>
                      <a:pt x="89290" y="89182"/>
                    </a:cubicBezTo>
                    <a:lnTo>
                      <a:pt x="59994" y="5040"/>
                    </a:lnTo>
                    <a:cubicBezTo>
                      <a:pt x="58944" y="2022"/>
                      <a:pt x="56099" y="0"/>
                      <a:pt x="52904" y="0"/>
                    </a:cubicBezTo>
                    <a:lnTo>
                      <a:pt x="36819" y="0"/>
                    </a:lnTo>
                    <a:cubicBezTo>
                      <a:pt x="33624" y="0"/>
                      <a:pt x="30779" y="2022"/>
                      <a:pt x="29729" y="5040"/>
                    </a:cubicBezTo>
                    <a:lnTo>
                      <a:pt x="420" y="89182"/>
                    </a:lnTo>
                    <a:cubicBezTo>
                      <a:pt x="-944" y="93092"/>
                      <a:pt x="1120" y="97367"/>
                      <a:pt x="5030" y="98731"/>
                    </a:cubicBezTo>
                    <a:cubicBezTo>
                      <a:pt x="5034" y="98732"/>
                      <a:pt x="5037" y="98733"/>
                      <a:pt x="5040" y="98734"/>
                    </a:cubicBezTo>
                    <a:close/>
                    <a:moveTo>
                      <a:pt x="42151" y="15012"/>
                    </a:moveTo>
                    <a:lnTo>
                      <a:pt x="47568" y="15012"/>
                    </a:lnTo>
                    <a:lnTo>
                      <a:pt x="57005" y="42069"/>
                    </a:lnTo>
                    <a:lnTo>
                      <a:pt x="32727" y="42069"/>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97" name="Google Shape;2497;p31"/>
              <p:cNvSpPr/>
              <p:nvPr/>
            </p:nvSpPr>
            <p:spPr>
              <a:xfrm>
                <a:off x="6886259" y="2110795"/>
                <a:ext cx="85786" cy="98653"/>
              </a:xfrm>
              <a:custGeom>
                <a:avLst/>
                <a:gdLst/>
                <a:ahLst/>
                <a:cxnLst/>
                <a:rect l="l" t="t" r="r" b="b"/>
                <a:pathLst>
                  <a:path w="85785" h="98652" extrusionOk="0">
                    <a:moveTo>
                      <a:pt x="82213" y="24629"/>
                    </a:moveTo>
                    <a:lnTo>
                      <a:pt x="52368" y="24629"/>
                    </a:lnTo>
                    <a:lnTo>
                      <a:pt x="52368" y="7506"/>
                    </a:lnTo>
                    <a:cubicBezTo>
                      <a:pt x="52368" y="3361"/>
                      <a:pt x="49007" y="0"/>
                      <a:pt x="44862" y="0"/>
                    </a:cubicBezTo>
                    <a:cubicBezTo>
                      <a:pt x="40716" y="0"/>
                      <a:pt x="37355" y="3361"/>
                      <a:pt x="37355" y="7506"/>
                    </a:cubicBezTo>
                    <a:lnTo>
                      <a:pt x="37355" y="24629"/>
                    </a:lnTo>
                    <a:lnTo>
                      <a:pt x="7506" y="24629"/>
                    </a:lnTo>
                    <a:cubicBezTo>
                      <a:pt x="3361" y="24629"/>
                      <a:pt x="0" y="27990"/>
                      <a:pt x="0" y="32135"/>
                    </a:cubicBezTo>
                    <a:cubicBezTo>
                      <a:pt x="0" y="36281"/>
                      <a:pt x="3361" y="39641"/>
                      <a:pt x="7506" y="39641"/>
                    </a:cubicBezTo>
                    <a:lnTo>
                      <a:pt x="17873" y="39641"/>
                    </a:lnTo>
                    <a:lnTo>
                      <a:pt x="17873" y="41027"/>
                    </a:lnTo>
                    <a:cubicBezTo>
                      <a:pt x="17867" y="52418"/>
                      <a:pt x="22457" y="63330"/>
                      <a:pt x="30604" y="71292"/>
                    </a:cubicBezTo>
                    <a:lnTo>
                      <a:pt x="4066" y="84974"/>
                    </a:lnTo>
                    <a:cubicBezTo>
                      <a:pt x="456" y="87016"/>
                      <a:pt x="-816" y="91599"/>
                      <a:pt x="1226" y="95209"/>
                    </a:cubicBezTo>
                    <a:cubicBezTo>
                      <a:pt x="3154" y="98618"/>
                      <a:pt x="7378" y="99973"/>
                      <a:pt x="10929" y="98322"/>
                    </a:cubicBezTo>
                    <a:lnTo>
                      <a:pt x="44845" y="80831"/>
                    </a:lnTo>
                    <a:lnTo>
                      <a:pt x="78756" y="98322"/>
                    </a:lnTo>
                    <a:cubicBezTo>
                      <a:pt x="82366" y="100365"/>
                      <a:pt x="86948" y="99093"/>
                      <a:pt x="88990" y="95483"/>
                    </a:cubicBezTo>
                    <a:cubicBezTo>
                      <a:pt x="91032" y="91872"/>
                      <a:pt x="89761" y="87290"/>
                      <a:pt x="86151" y="85248"/>
                    </a:cubicBezTo>
                    <a:cubicBezTo>
                      <a:pt x="85977" y="85150"/>
                      <a:pt x="85800" y="85058"/>
                      <a:pt x="85619" y="84974"/>
                    </a:cubicBezTo>
                    <a:lnTo>
                      <a:pt x="59085" y="71292"/>
                    </a:lnTo>
                    <a:cubicBezTo>
                      <a:pt x="67232" y="63329"/>
                      <a:pt x="71821" y="52415"/>
                      <a:pt x="71811" y="41022"/>
                    </a:cubicBezTo>
                    <a:lnTo>
                      <a:pt x="71811" y="39641"/>
                    </a:lnTo>
                    <a:lnTo>
                      <a:pt x="82179" y="39641"/>
                    </a:lnTo>
                    <a:cubicBezTo>
                      <a:pt x="86324" y="39641"/>
                      <a:pt x="89685" y="36281"/>
                      <a:pt x="89685" y="32135"/>
                    </a:cubicBezTo>
                    <a:cubicBezTo>
                      <a:pt x="89685" y="27990"/>
                      <a:pt x="86324" y="24629"/>
                      <a:pt x="82179" y="24629"/>
                    </a:cubicBezTo>
                    <a:close/>
                    <a:moveTo>
                      <a:pt x="56833" y="41022"/>
                    </a:moveTo>
                    <a:cubicBezTo>
                      <a:pt x="56848" y="50092"/>
                      <a:pt x="52363" y="58580"/>
                      <a:pt x="44862" y="63678"/>
                    </a:cubicBezTo>
                    <a:cubicBezTo>
                      <a:pt x="37360" y="58580"/>
                      <a:pt x="32874" y="50093"/>
                      <a:pt x="32886" y="41022"/>
                    </a:cubicBezTo>
                    <a:lnTo>
                      <a:pt x="32886" y="39641"/>
                    </a:lnTo>
                    <a:lnTo>
                      <a:pt x="56833" y="39641"/>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98" name="Google Shape;2498;p31"/>
              <p:cNvSpPr/>
              <p:nvPr/>
            </p:nvSpPr>
            <p:spPr>
              <a:xfrm>
                <a:off x="6832510" y="2152864"/>
                <a:ext cx="42893" cy="12868"/>
              </a:xfrm>
              <a:custGeom>
                <a:avLst/>
                <a:gdLst/>
                <a:ahLst/>
                <a:cxnLst/>
                <a:rect l="l" t="t" r="r" b="b"/>
                <a:pathLst>
                  <a:path w="42892" h="12867" extrusionOk="0">
                    <a:moveTo>
                      <a:pt x="7506" y="15012"/>
                    </a:moveTo>
                    <a:lnTo>
                      <a:pt x="35653" y="15012"/>
                    </a:lnTo>
                    <a:cubicBezTo>
                      <a:pt x="39798" y="15012"/>
                      <a:pt x="43159" y="11652"/>
                      <a:pt x="43159" y="7506"/>
                    </a:cubicBezTo>
                    <a:cubicBezTo>
                      <a:pt x="43159" y="3361"/>
                      <a:pt x="39798" y="0"/>
                      <a:pt x="35653"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99" name="Google Shape;2499;p31"/>
              <p:cNvSpPr/>
              <p:nvPr/>
            </p:nvSpPr>
            <p:spPr>
              <a:xfrm>
                <a:off x="6732201" y="223786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00" name="Google Shape;2500;p31"/>
              <p:cNvSpPr/>
              <p:nvPr/>
            </p:nvSpPr>
            <p:spPr>
              <a:xfrm>
                <a:off x="6756508" y="2288113"/>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01" name="Google Shape;2501;p31"/>
              <p:cNvSpPr/>
              <p:nvPr/>
            </p:nvSpPr>
            <p:spPr>
              <a:xfrm>
                <a:off x="6732201" y="2338361"/>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02" name="Google Shape;2502;p31"/>
              <p:cNvSpPr/>
              <p:nvPr/>
            </p:nvSpPr>
            <p:spPr>
              <a:xfrm>
                <a:off x="6756508" y="2388606"/>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03" name="Google Shape;2503;p31"/>
              <p:cNvSpPr/>
              <p:nvPr/>
            </p:nvSpPr>
            <p:spPr>
              <a:xfrm>
                <a:off x="6732201" y="243885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04" name="Google Shape;2504;p31"/>
              <p:cNvSpPr/>
              <p:nvPr/>
            </p:nvSpPr>
            <p:spPr>
              <a:xfrm>
                <a:off x="6756508" y="2491764"/>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2508"/>
        <p:cNvGrpSpPr/>
        <p:nvPr/>
      </p:nvGrpSpPr>
      <p:grpSpPr>
        <a:xfrm>
          <a:off x="0" y="0"/>
          <a:ext cx="0" cy="0"/>
          <a:chOff x="0" y="0"/>
          <a:chExt cx="0" cy="0"/>
        </a:xfrm>
      </p:grpSpPr>
      <p:sp>
        <p:nvSpPr>
          <p:cNvPr id="2509" name="Google Shape;2509;p32"/>
          <p:cNvSpPr txBox="1">
            <a:spLocks noGrp="1"/>
          </p:cNvSpPr>
          <p:nvPr>
            <p:ph type="title"/>
          </p:nvPr>
        </p:nvSpPr>
        <p:spPr>
          <a:xfrm>
            <a:off x="1375547" y="360215"/>
            <a:ext cx="2101944" cy="125572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Case</a:t>
            </a:r>
            <a:br>
              <a:rPr lang="en-US"/>
            </a:br>
            <a:r>
              <a:rPr lang="en-US"/>
              <a:t>Example:</a:t>
            </a:r>
            <a:endParaRPr/>
          </a:p>
        </p:txBody>
      </p:sp>
      <p:graphicFrame>
        <p:nvGraphicFramePr>
          <p:cNvPr id="2510" name="Google Shape;2510;p32"/>
          <p:cNvGraphicFramePr/>
          <p:nvPr/>
        </p:nvGraphicFramePr>
        <p:xfrm>
          <a:off x="4003906" y="781346"/>
          <a:ext cx="7628650" cy="5474640"/>
        </p:xfrm>
        <a:graphic>
          <a:graphicData uri="http://schemas.openxmlformats.org/drawingml/2006/table">
            <a:tbl>
              <a:tblPr>
                <a:noFill/>
                <a:tableStyleId>{3149A09B-1AD0-4F29-9B92-C1F1A84BDCC0}</a:tableStyleId>
              </a:tblPr>
              <a:tblGrid>
                <a:gridCol w="3696850">
                  <a:extLst>
                    <a:ext uri="{9D8B030D-6E8A-4147-A177-3AD203B41FA5}">
                      <a16:colId xmlns:a16="http://schemas.microsoft.com/office/drawing/2014/main" val="20000"/>
                    </a:ext>
                  </a:extLst>
                </a:gridCol>
                <a:gridCol w="3931800">
                  <a:extLst>
                    <a:ext uri="{9D8B030D-6E8A-4147-A177-3AD203B41FA5}">
                      <a16:colId xmlns:a16="http://schemas.microsoft.com/office/drawing/2014/main" val="20001"/>
                    </a:ext>
                  </a:extLst>
                </a:gridCol>
              </a:tblGrid>
              <a:tr h="212350">
                <a:tc>
                  <a:txBody>
                    <a:bodyPr/>
                    <a:lstStyle/>
                    <a:p>
                      <a:pPr marL="0" marR="0" lvl="0" indent="0" algn="l" rtl="0">
                        <a:lnSpc>
                          <a:spcPct val="100000"/>
                        </a:lnSpc>
                        <a:spcBef>
                          <a:spcPts val="0"/>
                        </a:spcBef>
                        <a:spcAft>
                          <a:spcPts val="0"/>
                        </a:spcAft>
                        <a:buClr>
                          <a:srgbClr val="000000"/>
                        </a:buClr>
                        <a:buSzPts val="1600"/>
                        <a:buFont typeface="Arial"/>
                        <a:buNone/>
                      </a:pPr>
                      <a:r>
                        <a:rPr lang="en-US" sz="1600" b="0" i="0" u="none" strike="noStrike" cap="none">
                          <a:solidFill>
                            <a:schemeClr val="accent1"/>
                          </a:solidFill>
                          <a:latin typeface="Calibri"/>
                          <a:ea typeface="Calibri"/>
                          <a:cs typeface="Calibri"/>
                          <a:sym typeface="Calibri"/>
                        </a:rPr>
                        <a:t>Source Text</a:t>
                      </a:r>
                      <a:endParaRPr sz="1400" u="none" strike="noStrike" cap="none"/>
                    </a:p>
                  </a:txBody>
                  <a:tcPr marL="0" marR="0" marT="54000" marB="5400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000000"/>
                        </a:buClr>
                        <a:buSzPts val="1600"/>
                        <a:buFont typeface="Arial"/>
                        <a:buNone/>
                      </a:pPr>
                      <a:r>
                        <a:rPr lang="en-US" sz="1600" b="0" i="0" u="none" strike="noStrike" cap="none">
                          <a:solidFill>
                            <a:schemeClr val="accent1"/>
                          </a:solidFill>
                          <a:latin typeface="Calibri"/>
                          <a:ea typeface="Calibri"/>
                          <a:cs typeface="Calibri"/>
                          <a:sym typeface="Calibri"/>
                        </a:rPr>
                        <a:t>Translation</a:t>
                      </a:r>
                      <a:endParaRPr sz="1400" u="none" strike="noStrike" cap="none"/>
                    </a:p>
                  </a:txBody>
                  <a:tcPr marL="108000" marR="0" marT="54000" marB="5400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chemeClr val="accent1"/>
                      </a:solidFill>
                      <a:prstDash val="solid"/>
                      <a:round/>
                      <a:headEnd type="none" w="sm" len="sm"/>
                      <a:tailEnd type="none" w="sm" len="sm"/>
                    </a:lnB>
                  </a:tcPr>
                </a:tc>
                <a:extLst>
                  <a:ext uri="{0D108BD9-81ED-4DB2-BD59-A6C34878D82A}">
                    <a16:rowId xmlns:a16="http://schemas.microsoft.com/office/drawing/2014/main" val="10000"/>
                  </a:ext>
                </a:extLst>
              </a:tr>
              <a:tr h="740800">
                <a:tc>
                  <a:txBody>
                    <a:bodyPr/>
                    <a:lstStyle/>
                    <a:p>
                      <a:pPr marL="0" marR="0" lvl="0" indent="0" algn="l" rtl="0">
                        <a:lnSpc>
                          <a:spcPct val="100000"/>
                        </a:lnSpc>
                        <a:spcBef>
                          <a:spcPts val="0"/>
                        </a:spcBef>
                        <a:spcAft>
                          <a:spcPts val="0"/>
                        </a:spcAft>
                        <a:buClr>
                          <a:srgbClr val="000000"/>
                        </a:buClr>
                        <a:buSzPts val="1500"/>
                        <a:buFont typeface="Arial"/>
                        <a:buNone/>
                      </a:pPr>
                      <a:r>
                        <a:rPr lang="en-US" sz="1500" b="0" i="0" u="none" strike="noStrike" cap="none">
                          <a:solidFill>
                            <a:schemeClr val="dk1"/>
                          </a:solidFill>
                          <a:latin typeface="Calibri"/>
                          <a:ea typeface="Calibri"/>
                          <a:cs typeface="Calibri"/>
                          <a:sym typeface="Calibri"/>
                        </a:rPr>
                        <a:t>Do not incur in </a:t>
                      </a:r>
                      <a:r>
                        <a:rPr lang="en-US" sz="1500" b="1" i="0" u="none" strike="noStrike" cap="none">
                          <a:solidFill>
                            <a:srgbClr val="000000"/>
                          </a:solidFill>
                          <a:latin typeface="Calibri"/>
                          <a:ea typeface="Calibri"/>
                          <a:cs typeface="Calibri"/>
                          <a:sym typeface="Calibri"/>
                        </a:rPr>
                        <a:t>multicurrency practices </a:t>
                      </a:r>
                      <a:r>
                        <a:rPr lang="en-US" sz="1500" b="0" i="0" u="none" strike="noStrike" cap="none">
                          <a:solidFill>
                            <a:schemeClr val="dk1"/>
                          </a:solidFill>
                          <a:latin typeface="Calibri"/>
                          <a:ea typeface="Calibri"/>
                          <a:cs typeface="Calibri"/>
                          <a:sym typeface="Calibri"/>
                        </a:rPr>
                        <a:t>providing a preferential foreign exchange rate to non-oil industries through large subsidies</a:t>
                      </a:r>
                      <a:endParaRPr sz="1400" u="none" strike="noStrike" cap="none"/>
                    </a:p>
                  </a:txBody>
                  <a:tcPr marL="0" marR="72000" marT="126000" marB="126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accent1"/>
                      </a:solidFill>
                      <a:prstDash val="solid"/>
                      <a:round/>
                      <a:headEnd type="none" w="sm" len="sm"/>
                      <a:tailEnd type="none" w="sm" len="sm"/>
                    </a:lnT>
                    <a:lnB w="9525" cap="flat" cmpd="sng">
                      <a:solidFill>
                        <a:srgbClr val="7F7F7F"/>
                      </a:solidFill>
                      <a:prstDash val="dash"/>
                      <a:round/>
                      <a:headEnd type="none" w="sm" len="sm"/>
                      <a:tailEnd type="none" w="sm" len="sm"/>
                    </a:lnB>
                  </a:tcPr>
                </a:tc>
                <a:tc>
                  <a:txBody>
                    <a:bodyPr/>
                    <a:lstStyle/>
                    <a:p>
                      <a:pPr marL="0" marR="0" lvl="0" indent="0" algn="r" rtl="1">
                        <a:lnSpc>
                          <a:spcPct val="100000"/>
                        </a:lnSpc>
                        <a:spcBef>
                          <a:spcPts val="0"/>
                        </a:spcBef>
                        <a:spcAft>
                          <a:spcPts val="0"/>
                        </a:spcAft>
                        <a:buClr>
                          <a:srgbClr val="000000"/>
                        </a:buClr>
                        <a:buSzPts val="1500"/>
                        <a:buFont typeface="Arial"/>
                        <a:buNone/>
                      </a:pPr>
                      <a:r>
                        <a:rPr lang="en-US" sz="1500" b="0" i="0" u="none" strike="noStrike" cap="none">
                          <a:solidFill>
                            <a:schemeClr val="dk1"/>
                          </a:solidFill>
                          <a:latin typeface="Calibri"/>
                          <a:ea typeface="Calibri"/>
                          <a:cs typeface="Calibri"/>
                          <a:sym typeface="Calibri"/>
                        </a:rPr>
                        <a:t>تجنب المزيد من التكاليف الناتجة عن اعتماد </a:t>
                      </a:r>
                      <a:r>
                        <a:rPr lang="en-US" sz="1500" b="1" i="0" u="none" strike="noStrike" cap="none">
                          <a:solidFill>
                            <a:schemeClr val="dk1"/>
                          </a:solidFill>
                          <a:latin typeface="Calibri"/>
                          <a:ea typeface="Calibri"/>
                          <a:cs typeface="Calibri"/>
                          <a:sym typeface="Calibri"/>
                        </a:rPr>
                        <a:t>نظام تعدد سعر صرف العملة</a:t>
                      </a:r>
                      <a:r>
                        <a:rPr lang="en-US" sz="1500" b="0" i="0" u="none" strike="noStrike" cap="none">
                          <a:solidFill>
                            <a:schemeClr val="dk1"/>
                          </a:solidFill>
                          <a:latin typeface="Calibri"/>
                          <a:ea typeface="Calibri"/>
                          <a:cs typeface="Calibri"/>
                          <a:sym typeface="Calibri"/>
                        </a:rPr>
                        <a:t> الذي يمنح الصناعات غير النفطية سعر صرف تفضيلي عبر تقديم الدعم المالي</a:t>
                      </a:r>
                      <a:endParaRPr sz="1400" u="none" strike="noStrike" cap="none"/>
                    </a:p>
                  </a:txBody>
                  <a:tcPr marL="324000" marR="0" marT="126000" marB="126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accent1"/>
                      </a:solidFill>
                      <a:prstDash val="solid"/>
                      <a:round/>
                      <a:headEnd type="none" w="sm" len="sm"/>
                      <a:tailEnd type="none" w="sm" len="sm"/>
                    </a:lnT>
                    <a:lnB w="9525" cap="flat" cmpd="sng">
                      <a:solidFill>
                        <a:srgbClr val="7F7F7F"/>
                      </a:solidFill>
                      <a:prstDash val="dash"/>
                      <a:round/>
                      <a:headEnd type="none" w="sm" len="sm"/>
                      <a:tailEnd type="none" w="sm" len="sm"/>
                    </a:lnB>
                  </a:tcPr>
                </a:tc>
                <a:extLst>
                  <a:ext uri="{0D108BD9-81ED-4DB2-BD59-A6C34878D82A}">
                    <a16:rowId xmlns:a16="http://schemas.microsoft.com/office/drawing/2014/main" val="10001"/>
                  </a:ext>
                </a:extLst>
              </a:tr>
              <a:tr h="1182300">
                <a:tc>
                  <a:txBody>
                    <a:bodyPr/>
                    <a:lstStyle/>
                    <a:p>
                      <a:pPr marL="0" marR="0" lvl="0" indent="0" algn="l" rtl="0">
                        <a:lnSpc>
                          <a:spcPct val="100000"/>
                        </a:lnSpc>
                        <a:spcBef>
                          <a:spcPts val="0"/>
                        </a:spcBef>
                        <a:spcAft>
                          <a:spcPts val="0"/>
                        </a:spcAft>
                        <a:buClr>
                          <a:srgbClr val="000000"/>
                        </a:buClr>
                        <a:buSzPts val="1500"/>
                        <a:buFont typeface="Arial"/>
                        <a:buNone/>
                      </a:pPr>
                      <a:r>
                        <a:rPr lang="en-US" sz="1500" b="1" i="0" u="none" strike="noStrike" cap="none">
                          <a:solidFill>
                            <a:srgbClr val="000000"/>
                          </a:solidFill>
                          <a:latin typeface="Calibri"/>
                          <a:ea typeface="Calibri"/>
                          <a:cs typeface="Calibri"/>
                          <a:sym typeface="Calibri"/>
                        </a:rPr>
                        <a:t>Active industry policies </a:t>
                      </a:r>
                      <a:r>
                        <a:rPr lang="en-US" sz="1500" b="0" i="0" u="none" strike="noStrike" cap="none">
                          <a:solidFill>
                            <a:schemeClr val="dk1"/>
                          </a:solidFill>
                          <a:latin typeface="Calibri"/>
                          <a:ea typeface="Calibri"/>
                          <a:cs typeface="Calibri"/>
                          <a:sym typeface="Calibri"/>
                        </a:rPr>
                        <a:t>are used frequently. Support industries but don't pick up winners</a:t>
                      </a:r>
                      <a:br>
                        <a:rPr lang="en-US" sz="1500" b="0" i="0" u="none" strike="noStrike" cap="none">
                          <a:solidFill>
                            <a:schemeClr val="dk1"/>
                          </a:solidFill>
                          <a:latin typeface="Calibri"/>
                          <a:ea typeface="Calibri"/>
                          <a:cs typeface="Calibri"/>
                          <a:sym typeface="Calibri"/>
                        </a:rPr>
                      </a:br>
                      <a:r>
                        <a:rPr lang="en-US" sz="1500" b="1" i="0" u="none" strike="noStrike" cap="none">
                          <a:solidFill>
                            <a:srgbClr val="000000"/>
                          </a:solidFill>
                          <a:latin typeface="Calibri"/>
                          <a:ea typeface="Calibri"/>
                          <a:cs typeface="Calibri"/>
                          <a:sym typeface="Calibri"/>
                        </a:rPr>
                        <a:t>Recommendation: </a:t>
                      </a:r>
                      <a:r>
                        <a:rPr lang="en-US" sz="1500" b="0" i="0" u="none" strike="noStrike" cap="none">
                          <a:solidFill>
                            <a:schemeClr val="dk1"/>
                          </a:solidFill>
                          <a:latin typeface="Calibri"/>
                          <a:ea typeface="Calibri"/>
                          <a:cs typeface="Calibri"/>
                          <a:sym typeface="Calibri"/>
                        </a:rPr>
                        <a:t>subsidies to be conditional to performance, time bound with  Sunset clause. Could however jeopardize good trade relations </a:t>
                      </a:r>
                      <a:endParaRPr sz="1400" u="none" strike="noStrike" cap="none"/>
                    </a:p>
                  </a:txBody>
                  <a:tcPr marL="0" marR="72000" marT="126000" marB="126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7F7F7F"/>
                      </a:solidFill>
                      <a:prstDash val="dash"/>
                      <a:round/>
                      <a:headEnd type="none" w="sm" len="sm"/>
                      <a:tailEnd type="none" w="sm" len="sm"/>
                    </a:lnT>
                    <a:lnB w="9525" cap="flat" cmpd="sng">
                      <a:solidFill>
                        <a:srgbClr val="7F7F7F"/>
                      </a:solidFill>
                      <a:prstDash val="dash"/>
                      <a:round/>
                      <a:headEnd type="none" w="sm" len="sm"/>
                      <a:tailEnd type="none" w="sm" len="sm"/>
                    </a:lnB>
                  </a:tcPr>
                </a:tc>
                <a:tc>
                  <a:txBody>
                    <a:bodyPr/>
                    <a:lstStyle/>
                    <a:p>
                      <a:pPr marL="0" marR="0" lvl="0" indent="0" algn="r" rtl="1">
                        <a:lnSpc>
                          <a:spcPct val="100000"/>
                        </a:lnSpc>
                        <a:spcBef>
                          <a:spcPts val="0"/>
                        </a:spcBef>
                        <a:spcAft>
                          <a:spcPts val="0"/>
                        </a:spcAft>
                        <a:buClr>
                          <a:srgbClr val="000000"/>
                        </a:buClr>
                        <a:buSzPts val="1500"/>
                        <a:buFont typeface="Arial"/>
                        <a:buNone/>
                      </a:pPr>
                      <a:r>
                        <a:rPr lang="en-US" sz="1500" b="1" i="0" u="none" strike="noStrike" cap="none">
                          <a:solidFill>
                            <a:schemeClr val="dk1"/>
                          </a:solidFill>
                          <a:latin typeface="Calibri"/>
                          <a:ea typeface="Calibri"/>
                          <a:cs typeface="Calibri"/>
                          <a:sym typeface="Calibri"/>
                        </a:rPr>
                        <a:t>سياسات دعم الصناعات النشطة </a:t>
                      </a:r>
                      <a:r>
                        <a:rPr lang="en-US" sz="1500" b="0" i="0" u="none" strike="noStrike" cap="none">
                          <a:solidFill>
                            <a:schemeClr val="dk1"/>
                          </a:solidFill>
                          <a:latin typeface="Calibri"/>
                          <a:ea typeface="Calibri"/>
                          <a:cs typeface="Calibri"/>
                          <a:sym typeface="Calibri"/>
                        </a:rPr>
                        <a:t>هي من أكثر أدوات السياسات استخداماً، حيث تعمل على دعم الصناعات بشكل عام وليس دعم الصناعات الرابحة فقط</a:t>
                      </a:r>
                      <a:br>
                        <a:rPr lang="en-US" sz="1500" b="0" i="0" u="none" strike="noStrike" cap="none">
                          <a:solidFill>
                            <a:schemeClr val="dk1"/>
                          </a:solidFill>
                          <a:latin typeface="Calibri"/>
                          <a:ea typeface="Calibri"/>
                          <a:cs typeface="Calibri"/>
                          <a:sym typeface="Calibri"/>
                        </a:rPr>
                      </a:br>
                      <a:r>
                        <a:rPr lang="en-US" sz="1500" b="1" i="0" u="none" strike="noStrike" cap="none">
                          <a:solidFill>
                            <a:schemeClr val="dk1"/>
                          </a:solidFill>
                          <a:latin typeface="Calibri"/>
                          <a:ea typeface="Calibri"/>
                          <a:cs typeface="Calibri"/>
                          <a:sym typeface="Calibri"/>
                        </a:rPr>
                        <a:t>التوصية: </a:t>
                      </a:r>
                      <a:r>
                        <a:rPr lang="en-US" sz="1500" b="0" i="0" u="none" strike="noStrike" cap="none">
                          <a:solidFill>
                            <a:schemeClr val="dk1"/>
                          </a:solidFill>
                          <a:latin typeface="Calibri"/>
                          <a:ea typeface="Calibri"/>
                          <a:cs typeface="Calibri"/>
                          <a:sym typeface="Calibri"/>
                        </a:rPr>
                        <a:t>ربط الدعم المالي بالأداء ووفق أجل محدد (بموجب بند خاص يُحدد أجل انقضاء الدعم)، إلا أن ذلك قد يؤثر سلبياً على العلاقات التجارية الجيدة مع الدول الأخرى. </a:t>
                      </a:r>
                      <a:endParaRPr sz="1400" u="none" strike="noStrike" cap="none"/>
                    </a:p>
                  </a:txBody>
                  <a:tcPr marL="324000" marR="0" marT="126000" marB="126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7F7F7F"/>
                      </a:solidFill>
                      <a:prstDash val="dash"/>
                      <a:round/>
                      <a:headEnd type="none" w="sm" len="sm"/>
                      <a:tailEnd type="none" w="sm" len="sm"/>
                    </a:lnT>
                    <a:lnB w="9525" cap="flat" cmpd="sng">
                      <a:solidFill>
                        <a:srgbClr val="7F7F7F"/>
                      </a:solidFill>
                      <a:prstDash val="dash"/>
                      <a:round/>
                      <a:headEnd type="none" w="sm" len="sm"/>
                      <a:tailEnd type="none" w="sm" len="sm"/>
                    </a:lnB>
                  </a:tcPr>
                </a:tc>
                <a:extLst>
                  <a:ext uri="{0D108BD9-81ED-4DB2-BD59-A6C34878D82A}">
                    <a16:rowId xmlns:a16="http://schemas.microsoft.com/office/drawing/2014/main" val="10002"/>
                  </a:ext>
                </a:extLst>
              </a:tr>
              <a:tr h="593625">
                <a:tc>
                  <a:txBody>
                    <a:bodyPr/>
                    <a:lstStyle/>
                    <a:p>
                      <a:pPr marL="0" marR="0" lvl="0" indent="0" algn="l" rtl="0">
                        <a:lnSpc>
                          <a:spcPct val="100000"/>
                        </a:lnSpc>
                        <a:spcBef>
                          <a:spcPts val="0"/>
                        </a:spcBef>
                        <a:spcAft>
                          <a:spcPts val="0"/>
                        </a:spcAft>
                        <a:buClr>
                          <a:srgbClr val="000000"/>
                        </a:buClr>
                        <a:buSzPts val="1500"/>
                        <a:buFont typeface="Arial"/>
                        <a:buNone/>
                      </a:pPr>
                      <a:r>
                        <a:rPr lang="en-US" sz="1500" b="0" i="0" u="none" strike="noStrike" cap="none">
                          <a:solidFill>
                            <a:schemeClr val="dk1"/>
                          </a:solidFill>
                          <a:latin typeface="Calibri"/>
                          <a:ea typeface="Calibri"/>
                          <a:cs typeface="Calibri"/>
                          <a:sym typeface="Calibri"/>
                        </a:rPr>
                        <a:t>Industry is already </a:t>
                      </a:r>
                      <a:r>
                        <a:rPr lang="en-US" sz="1500" b="1" i="0" u="none" strike="noStrike" cap="none">
                          <a:solidFill>
                            <a:srgbClr val="000000"/>
                          </a:solidFill>
                          <a:latin typeface="Calibri"/>
                          <a:ea typeface="Calibri"/>
                          <a:cs typeface="Calibri"/>
                          <a:sym typeface="Calibri"/>
                        </a:rPr>
                        <a:t>highly consolidated </a:t>
                      </a:r>
                      <a:r>
                        <a:rPr lang="en-US" sz="1500" b="0" i="0" u="none" strike="noStrike" cap="none">
                          <a:solidFill>
                            <a:schemeClr val="dk1"/>
                          </a:solidFill>
                          <a:latin typeface="Calibri"/>
                          <a:ea typeface="Calibri"/>
                          <a:cs typeface="Calibri"/>
                          <a:sym typeface="Calibri"/>
                        </a:rPr>
                        <a:t>with top 4 countries having a market share of 50+% for major crops </a:t>
                      </a:r>
                      <a:endParaRPr sz="1400" u="none" strike="noStrike" cap="none"/>
                    </a:p>
                  </a:txBody>
                  <a:tcPr marL="0" marR="72000" marT="126000" marB="126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7F7F7F"/>
                      </a:solidFill>
                      <a:prstDash val="dash"/>
                      <a:round/>
                      <a:headEnd type="none" w="sm" len="sm"/>
                      <a:tailEnd type="none" w="sm" len="sm"/>
                    </a:lnT>
                    <a:lnB w="9525" cap="flat" cmpd="sng">
                      <a:solidFill>
                        <a:srgbClr val="7F7F7F"/>
                      </a:solidFill>
                      <a:prstDash val="dash"/>
                      <a:round/>
                      <a:headEnd type="none" w="sm" len="sm"/>
                      <a:tailEnd type="none" w="sm" len="sm"/>
                    </a:lnB>
                  </a:tcPr>
                </a:tc>
                <a:tc>
                  <a:txBody>
                    <a:bodyPr/>
                    <a:lstStyle/>
                    <a:p>
                      <a:pPr marL="0" marR="0" lvl="0" indent="0" algn="r" rtl="1">
                        <a:lnSpc>
                          <a:spcPct val="100000"/>
                        </a:lnSpc>
                        <a:spcBef>
                          <a:spcPts val="0"/>
                        </a:spcBef>
                        <a:spcAft>
                          <a:spcPts val="0"/>
                        </a:spcAft>
                        <a:buClr>
                          <a:srgbClr val="000000"/>
                        </a:buClr>
                        <a:buSzPts val="1500"/>
                        <a:buFont typeface="Arial"/>
                        <a:buNone/>
                      </a:pPr>
                      <a:r>
                        <a:rPr lang="en-US" sz="1500" b="0" i="0" u="none" strike="noStrike" cap="none">
                          <a:solidFill>
                            <a:schemeClr val="dk1"/>
                          </a:solidFill>
                          <a:latin typeface="Calibri"/>
                          <a:ea typeface="Calibri"/>
                          <a:cs typeface="Calibri"/>
                          <a:sym typeface="Calibri"/>
                        </a:rPr>
                        <a:t>يخضع السوق </a:t>
                      </a:r>
                      <a:r>
                        <a:rPr lang="en-US" sz="1500" b="1" i="0" u="none" strike="noStrike" cap="none">
                          <a:solidFill>
                            <a:schemeClr val="dk1"/>
                          </a:solidFill>
                          <a:latin typeface="Calibri"/>
                          <a:ea typeface="Calibri"/>
                          <a:cs typeface="Calibri"/>
                          <a:sym typeface="Calibri"/>
                        </a:rPr>
                        <a:t>لسيطرة عدد محدود من الجهات الفاعلة </a:t>
                      </a:r>
                      <a:r>
                        <a:rPr lang="en-US" sz="1500" b="0" i="0" u="none" strike="noStrike" cap="none">
                          <a:solidFill>
                            <a:schemeClr val="dk1"/>
                          </a:solidFill>
                          <a:latin typeface="Calibri"/>
                          <a:ea typeface="Calibri"/>
                          <a:cs typeface="Calibri"/>
                          <a:sym typeface="Calibri"/>
                        </a:rPr>
                        <a:t>(تمتلك أكبر 4 دول حصة سوقية 50% من المحاصيل الرئيسية) </a:t>
                      </a:r>
                      <a:endParaRPr sz="1400" u="none" strike="noStrike" cap="none"/>
                    </a:p>
                  </a:txBody>
                  <a:tcPr marL="324000" marR="0" marT="126000" marB="126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7F7F7F"/>
                      </a:solidFill>
                      <a:prstDash val="dash"/>
                      <a:round/>
                      <a:headEnd type="none" w="sm" len="sm"/>
                      <a:tailEnd type="none" w="sm" len="sm"/>
                    </a:lnT>
                    <a:lnB w="9525" cap="flat" cmpd="sng">
                      <a:solidFill>
                        <a:srgbClr val="7F7F7F"/>
                      </a:solidFill>
                      <a:prstDash val="dash"/>
                      <a:round/>
                      <a:headEnd type="none" w="sm" len="sm"/>
                      <a:tailEnd type="none" w="sm" len="sm"/>
                    </a:lnB>
                  </a:tcPr>
                </a:tc>
                <a:extLst>
                  <a:ext uri="{0D108BD9-81ED-4DB2-BD59-A6C34878D82A}">
                    <a16:rowId xmlns:a16="http://schemas.microsoft.com/office/drawing/2014/main" val="10003"/>
                  </a:ext>
                </a:extLst>
              </a:tr>
              <a:tr h="887950">
                <a:tc>
                  <a:txBody>
                    <a:bodyPr/>
                    <a:lstStyle/>
                    <a:p>
                      <a:pPr marL="0" marR="0" lvl="0" indent="0" algn="l" rtl="0">
                        <a:lnSpc>
                          <a:spcPct val="100000"/>
                        </a:lnSpc>
                        <a:spcBef>
                          <a:spcPts val="0"/>
                        </a:spcBef>
                        <a:spcAft>
                          <a:spcPts val="0"/>
                        </a:spcAft>
                        <a:buClr>
                          <a:schemeClr val="dk1"/>
                        </a:buClr>
                        <a:buSzPts val="1500"/>
                        <a:buFont typeface="Arial"/>
                        <a:buNone/>
                      </a:pPr>
                      <a:r>
                        <a:rPr lang="en-US" sz="1500" b="0" i="0" u="none" strike="noStrike" cap="none">
                          <a:solidFill>
                            <a:schemeClr val="dk1"/>
                          </a:solidFill>
                          <a:latin typeface="Calibri"/>
                          <a:ea typeface="Calibri"/>
                          <a:cs typeface="Calibri"/>
                          <a:sym typeface="Calibri"/>
                        </a:rPr>
                        <a:t>Countries with pegged currencies, who have interest in maintaining reserves to keep peg, as follows:</a:t>
                      </a:r>
                      <a:endParaRPr sz="1400" u="none" strike="noStrike" cap="none"/>
                    </a:p>
                    <a:p>
                      <a:pPr marL="0" marR="0" lvl="0" indent="0" algn="l" rtl="0">
                        <a:lnSpc>
                          <a:spcPct val="100000"/>
                        </a:lnSpc>
                        <a:spcBef>
                          <a:spcPts val="0"/>
                        </a:spcBef>
                        <a:spcAft>
                          <a:spcPts val="0"/>
                        </a:spcAft>
                        <a:buClr>
                          <a:schemeClr val="dk1"/>
                        </a:buClr>
                        <a:buSzPts val="1500"/>
                        <a:buFont typeface="Arial"/>
                        <a:buNone/>
                      </a:pPr>
                      <a:r>
                        <a:rPr lang="en-US" sz="1500" b="0" i="0" u="none" strike="noStrike" cap="none">
                          <a:solidFill>
                            <a:schemeClr val="dk1"/>
                          </a:solidFill>
                          <a:latin typeface="Calibri"/>
                          <a:ea typeface="Calibri"/>
                          <a:cs typeface="Calibri"/>
                          <a:sym typeface="Calibri"/>
                        </a:rPr>
                        <a:t>Hard pegs to USD or currency basket</a:t>
                      </a:r>
                      <a:endParaRPr sz="1400" u="none" strike="noStrike" cap="none"/>
                    </a:p>
                    <a:p>
                      <a:pPr marL="0" marR="0" lvl="0" indent="0" algn="l" rtl="0">
                        <a:lnSpc>
                          <a:spcPct val="100000"/>
                        </a:lnSpc>
                        <a:spcBef>
                          <a:spcPts val="0"/>
                        </a:spcBef>
                        <a:spcAft>
                          <a:spcPts val="0"/>
                        </a:spcAft>
                        <a:buClr>
                          <a:schemeClr val="dk1"/>
                        </a:buClr>
                        <a:buSzPts val="1500"/>
                        <a:buFont typeface="Arial"/>
                        <a:buNone/>
                      </a:pPr>
                      <a:r>
                        <a:rPr lang="en-US" sz="1500" b="0" i="0" u="none" strike="noStrike" cap="none">
                          <a:solidFill>
                            <a:schemeClr val="dk1"/>
                          </a:solidFill>
                          <a:latin typeface="Calibri"/>
                          <a:ea typeface="Calibri"/>
                          <a:cs typeface="Calibri"/>
                          <a:sym typeface="Calibri"/>
                        </a:rPr>
                        <a:t>Pseudo pegs to EUR</a:t>
                      </a:r>
                      <a:endParaRPr sz="1400" u="none" strike="noStrike" cap="none"/>
                    </a:p>
                  </a:txBody>
                  <a:tcPr marL="0" marR="72000" marT="126000" marB="126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7F7F7F"/>
                      </a:solidFill>
                      <a:prstDash val="dash"/>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marR="0" lvl="0" indent="0" algn="r" rtl="1">
                        <a:lnSpc>
                          <a:spcPct val="100000"/>
                        </a:lnSpc>
                        <a:spcBef>
                          <a:spcPts val="0"/>
                        </a:spcBef>
                        <a:spcAft>
                          <a:spcPts val="0"/>
                        </a:spcAft>
                        <a:buClr>
                          <a:srgbClr val="000000"/>
                        </a:buClr>
                        <a:buSzPts val="1500"/>
                        <a:buFont typeface="Arial"/>
                        <a:buNone/>
                      </a:pPr>
                      <a:r>
                        <a:rPr lang="en-US" sz="1500" b="0" i="0" u="none" strike="noStrike" cap="none">
                          <a:solidFill>
                            <a:schemeClr val="dk1"/>
                          </a:solidFill>
                          <a:latin typeface="Calibri"/>
                          <a:ea typeface="Calibri"/>
                          <a:cs typeface="Calibri"/>
                          <a:sym typeface="Calibri"/>
                        </a:rPr>
                        <a:t>الدول التي ترتبط عملاتها بالعملات الأجنبية، والتي تسعى إلى الحفاظ على مستويات الاحتياطي النقدي الأجنبي لتثبيت سعر صرف عملتها كالآتي:</a:t>
                      </a:r>
                      <a:br>
                        <a:rPr lang="en-US" sz="1500" b="0" i="0" u="none" strike="noStrike" cap="none">
                          <a:solidFill>
                            <a:schemeClr val="dk1"/>
                          </a:solidFill>
                          <a:latin typeface="Calibri"/>
                          <a:ea typeface="Calibri"/>
                          <a:cs typeface="Calibri"/>
                          <a:sym typeface="Calibri"/>
                        </a:rPr>
                      </a:br>
                      <a:r>
                        <a:rPr lang="en-US" sz="1500" b="0" i="0" u="none" strike="noStrike" cap="none">
                          <a:solidFill>
                            <a:schemeClr val="dk1"/>
                          </a:solidFill>
                          <a:latin typeface="Calibri"/>
                          <a:ea typeface="Calibri"/>
                          <a:cs typeface="Calibri"/>
                          <a:sym typeface="Calibri"/>
                        </a:rPr>
                        <a:t>* سعر الصرف الثابت مع الدولار أو سلة عملات أخرى</a:t>
                      </a:r>
                      <a:br>
                        <a:rPr lang="en-US" sz="1500" b="0" i="0" u="none" strike="noStrike" cap="none">
                          <a:solidFill>
                            <a:schemeClr val="dk1"/>
                          </a:solidFill>
                          <a:latin typeface="Calibri"/>
                          <a:ea typeface="Calibri"/>
                          <a:cs typeface="Calibri"/>
                          <a:sym typeface="Calibri"/>
                        </a:rPr>
                      </a:br>
                      <a:r>
                        <a:rPr lang="en-US" sz="1500" b="0" i="0" u="none" strike="noStrike" cap="none">
                          <a:solidFill>
                            <a:schemeClr val="dk1"/>
                          </a:solidFill>
                          <a:latin typeface="Calibri"/>
                          <a:ea typeface="Calibri"/>
                          <a:cs typeface="Calibri"/>
                          <a:sym typeface="Calibri"/>
                        </a:rPr>
                        <a:t>* سعر الصرف الشبه ثابت مع اليورو</a:t>
                      </a:r>
                      <a:endParaRPr sz="1400" u="none" strike="noStrike" cap="none"/>
                    </a:p>
                  </a:txBody>
                  <a:tcPr marL="324000" marR="0" marT="126000" marB="126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7F7F7F"/>
                      </a:solidFill>
                      <a:prstDash val="dash"/>
                      <a:round/>
                      <a:headEnd type="none" w="sm" len="sm"/>
                      <a:tailEnd type="none" w="sm" len="sm"/>
                    </a:lnT>
                    <a:lnB w="12700" cap="flat" cmpd="sng">
                      <a:solidFill>
                        <a:schemeClr val="accent1"/>
                      </a:solidFill>
                      <a:prstDash val="solid"/>
                      <a:round/>
                      <a:headEnd type="none" w="sm" len="sm"/>
                      <a:tailEnd type="none" w="sm" len="sm"/>
                    </a:lnB>
                  </a:tcPr>
                </a:tc>
                <a:extLst>
                  <a:ext uri="{0D108BD9-81ED-4DB2-BD59-A6C34878D82A}">
                    <a16:rowId xmlns:a16="http://schemas.microsoft.com/office/drawing/2014/main" val="10004"/>
                  </a:ext>
                </a:extLst>
              </a:tr>
            </a:tbl>
          </a:graphicData>
        </a:graphic>
      </p:graphicFrame>
      <p:sp>
        <p:nvSpPr>
          <p:cNvPr id="2511" name="Google Shape;2511;p32"/>
          <p:cNvSpPr txBox="1"/>
          <p:nvPr/>
        </p:nvSpPr>
        <p:spPr>
          <a:xfrm>
            <a:off x="398065" y="1494581"/>
            <a:ext cx="2912293" cy="2308324"/>
          </a:xfrm>
          <a:prstGeom prst="rect">
            <a:avLst/>
          </a:prstGeom>
          <a:noFill/>
          <a:ln>
            <a:noFill/>
          </a:ln>
        </p:spPr>
        <p:txBody>
          <a:bodyPr spcFirstLastPara="1" wrap="square" lIns="0" tIns="45700" rIns="0" bIns="45700" anchor="t" anchorCtr="0">
            <a:spAutoFit/>
          </a:bodyPr>
          <a:lstStyle/>
          <a:p>
            <a:pPr marL="0" marR="0" lvl="0" indent="0" algn="l" rtl="0">
              <a:lnSpc>
                <a:spcPct val="100000"/>
              </a:lnSpc>
              <a:spcBef>
                <a:spcPts val="0"/>
              </a:spcBef>
              <a:spcAft>
                <a:spcPts val="0"/>
              </a:spcAft>
              <a:buClr>
                <a:schemeClr val="dk1"/>
              </a:buClr>
              <a:buSzPts val="1800"/>
              <a:buFont typeface="Calibri"/>
              <a:buNone/>
            </a:pPr>
            <a:r>
              <a:rPr lang="en-US" sz="1800" b="0" i="0" u="none" strike="noStrike" cap="none">
                <a:solidFill>
                  <a:schemeClr val="dk1"/>
                </a:solidFill>
                <a:latin typeface="Calibri"/>
                <a:ea typeface="Calibri"/>
                <a:cs typeface="Calibri"/>
                <a:sym typeface="Calibri"/>
              </a:rPr>
              <a:t>We helped a multinational consulting firm deliver an economic policy study to a ministry in Saudi Arabia, after the translated work was rejected by the ministry due to poor quality from other vendors</a:t>
            </a:r>
            <a:endParaRPr sz="1800" b="0" i="0" u="none" strike="noStrike" cap="none">
              <a:solidFill>
                <a:schemeClr val="dk1"/>
              </a:solidFill>
              <a:latin typeface="Calibri"/>
              <a:ea typeface="Calibri"/>
              <a:cs typeface="Calibri"/>
              <a:sym typeface="Calibri"/>
            </a:endParaRPr>
          </a:p>
        </p:txBody>
      </p:sp>
      <p:grpSp>
        <p:nvGrpSpPr>
          <p:cNvPr id="2512" name="Google Shape;2512;p32"/>
          <p:cNvGrpSpPr/>
          <p:nvPr/>
        </p:nvGrpSpPr>
        <p:grpSpPr>
          <a:xfrm>
            <a:off x="10881886" y="135255"/>
            <a:ext cx="1141311" cy="468742"/>
            <a:chOff x="10881886" y="135255"/>
            <a:chExt cx="1141311" cy="468742"/>
          </a:xfrm>
        </p:grpSpPr>
        <p:grpSp>
          <p:nvGrpSpPr>
            <p:cNvPr id="2513" name="Google Shape;2513;p32"/>
            <p:cNvGrpSpPr/>
            <p:nvPr/>
          </p:nvGrpSpPr>
          <p:grpSpPr>
            <a:xfrm>
              <a:off x="10881886" y="135255"/>
              <a:ext cx="1141311" cy="468742"/>
              <a:chOff x="10881886" y="135255"/>
              <a:chExt cx="1141311" cy="468742"/>
            </a:xfrm>
          </p:grpSpPr>
          <p:sp>
            <p:nvSpPr>
              <p:cNvPr id="2514" name="Google Shape;2514;p32"/>
              <p:cNvSpPr txBox="1"/>
              <p:nvPr/>
            </p:nvSpPr>
            <p:spPr>
              <a:xfrm>
                <a:off x="10881886" y="230150"/>
                <a:ext cx="628378" cy="2769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Business </a:t>
                </a:r>
                <a:endParaRPr sz="1400" b="0" i="0" u="none" strike="noStrike" cap="none">
                  <a:solidFill>
                    <a:srgbClr val="000000"/>
                  </a:solidFill>
                  <a:latin typeface="Arial"/>
                  <a:ea typeface="Arial"/>
                  <a:cs typeface="Arial"/>
                  <a:sym typeface="Arial"/>
                </a:endParaRPr>
              </a:p>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Translation</a:t>
                </a:r>
                <a:endParaRPr sz="1400" b="0" i="0" u="none" strike="noStrike" cap="none">
                  <a:solidFill>
                    <a:srgbClr val="000000"/>
                  </a:solidFill>
                  <a:latin typeface="Arial"/>
                  <a:ea typeface="Arial"/>
                  <a:cs typeface="Arial"/>
                  <a:sym typeface="Arial"/>
                </a:endParaRPr>
              </a:p>
            </p:txBody>
          </p:sp>
          <p:sp>
            <p:nvSpPr>
              <p:cNvPr id="2515" name="Google Shape;2515;p32"/>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grpSp>
          <p:nvGrpSpPr>
            <p:cNvPr id="2516" name="Google Shape;2516;p32"/>
            <p:cNvGrpSpPr/>
            <p:nvPr/>
          </p:nvGrpSpPr>
          <p:grpSpPr>
            <a:xfrm>
              <a:off x="11701145" y="220980"/>
              <a:ext cx="175360" cy="295338"/>
              <a:chOff x="6689308" y="2024976"/>
              <a:chExt cx="325986" cy="549024"/>
            </a:xfrm>
          </p:grpSpPr>
          <p:sp>
            <p:nvSpPr>
              <p:cNvPr id="2517" name="Google Shape;2517;p32"/>
              <p:cNvSpPr/>
              <p:nvPr/>
            </p:nvSpPr>
            <p:spPr>
              <a:xfrm>
                <a:off x="6689308" y="2024976"/>
                <a:ext cx="325986" cy="549024"/>
              </a:xfrm>
              <a:custGeom>
                <a:avLst/>
                <a:gdLst/>
                <a:ahLst/>
                <a:cxnLst/>
                <a:rect l="l" t="t" r="r" b="b"/>
                <a:pathLst>
                  <a:path w="325986" h="549024" extrusionOk="0">
                    <a:moveTo>
                      <a:pt x="304900" y="0"/>
                    </a:moveTo>
                    <a:lnTo>
                      <a:pt x="24663" y="0"/>
                    </a:lnTo>
                    <a:cubicBezTo>
                      <a:pt x="11049" y="17"/>
                      <a:pt x="17" y="11049"/>
                      <a:pt x="0" y="24663"/>
                    </a:cubicBezTo>
                    <a:lnTo>
                      <a:pt x="0" y="524361"/>
                    </a:lnTo>
                    <a:cubicBezTo>
                      <a:pt x="17" y="537975"/>
                      <a:pt x="11049" y="549007"/>
                      <a:pt x="24663" y="549024"/>
                    </a:cubicBezTo>
                    <a:lnTo>
                      <a:pt x="304900" y="549024"/>
                    </a:lnTo>
                    <a:cubicBezTo>
                      <a:pt x="318516" y="549011"/>
                      <a:pt x="329551" y="537975"/>
                      <a:pt x="329563" y="524361"/>
                    </a:cubicBezTo>
                    <a:lnTo>
                      <a:pt x="329563" y="24663"/>
                    </a:lnTo>
                    <a:cubicBezTo>
                      <a:pt x="329551" y="11048"/>
                      <a:pt x="318516" y="14"/>
                      <a:pt x="304900" y="0"/>
                    </a:cubicBezTo>
                    <a:close/>
                    <a:moveTo>
                      <a:pt x="240852" y="15012"/>
                    </a:moveTo>
                    <a:lnTo>
                      <a:pt x="223313" y="32538"/>
                    </a:lnTo>
                    <a:cubicBezTo>
                      <a:pt x="216691" y="39189"/>
                      <a:pt x="207684" y="42917"/>
                      <a:pt x="198298" y="42893"/>
                    </a:cubicBezTo>
                    <a:lnTo>
                      <a:pt x="131265" y="42893"/>
                    </a:lnTo>
                    <a:cubicBezTo>
                      <a:pt x="121879" y="42917"/>
                      <a:pt x="112873" y="39189"/>
                      <a:pt x="106250" y="32538"/>
                    </a:cubicBezTo>
                    <a:lnTo>
                      <a:pt x="88711" y="15012"/>
                    </a:lnTo>
                    <a:close/>
                    <a:moveTo>
                      <a:pt x="314551" y="524361"/>
                    </a:moveTo>
                    <a:cubicBezTo>
                      <a:pt x="314544" y="529688"/>
                      <a:pt x="310227" y="534003"/>
                      <a:pt x="304900" y="534012"/>
                    </a:cubicBezTo>
                    <a:lnTo>
                      <a:pt x="24663" y="534012"/>
                    </a:lnTo>
                    <a:cubicBezTo>
                      <a:pt x="19336" y="534003"/>
                      <a:pt x="15020" y="529688"/>
                      <a:pt x="15013" y="524361"/>
                    </a:cubicBezTo>
                    <a:lnTo>
                      <a:pt x="15013" y="24663"/>
                    </a:lnTo>
                    <a:cubicBezTo>
                      <a:pt x="15020" y="19336"/>
                      <a:pt x="19336" y="15019"/>
                      <a:pt x="24663" y="15012"/>
                    </a:cubicBezTo>
                    <a:lnTo>
                      <a:pt x="67471" y="15012"/>
                    </a:lnTo>
                    <a:lnTo>
                      <a:pt x="95638" y="43163"/>
                    </a:lnTo>
                    <a:cubicBezTo>
                      <a:pt x="105072" y="52633"/>
                      <a:pt x="117898" y="57940"/>
                      <a:pt x="131265" y="57905"/>
                    </a:cubicBezTo>
                    <a:lnTo>
                      <a:pt x="198298" y="57905"/>
                    </a:lnTo>
                    <a:cubicBezTo>
                      <a:pt x="211665" y="57940"/>
                      <a:pt x="224492" y="52633"/>
                      <a:pt x="233925" y="43163"/>
                    </a:cubicBezTo>
                    <a:lnTo>
                      <a:pt x="262093" y="15012"/>
                    </a:lnTo>
                    <a:lnTo>
                      <a:pt x="304900" y="15012"/>
                    </a:lnTo>
                    <a:cubicBezTo>
                      <a:pt x="310227" y="15019"/>
                      <a:pt x="314544" y="19336"/>
                      <a:pt x="314551" y="2466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18" name="Google Shape;2518;p32"/>
              <p:cNvSpPr/>
              <p:nvPr/>
            </p:nvSpPr>
            <p:spPr>
              <a:xfrm>
                <a:off x="6732201" y="2110795"/>
                <a:ext cx="85786" cy="98653"/>
              </a:xfrm>
              <a:custGeom>
                <a:avLst/>
                <a:gdLst/>
                <a:ahLst/>
                <a:cxnLst/>
                <a:rect l="l" t="t" r="r" b="b"/>
                <a:pathLst>
                  <a:path w="85785" h="98652" extrusionOk="0">
                    <a:moveTo>
                      <a:pt x="5040" y="98734"/>
                    </a:moveTo>
                    <a:cubicBezTo>
                      <a:pt x="8946" y="100102"/>
                      <a:pt x="13221" y="98044"/>
                      <a:pt x="14588" y="94138"/>
                    </a:cubicBezTo>
                    <a:cubicBezTo>
                      <a:pt x="14591" y="94130"/>
                      <a:pt x="14594" y="94122"/>
                      <a:pt x="14597" y="94115"/>
                    </a:cubicBezTo>
                    <a:lnTo>
                      <a:pt x="27499" y="57081"/>
                    </a:lnTo>
                    <a:lnTo>
                      <a:pt x="62242" y="57081"/>
                    </a:lnTo>
                    <a:lnTo>
                      <a:pt x="75136" y="94115"/>
                    </a:lnTo>
                    <a:cubicBezTo>
                      <a:pt x="76715" y="97948"/>
                      <a:pt x="81102" y="99776"/>
                      <a:pt x="84935" y="98197"/>
                    </a:cubicBezTo>
                    <a:cubicBezTo>
                      <a:pt x="88471" y="96740"/>
                      <a:pt x="90347" y="92858"/>
                      <a:pt x="89290" y="89182"/>
                    </a:cubicBezTo>
                    <a:lnTo>
                      <a:pt x="59994" y="5040"/>
                    </a:lnTo>
                    <a:cubicBezTo>
                      <a:pt x="58944" y="2022"/>
                      <a:pt x="56099" y="0"/>
                      <a:pt x="52904" y="0"/>
                    </a:cubicBezTo>
                    <a:lnTo>
                      <a:pt x="36819" y="0"/>
                    </a:lnTo>
                    <a:cubicBezTo>
                      <a:pt x="33624" y="0"/>
                      <a:pt x="30779" y="2022"/>
                      <a:pt x="29729" y="5040"/>
                    </a:cubicBezTo>
                    <a:lnTo>
                      <a:pt x="420" y="89182"/>
                    </a:lnTo>
                    <a:cubicBezTo>
                      <a:pt x="-944" y="93092"/>
                      <a:pt x="1120" y="97367"/>
                      <a:pt x="5030" y="98731"/>
                    </a:cubicBezTo>
                    <a:cubicBezTo>
                      <a:pt x="5034" y="98732"/>
                      <a:pt x="5037" y="98733"/>
                      <a:pt x="5040" y="98734"/>
                    </a:cubicBezTo>
                    <a:close/>
                    <a:moveTo>
                      <a:pt x="42151" y="15012"/>
                    </a:moveTo>
                    <a:lnTo>
                      <a:pt x="47568" y="15012"/>
                    </a:lnTo>
                    <a:lnTo>
                      <a:pt x="57005" y="42069"/>
                    </a:lnTo>
                    <a:lnTo>
                      <a:pt x="32727" y="4206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19" name="Google Shape;2519;p32"/>
              <p:cNvSpPr/>
              <p:nvPr/>
            </p:nvSpPr>
            <p:spPr>
              <a:xfrm>
                <a:off x="6886259" y="2110795"/>
                <a:ext cx="85786" cy="98653"/>
              </a:xfrm>
              <a:custGeom>
                <a:avLst/>
                <a:gdLst/>
                <a:ahLst/>
                <a:cxnLst/>
                <a:rect l="l" t="t" r="r" b="b"/>
                <a:pathLst>
                  <a:path w="85785" h="98652" extrusionOk="0">
                    <a:moveTo>
                      <a:pt x="82213" y="24629"/>
                    </a:moveTo>
                    <a:lnTo>
                      <a:pt x="52368" y="24629"/>
                    </a:lnTo>
                    <a:lnTo>
                      <a:pt x="52368" y="7506"/>
                    </a:lnTo>
                    <a:cubicBezTo>
                      <a:pt x="52368" y="3361"/>
                      <a:pt x="49007" y="0"/>
                      <a:pt x="44862" y="0"/>
                    </a:cubicBezTo>
                    <a:cubicBezTo>
                      <a:pt x="40716" y="0"/>
                      <a:pt x="37355" y="3361"/>
                      <a:pt x="37355" y="7506"/>
                    </a:cubicBezTo>
                    <a:lnTo>
                      <a:pt x="37355" y="24629"/>
                    </a:lnTo>
                    <a:lnTo>
                      <a:pt x="7506" y="24629"/>
                    </a:lnTo>
                    <a:cubicBezTo>
                      <a:pt x="3361" y="24629"/>
                      <a:pt x="0" y="27990"/>
                      <a:pt x="0" y="32135"/>
                    </a:cubicBezTo>
                    <a:cubicBezTo>
                      <a:pt x="0" y="36281"/>
                      <a:pt x="3361" y="39641"/>
                      <a:pt x="7506" y="39641"/>
                    </a:cubicBezTo>
                    <a:lnTo>
                      <a:pt x="17873" y="39641"/>
                    </a:lnTo>
                    <a:lnTo>
                      <a:pt x="17873" y="41027"/>
                    </a:lnTo>
                    <a:cubicBezTo>
                      <a:pt x="17867" y="52418"/>
                      <a:pt x="22457" y="63330"/>
                      <a:pt x="30604" y="71292"/>
                    </a:cubicBezTo>
                    <a:lnTo>
                      <a:pt x="4066" y="84974"/>
                    </a:lnTo>
                    <a:cubicBezTo>
                      <a:pt x="456" y="87016"/>
                      <a:pt x="-816" y="91599"/>
                      <a:pt x="1226" y="95209"/>
                    </a:cubicBezTo>
                    <a:cubicBezTo>
                      <a:pt x="3154" y="98618"/>
                      <a:pt x="7378" y="99973"/>
                      <a:pt x="10929" y="98322"/>
                    </a:cubicBezTo>
                    <a:lnTo>
                      <a:pt x="44845" y="80831"/>
                    </a:lnTo>
                    <a:lnTo>
                      <a:pt x="78756" y="98322"/>
                    </a:lnTo>
                    <a:cubicBezTo>
                      <a:pt x="82366" y="100365"/>
                      <a:pt x="86948" y="99093"/>
                      <a:pt x="88990" y="95483"/>
                    </a:cubicBezTo>
                    <a:cubicBezTo>
                      <a:pt x="91032" y="91872"/>
                      <a:pt x="89761" y="87290"/>
                      <a:pt x="86151" y="85248"/>
                    </a:cubicBezTo>
                    <a:cubicBezTo>
                      <a:pt x="85977" y="85150"/>
                      <a:pt x="85800" y="85058"/>
                      <a:pt x="85619" y="84974"/>
                    </a:cubicBezTo>
                    <a:lnTo>
                      <a:pt x="59085" y="71292"/>
                    </a:lnTo>
                    <a:cubicBezTo>
                      <a:pt x="67232" y="63329"/>
                      <a:pt x="71821" y="52415"/>
                      <a:pt x="71811" y="41022"/>
                    </a:cubicBezTo>
                    <a:lnTo>
                      <a:pt x="71811" y="39641"/>
                    </a:lnTo>
                    <a:lnTo>
                      <a:pt x="82179" y="39641"/>
                    </a:lnTo>
                    <a:cubicBezTo>
                      <a:pt x="86324" y="39641"/>
                      <a:pt x="89685" y="36281"/>
                      <a:pt x="89685" y="32135"/>
                    </a:cubicBezTo>
                    <a:cubicBezTo>
                      <a:pt x="89685" y="27990"/>
                      <a:pt x="86324" y="24629"/>
                      <a:pt x="82179" y="24629"/>
                    </a:cubicBezTo>
                    <a:close/>
                    <a:moveTo>
                      <a:pt x="56833" y="41022"/>
                    </a:moveTo>
                    <a:cubicBezTo>
                      <a:pt x="56848" y="50092"/>
                      <a:pt x="52363" y="58580"/>
                      <a:pt x="44862" y="63678"/>
                    </a:cubicBezTo>
                    <a:cubicBezTo>
                      <a:pt x="37360" y="58580"/>
                      <a:pt x="32874" y="50093"/>
                      <a:pt x="32886" y="41022"/>
                    </a:cubicBezTo>
                    <a:lnTo>
                      <a:pt x="32886" y="39641"/>
                    </a:lnTo>
                    <a:lnTo>
                      <a:pt x="56833" y="39641"/>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20" name="Google Shape;2520;p32"/>
              <p:cNvSpPr/>
              <p:nvPr/>
            </p:nvSpPr>
            <p:spPr>
              <a:xfrm>
                <a:off x="6832510" y="2152864"/>
                <a:ext cx="42893" cy="12868"/>
              </a:xfrm>
              <a:custGeom>
                <a:avLst/>
                <a:gdLst/>
                <a:ahLst/>
                <a:cxnLst/>
                <a:rect l="l" t="t" r="r" b="b"/>
                <a:pathLst>
                  <a:path w="42892" h="12867" extrusionOk="0">
                    <a:moveTo>
                      <a:pt x="7506" y="15012"/>
                    </a:moveTo>
                    <a:lnTo>
                      <a:pt x="35653" y="15012"/>
                    </a:lnTo>
                    <a:cubicBezTo>
                      <a:pt x="39798" y="15012"/>
                      <a:pt x="43159" y="11652"/>
                      <a:pt x="43159" y="7506"/>
                    </a:cubicBezTo>
                    <a:cubicBezTo>
                      <a:pt x="43159" y="3361"/>
                      <a:pt x="39798" y="0"/>
                      <a:pt x="35653"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21" name="Google Shape;2521;p32"/>
              <p:cNvSpPr/>
              <p:nvPr/>
            </p:nvSpPr>
            <p:spPr>
              <a:xfrm>
                <a:off x="6732201" y="223786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22" name="Google Shape;2522;p32"/>
              <p:cNvSpPr/>
              <p:nvPr/>
            </p:nvSpPr>
            <p:spPr>
              <a:xfrm>
                <a:off x="6756508" y="2288113"/>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23" name="Google Shape;2523;p32"/>
              <p:cNvSpPr/>
              <p:nvPr/>
            </p:nvSpPr>
            <p:spPr>
              <a:xfrm>
                <a:off x="6732201" y="2338361"/>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24" name="Google Shape;2524;p32"/>
              <p:cNvSpPr/>
              <p:nvPr/>
            </p:nvSpPr>
            <p:spPr>
              <a:xfrm>
                <a:off x="6756508" y="2388606"/>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25" name="Google Shape;2525;p32"/>
              <p:cNvSpPr/>
              <p:nvPr/>
            </p:nvSpPr>
            <p:spPr>
              <a:xfrm>
                <a:off x="6732201" y="243885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26" name="Google Shape;2526;p32"/>
              <p:cNvSpPr/>
              <p:nvPr/>
            </p:nvSpPr>
            <p:spPr>
              <a:xfrm>
                <a:off x="6756508" y="2491764"/>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2530"/>
        <p:cNvGrpSpPr/>
        <p:nvPr/>
      </p:nvGrpSpPr>
      <p:grpSpPr>
        <a:xfrm>
          <a:off x="0" y="0"/>
          <a:ext cx="0" cy="0"/>
          <a:chOff x="0" y="0"/>
          <a:chExt cx="0" cy="0"/>
        </a:xfrm>
      </p:grpSpPr>
      <p:pic>
        <p:nvPicPr>
          <p:cNvPr id="2531" name="Google Shape;2531;p33"/>
          <p:cNvPicPr preferRelativeResize="0"/>
          <p:nvPr/>
        </p:nvPicPr>
        <p:blipFill rotWithShape="1">
          <a:blip r:embed="rId3">
            <a:alphaModFix/>
          </a:blip>
          <a:srcRect/>
          <a:stretch/>
        </p:blipFill>
        <p:spPr>
          <a:xfrm>
            <a:off x="7429500" y="0"/>
            <a:ext cx="4762500" cy="6858000"/>
          </a:xfrm>
          <a:prstGeom prst="rect">
            <a:avLst/>
          </a:prstGeom>
          <a:noFill/>
          <a:ln>
            <a:noFill/>
          </a:ln>
        </p:spPr>
      </p:pic>
      <p:sp>
        <p:nvSpPr>
          <p:cNvPr id="2532" name="Google Shape;2532;p33"/>
          <p:cNvSpPr txBox="1">
            <a:spLocks noGrp="1"/>
          </p:cNvSpPr>
          <p:nvPr>
            <p:ph type="title"/>
          </p:nvPr>
        </p:nvSpPr>
        <p:spPr>
          <a:xfrm>
            <a:off x="539400"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100"/>
              <a:buFont typeface="Franklin Gothic"/>
              <a:buNone/>
            </a:pPr>
            <a:r>
              <a:rPr lang="en-US" sz="3100"/>
              <a:t>Our work - Client’s internal documents</a:t>
            </a:r>
            <a:endParaRPr/>
          </a:p>
        </p:txBody>
      </p:sp>
      <p:graphicFrame>
        <p:nvGraphicFramePr>
          <p:cNvPr id="2533" name="Google Shape;2533;p33"/>
          <p:cNvGraphicFramePr/>
          <p:nvPr/>
        </p:nvGraphicFramePr>
        <p:xfrm>
          <a:off x="539400" y="1564374"/>
          <a:ext cx="6485525" cy="4465470"/>
        </p:xfrm>
        <a:graphic>
          <a:graphicData uri="http://schemas.openxmlformats.org/drawingml/2006/table">
            <a:tbl>
              <a:tblPr>
                <a:noFill/>
                <a:tableStyleId>{410035E7-BAF8-4B9D-805A-DB07596FDFCD}</a:tableStyleId>
              </a:tblPr>
              <a:tblGrid>
                <a:gridCol w="1312550">
                  <a:extLst>
                    <a:ext uri="{9D8B030D-6E8A-4147-A177-3AD203B41FA5}">
                      <a16:colId xmlns:a16="http://schemas.microsoft.com/office/drawing/2014/main" val="20000"/>
                    </a:ext>
                  </a:extLst>
                </a:gridCol>
                <a:gridCol w="5172975">
                  <a:extLst>
                    <a:ext uri="{9D8B030D-6E8A-4147-A177-3AD203B41FA5}">
                      <a16:colId xmlns:a16="http://schemas.microsoft.com/office/drawing/2014/main" val="20001"/>
                    </a:ext>
                  </a:extLst>
                </a:gridCol>
              </a:tblGrid>
              <a:tr h="177800">
                <a:tc>
                  <a:txBody>
                    <a:bodyPr/>
                    <a:lstStyle/>
                    <a:p>
                      <a:pPr marL="0" marR="0" lvl="0" indent="0" algn="l" rtl="0">
                        <a:lnSpc>
                          <a:spcPct val="128571"/>
                        </a:lnSpc>
                        <a:spcBef>
                          <a:spcPts val="0"/>
                        </a:spcBef>
                        <a:spcAft>
                          <a:spcPts val="0"/>
                        </a:spcAft>
                        <a:buClr>
                          <a:srgbClr val="000000"/>
                        </a:buClr>
                        <a:buSzPts val="1600"/>
                        <a:buFont typeface="Arial"/>
                        <a:buNone/>
                      </a:pPr>
                      <a:r>
                        <a:rPr lang="en-US" sz="1600" b="1" u="none" strike="noStrike" cap="none">
                          <a:solidFill>
                            <a:schemeClr val="accent1"/>
                          </a:solidFill>
                          <a:latin typeface="Calibri"/>
                          <a:ea typeface="Calibri"/>
                          <a:cs typeface="Calibri"/>
                          <a:sym typeface="Calibri"/>
                        </a:rPr>
                        <a:t>Text Characteristics</a:t>
                      </a:r>
                      <a:endParaRPr sz="1600" u="none" strike="noStrike" cap="none"/>
                    </a:p>
                  </a:txBody>
                  <a:tcPr marL="0" marR="0" marT="54000" marB="54000">
                    <a:lnT w="12700" cap="flat" cmpd="sng">
                      <a:solidFill>
                        <a:schemeClr val="accent1"/>
                      </a:solidFill>
                      <a:prstDash val="solid"/>
                      <a:round/>
                      <a:headEnd type="none" w="sm" len="sm"/>
                      <a:tailEnd type="none" w="sm" len="sm"/>
                    </a:lnT>
                    <a:lnB w="9525" cap="flat" cmpd="sng">
                      <a:solidFill>
                        <a:srgbClr val="7F7F7F"/>
                      </a:solidFill>
                      <a:prstDash val="dash"/>
                      <a:round/>
                      <a:headEnd type="none" w="sm" len="sm"/>
                      <a:tailEnd type="none" w="sm" len="sm"/>
                    </a:lnB>
                  </a:tcPr>
                </a:tc>
                <a:tc>
                  <a:txBody>
                    <a:bodyPr/>
                    <a:lstStyle/>
                    <a:p>
                      <a:pPr marL="174625" marR="0" lvl="0" indent="-174625" algn="l" rtl="0">
                        <a:lnSpc>
                          <a:spcPct val="128571"/>
                        </a:lnSpc>
                        <a:spcBef>
                          <a:spcPts val="0"/>
                        </a:spcBef>
                        <a:spcAft>
                          <a:spcPts val="0"/>
                        </a:spcAft>
                        <a:buClr>
                          <a:schemeClr val="dk2"/>
                        </a:buClr>
                        <a:buSzPts val="1400"/>
                        <a:buFont typeface="Noto Sans Symbols"/>
                        <a:buChar char="▪"/>
                      </a:pPr>
                      <a:r>
                        <a:rPr lang="en-US" sz="1600" u="none" strike="noStrike" cap="none">
                          <a:solidFill>
                            <a:schemeClr val="dk1"/>
                          </a:solidFill>
                          <a:latin typeface="Calibri"/>
                          <a:ea typeface="Calibri"/>
                          <a:cs typeface="Calibri"/>
                          <a:sym typeface="Calibri"/>
                        </a:rPr>
                        <a:t>Text is not usually well written, but it is rich in details and concepts</a:t>
                      </a:r>
                      <a:endParaRPr sz="1600" u="none" strike="noStrike" cap="none">
                        <a:solidFill>
                          <a:schemeClr val="dk1"/>
                        </a:solidFill>
                        <a:latin typeface="Calibri"/>
                        <a:ea typeface="Calibri"/>
                        <a:cs typeface="Calibri"/>
                        <a:sym typeface="Calibri"/>
                      </a:endParaRPr>
                    </a:p>
                  </a:txBody>
                  <a:tcPr marL="0" marR="0" marT="54000" marB="54000">
                    <a:lnT w="12700" cap="flat" cmpd="sng">
                      <a:solidFill>
                        <a:schemeClr val="accent1"/>
                      </a:solidFill>
                      <a:prstDash val="solid"/>
                      <a:round/>
                      <a:headEnd type="none" w="sm" len="sm"/>
                      <a:tailEnd type="none" w="sm" len="sm"/>
                    </a:lnT>
                    <a:lnB w="9525" cap="flat" cmpd="sng">
                      <a:solidFill>
                        <a:srgbClr val="7F7F7F"/>
                      </a:solidFill>
                      <a:prstDash val="dash"/>
                      <a:round/>
                      <a:headEnd type="none" w="sm" len="sm"/>
                      <a:tailEnd type="none" w="sm" len="sm"/>
                    </a:lnB>
                  </a:tcPr>
                </a:tc>
                <a:extLst>
                  <a:ext uri="{0D108BD9-81ED-4DB2-BD59-A6C34878D82A}">
                    <a16:rowId xmlns:a16="http://schemas.microsoft.com/office/drawing/2014/main" val="10000"/>
                  </a:ext>
                </a:extLst>
              </a:tr>
              <a:tr h="177800">
                <a:tc>
                  <a:txBody>
                    <a:bodyPr/>
                    <a:lstStyle/>
                    <a:p>
                      <a:pPr marL="0" marR="0" lvl="0" indent="0" algn="l" rtl="0">
                        <a:lnSpc>
                          <a:spcPct val="128571"/>
                        </a:lnSpc>
                        <a:spcBef>
                          <a:spcPts val="0"/>
                        </a:spcBef>
                        <a:spcAft>
                          <a:spcPts val="0"/>
                        </a:spcAft>
                        <a:buClr>
                          <a:srgbClr val="000000"/>
                        </a:buClr>
                        <a:buSzPts val="1600"/>
                        <a:buFont typeface="Arial"/>
                        <a:buNone/>
                      </a:pPr>
                      <a:r>
                        <a:rPr lang="en-US" sz="1600" b="1" u="none" strike="noStrike" cap="none">
                          <a:solidFill>
                            <a:schemeClr val="accent1"/>
                          </a:solidFill>
                          <a:latin typeface="Calibri"/>
                          <a:ea typeface="Calibri"/>
                          <a:cs typeface="Calibri"/>
                          <a:sym typeface="Calibri"/>
                        </a:rPr>
                        <a:t>Challenge</a:t>
                      </a:r>
                      <a:endParaRPr sz="1600" u="none" strike="noStrike" cap="none"/>
                    </a:p>
                  </a:txBody>
                  <a:tcPr marL="0" marR="0" marT="54000" marB="54000">
                    <a:lnT w="9525" cap="flat" cmpd="sng">
                      <a:solidFill>
                        <a:srgbClr val="7F7F7F"/>
                      </a:solidFill>
                      <a:prstDash val="dash"/>
                      <a:round/>
                      <a:headEnd type="none" w="sm" len="sm"/>
                      <a:tailEnd type="none" w="sm" len="sm"/>
                    </a:lnT>
                    <a:lnB w="9525" cap="flat" cmpd="sng">
                      <a:solidFill>
                        <a:srgbClr val="7F7F7F"/>
                      </a:solidFill>
                      <a:prstDash val="dash"/>
                      <a:round/>
                      <a:headEnd type="none" w="sm" len="sm"/>
                      <a:tailEnd type="none" w="sm" len="sm"/>
                    </a:lnB>
                  </a:tcPr>
                </a:tc>
                <a:tc>
                  <a:txBody>
                    <a:bodyPr/>
                    <a:lstStyle/>
                    <a:p>
                      <a:pPr marL="174625" marR="0" lvl="0" indent="-174625" algn="l" rtl="0">
                        <a:lnSpc>
                          <a:spcPct val="128571"/>
                        </a:lnSpc>
                        <a:spcBef>
                          <a:spcPts val="0"/>
                        </a:spcBef>
                        <a:spcAft>
                          <a:spcPts val="0"/>
                        </a:spcAft>
                        <a:buClr>
                          <a:schemeClr val="dk2"/>
                        </a:buClr>
                        <a:buSzPts val="1400"/>
                        <a:buFont typeface="Noto Sans Symbols"/>
                        <a:buChar char="▪"/>
                      </a:pPr>
                      <a:r>
                        <a:rPr lang="en-US" sz="1600" u="none" strike="noStrike" cap="none">
                          <a:solidFill>
                            <a:schemeClr val="dk1"/>
                          </a:solidFill>
                          <a:latin typeface="Calibri"/>
                          <a:ea typeface="Calibri"/>
                          <a:cs typeface="Calibri"/>
                          <a:sym typeface="Calibri"/>
                        </a:rPr>
                        <a:t>The challenge is to enhance the original text in terms of quality and strictly adhering to the legal structure and business concept</a:t>
                      </a:r>
                      <a:endParaRPr sz="1600" u="none" strike="noStrike" cap="none"/>
                    </a:p>
                  </a:txBody>
                  <a:tcPr marL="0" marR="0" marT="54000" marB="54000">
                    <a:lnT w="9525" cap="flat" cmpd="sng">
                      <a:solidFill>
                        <a:srgbClr val="7F7F7F"/>
                      </a:solidFill>
                      <a:prstDash val="dash"/>
                      <a:round/>
                      <a:headEnd type="none" w="sm" len="sm"/>
                      <a:tailEnd type="none" w="sm" len="sm"/>
                    </a:lnT>
                    <a:lnB w="9525" cap="flat" cmpd="sng">
                      <a:solidFill>
                        <a:srgbClr val="7F7F7F"/>
                      </a:solidFill>
                      <a:prstDash val="dash"/>
                      <a:round/>
                      <a:headEnd type="none" w="sm" len="sm"/>
                      <a:tailEnd type="none" w="sm" len="sm"/>
                    </a:lnB>
                  </a:tcPr>
                </a:tc>
                <a:extLst>
                  <a:ext uri="{0D108BD9-81ED-4DB2-BD59-A6C34878D82A}">
                    <a16:rowId xmlns:a16="http://schemas.microsoft.com/office/drawing/2014/main" val="10001"/>
                  </a:ext>
                </a:extLst>
              </a:tr>
              <a:tr h="252000">
                <a:tc>
                  <a:txBody>
                    <a:bodyPr/>
                    <a:lstStyle/>
                    <a:p>
                      <a:pPr marL="0" marR="0" lvl="0" indent="0" algn="l" rtl="0">
                        <a:lnSpc>
                          <a:spcPct val="128571"/>
                        </a:lnSpc>
                        <a:spcBef>
                          <a:spcPts val="0"/>
                        </a:spcBef>
                        <a:spcAft>
                          <a:spcPts val="0"/>
                        </a:spcAft>
                        <a:buClr>
                          <a:srgbClr val="000000"/>
                        </a:buClr>
                        <a:buSzPts val="1600"/>
                        <a:buFont typeface="Arial"/>
                        <a:buNone/>
                      </a:pPr>
                      <a:r>
                        <a:rPr lang="en-US" sz="1600" b="1" u="none" strike="noStrike" cap="none">
                          <a:solidFill>
                            <a:schemeClr val="accent1"/>
                          </a:solidFill>
                          <a:latin typeface="Calibri"/>
                          <a:ea typeface="Calibri"/>
                          <a:cs typeface="Calibri"/>
                          <a:sym typeface="Calibri"/>
                        </a:rPr>
                        <a:t>Translation Methodology</a:t>
                      </a:r>
                      <a:endParaRPr sz="1600" u="none" strike="noStrike" cap="none"/>
                    </a:p>
                  </a:txBody>
                  <a:tcPr marL="0" marR="0" marT="54000" marB="54000">
                    <a:lnT w="9525" cap="flat" cmpd="sng">
                      <a:solidFill>
                        <a:srgbClr val="7F7F7F"/>
                      </a:solidFill>
                      <a:prstDash val="dash"/>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174625" marR="0" lvl="0" indent="-174625" algn="l" rtl="0">
                        <a:lnSpc>
                          <a:spcPct val="128571"/>
                        </a:lnSpc>
                        <a:spcBef>
                          <a:spcPts val="0"/>
                        </a:spcBef>
                        <a:spcAft>
                          <a:spcPts val="0"/>
                        </a:spcAft>
                        <a:buClr>
                          <a:schemeClr val="dk2"/>
                        </a:buClr>
                        <a:buSzPts val="1400"/>
                        <a:buFont typeface="Noto Sans Symbols"/>
                        <a:buChar char="▪"/>
                      </a:pPr>
                      <a:r>
                        <a:rPr lang="en-US" sz="1600" u="none" strike="noStrike" cap="none">
                          <a:latin typeface="Calibri"/>
                          <a:ea typeface="Calibri"/>
                          <a:cs typeface="Calibri"/>
                          <a:sym typeface="Calibri"/>
                        </a:rPr>
                        <a:t>Performing Arabic to Arabic translation in a draft to restore the meanings that is distorted by the poor quality of the original text</a:t>
                      </a:r>
                      <a:endParaRPr sz="1600" u="none" strike="noStrike" cap="none"/>
                    </a:p>
                    <a:p>
                      <a:pPr marL="174625" marR="0" lvl="0" indent="-174625" algn="l" rtl="0">
                        <a:lnSpc>
                          <a:spcPct val="128571"/>
                        </a:lnSpc>
                        <a:spcBef>
                          <a:spcPts val="500"/>
                        </a:spcBef>
                        <a:spcAft>
                          <a:spcPts val="0"/>
                        </a:spcAft>
                        <a:buClr>
                          <a:schemeClr val="dk2"/>
                        </a:buClr>
                        <a:buSzPts val="1400"/>
                        <a:buFont typeface="Noto Sans Symbols"/>
                        <a:buChar char="▪"/>
                      </a:pPr>
                      <a:r>
                        <a:rPr lang="en-US" sz="1600" u="none" strike="noStrike" cap="none">
                          <a:latin typeface="Calibri"/>
                          <a:ea typeface="Calibri"/>
                          <a:cs typeface="Calibri"/>
                          <a:sym typeface="Calibri"/>
                        </a:rPr>
                        <a:t>Avoid text entanglements by performing semantic translation and leveraging conjunctions and punctuation marks </a:t>
                      </a:r>
                      <a:endParaRPr sz="1600" u="none" strike="noStrike" cap="none"/>
                    </a:p>
                    <a:p>
                      <a:pPr marL="174625" marR="0" lvl="0" indent="-174625" algn="l" rtl="0">
                        <a:lnSpc>
                          <a:spcPct val="128571"/>
                        </a:lnSpc>
                        <a:spcBef>
                          <a:spcPts val="500"/>
                        </a:spcBef>
                        <a:spcAft>
                          <a:spcPts val="0"/>
                        </a:spcAft>
                        <a:buClr>
                          <a:schemeClr val="dk2"/>
                        </a:buClr>
                        <a:buSzPts val="1400"/>
                        <a:buFont typeface="Noto Sans Symbols"/>
                        <a:buChar char="▪"/>
                      </a:pPr>
                      <a:r>
                        <a:rPr lang="en-US" sz="1600" u="none" strike="noStrike" cap="none">
                          <a:latin typeface="Calibri"/>
                          <a:ea typeface="Calibri"/>
                          <a:cs typeface="Calibri"/>
                          <a:sym typeface="Calibri"/>
                        </a:rPr>
                        <a:t>Make sure that your legal/official drafting is coherent but avoid overcomplicating it with legal jargons</a:t>
                      </a:r>
                      <a:endParaRPr sz="1600" u="none" strike="noStrike" cap="none"/>
                    </a:p>
                  </a:txBody>
                  <a:tcPr marL="0" marR="0" marT="54000" marB="54000">
                    <a:lnT w="9525" cap="flat" cmpd="sng">
                      <a:solidFill>
                        <a:srgbClr val="7F7F7F"/>
                      </a:solidFill>
                      <a:prstDash val="dash"/>
                      <a:round/>
                      <a:headEnd type="none" w="sm" len="sm"/>
                      <a:tailEnd type="none" w="sm" len="sm"/>
                    </a:lnT>
                    <a:lnB w="12700" cap="flat" cmpd="sng">
                      <a:solidFill>
                        <a:schemeClr val="accent1"/>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sp>
        <p:nvSpPr>
          <p:cNvPr id="2534" name="Google Shape;2534;p33"/>
          <p:cNvSpPr/>
          <p:nvPr/>
        </p:nvSpPr>
        <p:spPr>
          <a:xfrm>
            <a:off x="7429500" y="-1"/>
            <a:ext cx="4762500" cy="6857999"/>
          </a:xfrm>
          <a:prstGeom prst="rect">
            <a:avLst/>
          </a:prstGeom>
          <a:solidFill>
            <a:srgbClr val="4C4C4C">
              <a:alpha val="6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nvGrpSpPr>
          <p:cNvPr id="2535" name="Google Shape;2535;p33"/>
          <p:cNvGrpSpPr/>
          <p:nvPr/>
        </p:nvGrpSpPr>
        <p:grpSpPr>
          <a:xfrm>
            <a:off x="10881886" y="135255"/>
            <a:ext cx="1141311" cy="468742"/>
            <a:chOff x="10881886" y="135255"/>
            <a:chExt cx="1141311" cy="468742"/>
          </a:xfrm>
        </p:grpSpPr>
        <p:grpSp>
          <p:nvGrpSpPr>
            <p:cNvPr id="2536" name="Google Shape;2536;p33"/>
            <p:cNvGrpSpPr/>
            <p:nvPr/>
          </p:nvGrpSpPr>
          <p:grpSpPr>
            <a:xfrm>
              <a:off x="10881886" y="135255"/>
              <a:ext cx="1141311" cy="468742"/>
              <a:chOff x="10881886" y="135255"/>
              <a:chExt cx="1141311" cy="468742"/>
            </a:xfrm>
          </p:grpSpPr>
          <p:sp>
            <p:nvSpPr>
              <p:cNvPr id="2537" name="Google Shape;2537;p33"/>
              <p:cNvSpPr txBox="1"/>
              <p:nvPr/>
            </p:nvSpPr>
            <p:spPr>
              <a:xfrm>
                <a:off x="10881886" y="230150"/>
                <a:ext cx="628378" cy="2769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lt1"/>
                    </a:solidFill>
                    <a:latin typeface="Franklin Gothic"/>
                    <a:ea typeface="Franklin Gothic"/>
                    <a:cs typeface="Franklin Gothic"/>
                    <a:sym typeface="Franklin Gothic"/>
                  </a:rPr>
                  <a:t>Business </a:t>
                </a:r>
                <a:endParaRPr sz="1400" b="0" i="0" u="none" strike="noStrike" cap="none">
                  <a:solidFill>
                    <a:srgbClr val="000000"/>
                  </a:solidFill>
                  <a:latin typeface="Arial"/>
                  <a:ea typeface="Arial"/>
                  <a:cs typeface="Arial"/>
                  <a:sym typeface="Arial"/>
                </a:endParaRPr>
              </a:p>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lt1"/>
                    </a:solidFill>
                    <a:latin typeface="Franklin Gothic"/>
                    <a:ea typeface="Franklin Gothic"/>
                    <a:cs typeface="Franklin Gothic"/>
                    <a:sym typeface="Franklin Gothic"/>
                  </a:rPr>
                  <a:t>Translation</a:t>
                </a:r>
                <a:endParaRPr sz="1400" b="0" i="0" u="none" strike="noStrike" cap="none">
                  <a:solidFill>
                    <a:srgbClr val="000000"/>
                  </a:solidFill>
                  <a:latin typeface="Arial"/>
                  <a:ea typeface="Arial"/>
                  <a:cs typeface="Arial"/>
                  <a:sym typeface="Arial"/>
                </a:endParaRPr>
              </a:p>
            </p:txBody>
          </p:sp>
          <p:sp>
            <p:nvSpPr>
              <p:cNvPr id="2538" name="Google Shape;2538;p33"/>
              <p:cNvSpPr/>
              <p:nvPr/>
            </p:nvSpPr>
            <p:spPr>
              <a:xfrm>
                <a:off x="11554453" y="135255"/>
                <a:ext cx="468744" cy="468742"/>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grpSp>
          <p:nvGrpSpPr>
            <p:cNvPr id="2539" name="Google Shape;2539;p33"/>
            <p:cNvGrpSpPr/>
            <p:nvPr/>
          </p:nvGrpSpPr>
          <p:grpSpPr>
            <a:xfrm>
              <a:off x="11701145" y="220980"/>
              <a:ext cx="175360" cy="295338"/>
              <a:chOff x="6689308" y="2024976"/>
              <a:chExt cx="325986" cy="549024"/>
            </a:xfrm>
          </p:grpSpPr>
          <p:sp>
            <p:nvSpPr>
              <p:cNvPr id="2540" name="Google Shape;2540;p33"/>
              <p:cNvSpPr/>
              <p:nvPr/>
            </p:nvSpPr>
            <p:spPr>
              <a:xfrm>
                <a:off x="6689308" y="2024976"/>
                <a:ext cx="325986" cy="549024"/>
              </a:xfrm>
              <a:custGeom>
                <a:avLst/>
                <a:gdLst/>
                <a:ahLst/>
                <a:cxnLst/>
                <a:rect l="l" t="t" r="r" b="b"/>
                <a:pathLst>
                  <a:path w="325986" h="549024" extrusionOk="0">
                    <a:moveTo>
                      <a:pt x="304900" y="0"/>
                    </a:moveTo>
                    <a:lnTo>
                      <a:pt x="24663" y="0"/>
                    </a:lnTo>
                    <a:cubicBezTo>
                      <a:pt x="11049" y="17"/>
                      <a:pt x="17" y="11049"/>
                      <a:pt x="0" y="24663"/>
                    </a:cubicBezTo>
                    <a:lnTo>
                      <a:pt x="0" y="524361"/>
                    </a:lnTo>
                    <a:cubicBezTo>
                      <a:pt x="17" y="537975"/>
                      <a:pt x="11049" y="549007"/>
                      <a:pt x="24663" y="549024"/>
                    </a:cubicBezTo>
                    <a:lnTo>
                      <a:pt x="304900" y="549024"/>
                    </a:lnTo>
                    <a:cubicBezTo>
                      <a:pt x="318516" y="549011"/>
                      <a:pt x="329551" y="537975"/>
                      <a:pt x="329563" y="524361"/>
                    </a:cubicBezTo>
                    <a:lnTo>
                      <a:pt x="329563" y="24663"/>
                    </a:lnTo>
                    <a:cubicBezTo>
                      <a:pt x="329551" y="11048"/>
                      <a:pt x="318516" y="14"/>
                      <a:pt x="304900" y="0"/>
                    </a:cubicBezTo>
                    <a:close/>
                    <a:moveTo>
                      <a:pt x="240852" y="15012"/>
                    </a:moveTo>
                    <a:lnTo>
                      <a:pt x="223313" y="32538"/>
                    </a:lnTo>
                    <a:cubicBezTo>
                      <a:pt x="216691" y="39189"/>
                      <a:pt x="207684" y="42917"/>
                      <a:pt x="198298" y="42893"/>
                    </a:cubicBezTo>
                    <a:lnTo>
                      <a:pt x="131265" y="42893"/>
                    </a:lnTo>
                    <a:cubicBezTo>
                      <a:pt x="121879" y="42917"/>
                      <a:pt x="112873" y="39189"/>
                      <a:pt x="106250" y="32538"/>
                    </a:cubicBezTo>
                    <a:lnTo>
                      <a:pt x="88711" y="15012"/>
                    </a:lnTo>
                    <a:close/>
                    <a:moveTo>
                      <a:pt x="314551" y="524361"/>
                    </a:moveTo>
                    <a:cubicBezTo>
                      <a:pt x="314544" y="529688"/>
                      <a:pt x="310227" y="534003"/>
                      <a:pt x="304900" y="534012"/>
                    </a:cubicBezTo>
                    <a:lnTo>
                      <a:pt x="24663" y="534012"/>
                    </a:lnTo>
                    <a:cubicBezTo>
                      <a:pt x="19336" y="534003"/>
                      <a:pt x="15020" y="529688"/>
                      <a:pt x="15013" y="524361"/>
                    </a:cubicBezTo>
                    <a:lnTo>
                      <a:pt x="15013" y="24663"/>
                    </a:lnTo>
                    <a:cubicBezTo>
                      <a:pt x="15020" y="19336"/>
                      <a:pt x="19336" y="15019"/>
                      <a:pt x="24663" y="15012"/>
                    </a:cubicBezTo>
                    <a:lnTo>
                      <a:pt x="67471" y="15012"/>
                    </a:lnTo>
                    <a:lnTo>
                      <a:pt x="95638" y="43163"/>
                    </a:lnTo>
                    <a:cubicBezTo>
                      <a:pt x="105072" y="52633"/>
                      <a:pt x="117898" y="57940"/>
                      <a:pt x="131265" y="57905"/>
                    </a:cubicBezTo>
                    <a:lnTo>
                      <a:pt x="198298" y="57905"/>
                    </a:lnTo>
                    <a:cubicBezTo>
                      <a:pt x="211665" y="57940"/>
                      <a:pt x="224492" y="52633"/>
                      <a:pt x="233925" y="43163"/>
                    </a:cubicBezTo>
                    <a:lnTo>
                      <a:pt x="262093" y="15012"/>
                    </a:lnTo>
                    <a:lnTo>
                      <a:pt x="304900" y="15012"/>
                    </a:lnTo>
                    <a:cubicBezTo>
                      <a:pt x="310227" y="15019"/>
                      <a:pt x="314544" y="19336"/>
                      <a:pt x="314551" y="2466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41" name="Google Shape;2541;p33"/>
              <p:cNvSpPr/>
              <p:nvPr/>
            </p:nvSpPr>
            <p:spPr>
              <a:xfrm>
                <a:off x="6732201" y="2110795"/>
                <a:ext cx="85786" cy="98653"/>
              </a:xfrm>
              <a:custGeom>
                <a:avLst/>
                <a:gdLst/>
                <a:ahLst/>
                <a:cxnLst/>
                <a:rect l="l" t="t" r="r" b="b"/>
                <a:pathLst>
                  <a:path w="85785" h="98652" extrusionOk="0">
                    <a:moveTo>
                      <a:pt x="5040" y="98734"/>
                    </a:moveTo>
                    <a:cubicBezTo>
                      <a:pt x="8946" y="100102"/>
                      <a:pt x="13221" y="98044"/>
                      <a:pt x="14588" y="94138"/>
                    </a:cubicBezTo>
                    <a:cubicBezTo>
                      <a:pt x="14591" y="94130"/>
                      <a:pt x="14594" y="94122"/>
                      <a:pt x="14597" y="94115"/>
                    </a:cubicBezTo>
                    <a:lnTo>
                      <a:pt x="27499" y="57081"/>
                    </a:lnTo>
                    <a:lnTo>
                      <a:pt x="62242" y="57081"/>
                    </a:lnTo>
                    <a:lnTo>
                      <a:pt x="75136" y="94115"/>
                    </a:lnTo>
                    <a:cubicBezTo>
                      <a:pt x="76715" y="97948"/>
                      <a:pt x="81102" y="99776"/>
                      <a:pt x="84935" y="98197"/>
                    </a:cubicBezTo>
                    <a:cubicBezTo>
                      <a:pt x="88471" y="96740"/>
                      <a:pt x="90347" y="92858"/>
                      <a:pt x="89290" y="89182"/>
                    </a:cubicBezTo>
                    <a:lnTo>
                      <a:pt x="59994" y="5040"/>
                    </a:lnTo>
                    <a:cubicBezTo>
                      <a:pt x="58944" y="2022"/>
                      <a:pt x="56099" y="0"/>
                      <a:pt x="52904" y="0"/>
                    </a:cubicBezTo>
                    <a:lnTo>
                      <a:pt x="36819" y="0"/>
                    </a:lnTo>
                    <a:cubicBezTo>
                      <a:pt x="33624" y="0"/>
                      <a:pt x="30779" y="2022"/>
                      <a:pt x="29729" y="5040"/>
                    </a:cubicBezTo>
                    <a:lnTo>
                      <a:pt x="420" y="89182"/>
                    </a:lnTo>
                    <a:cubicBezTo>
                      <a:pt x="-944" y="93092"/>
                      <a:pt x="1120" y="97367"/>
                      <a:pt x="5030" y="98731"/>
                    </a:cubicBezTo>
                    <a:cubicBezTo>
                      <a:pt x="5034" y="98732"/>
                      <a:pt x="5037" y="98733"/>
                      <a:pt x="5040" y="98734"/>
                    </a:cubicBezTo>
                    <a:close/>
                    <a:moveTo>
                      <a:pt x="42151" y="15012"/>
                    </a:moveTo>
                    <a:lnTo>
                      <a:pt x="47568" y="15012"/>
                    </a:lnTo>
                    <a:lnTo>
                      <a:pt x="57005" y="42069"/>
                    </a:lnTo>
                    <a:lnTo>
                      <a:pt x="32727" y="42069"/>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42" name="Google Shape;2542;p33"/>
              <p:cNvSpPr/>
              <p:nvPr/>
            </p:nvSpPr>
            <p:spPr>
              <a:xfrm>
                <a:off x="6886259" y="2110795"/>
                <a:ext cx="85786" cy="98653"/>
              </a:xfrm>
              <a:custGeom>
                <a:avLst/>
                <a:gdLst/>
                <a:ahLst/>
                <a:cxnLst/>
                <a:rect l="l" t="t" r="r" b="b"/>
                <a:pathLst>
                  <a:path w="85785" h="98652" extrusionOk="0">
                    <a:moveTo>
                      <a:pt x="82213" y="24629"/>
                    </a:moveTo>
                    <a:lnTo>
                      <a:pt x="52368" y="24629"/>
                    </a:lnTo>
                    <a:lnTo>
                      <a:pt x="52368" y="7506"/>
                    </a:lnTo>
                    <a:cubicBezTo>
                      <a:pt x="52368" y="3361"/>
                      <a:pt x="49007" y="0"/>
                      <a:pt x="44862" y="0"/>
                    </a:cubicBezTo>
                    <a:cubicBezTo>
                      <a:pt x="40716" y="0"/>
                      <a:pt x="37355" y="3361"/>
                      <a:pt x="37355" y="7506"/>
                    </a:cubicBezTo>
                    <a:lnTo>
                      <a:pt x="37355" y="24629"/>
                    </a:lnTo>
                    <a:lnTo>
                      <a:pt x="7506" y="24629"/>
                    </a:lnTo>
                    <a:cubicBezTo>
                      <a:pt x="3361" y="24629"/>
                      <a:pt x="0" y="27990"/>
                      <a:pt x="0" y="32135"/>
                    </a:cubicBezTo>
                    <a:cubicBezTo>
                      <a:pt x="0" y="36281"/>
                      <a:pt x="3361" y="39641"/>
                      <a:pt x="7506" y="39641"/>
                    </a:cubicBezTo>
                    <a:lnTo>
                      <a:pt x="17873" y="39641"/>
                    </a:lnTo>
                    <a:lnTo>
                      <a:pt x="17873" y="41027"/>
                    </a:lnTo>
                    <a:cubicBezTo>
                      <a:pt x="17867" y="52418"/>
                      <a:pt x="22457" y="63330"/>
                      <a:pt x="30604" y="71292"/>
                    </a:cubicBezTo>
                    <a:lnTo>
                      <a:pt x="4066" y="84974"/>
                    </a:lnTo>
                    <a:cubicBezTo>
                      <a:pt x="456" y="87016"/>
                      <a:pt x="-816" y="91599"/>
                      <a:pt x="1226" y="95209"/>
                    </a:cubicBezTo>
                    <a:cubicBezTo>
                      <a:pt x="3154" y="98618"/>
                      <a:pt x="7378" y="99973"/>
                      <a:pt x="10929" y="98322"/>
                    </a:cubicBezTo>
                    <a:lnTo>
                      <a:pt x="44845" y="80831"/>
                    </a:lnTo>
                    <a:lnTo>
                      <a:pt x="78756" y="98322"/>
                    </a:lnTo>
                    <a:cubicBezTo>
                      <a:pt x="82366" y="100365"/>
                      <a:pt x="86948" y="99093"/>
                      <a:pt x="88990" y="95483"/>
                    </a:cubicBezTo>
                    <a:cubicBezTo>
                      <a:pt x="91032" y="91872"/>
                      <a:pt x="89761" y="87290"/>
                      <a:pt x="86151" y="85248"/>
                    </a:cubicBezTo>
                    <a:cubicBezTo>
                      <a:pt x="85977" y="85150"/>
                      <a:pt x="85800" y="85058"/>
                      <a:pt x="85619" y="84974"/>
                    </a:cubicBezTo>
                    <a:lnTo>
                      <a:pt x="59085" y="71292"/>
                    </a:lnTo>
                    <a:cubicBezTo>
                      <a:pt x="67232" y="63329"/>
                      <a:pt x="71821" y="52415"/>
                      <a:pt x="71811" y="41022"/>
                    </a:cubicBezTo>
                    <a:lnTo>
                      <a:pt x="71811" y="39641"/>
                    </a:lnTo>
                    <a:lnTo>
                      <a:pt x="82179" y="39641"/>
                    </a:lnTo>
                    <a:cubicBezTo>
                      <a:pt x="86324" y="39641"/>
                      <a:pt x="89685" y="36281"/>
                      <a:pt x="89685" y="32135"/>
                    </a:cubicBezTo>
                    <a:cubicBezTo>
                      <a:pt x="89685" y="27990"/>
                      <a:pt x="86324" y="24629"/>
                      <a:pt x="82179" y="24629"/>
                    </a:cubicBezTo>
                    <a:close/>
                    <a:moveTo>
                      <a:pt x="56833" y="41022"/>
                    </a:moveTo>
                    <a:cubicBezTo>
                      <a:pt x="56848" y="50092"/>
                      <a:pt x="52363" y="58580"/>
                      <a:pt x="44862" y="63678"/>
                    </a:cubicBezTo>
                    <a:cubicBezTo>
                      <a:pt x="37360" y="58580"/>
                      <a:pt x="32874" y="50093"/>
                      <a:pt x="32886" y="41022"/>
                    </a:cubicBezTo>
                    <a:lnTo>
                      <a:pt x="32886" y="39641"/>
                    </a:lnTo>
                    <a:lnTo>
                      <a:pt x="56833" y="39641"/>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43" name="Google Shape;2543;p33"/>
              <p:cNvSpPr/>
              <p:nvPr/>
            </p:nvSpPr>
            <p:spPr>
              <a:xfrm>
                <a:off x="6832510" y="2152864"/>
                <a:ext cx="42893" cy="12868"/>
              </a:xfrm>
              <a:custGeom>
                <a:avLst/>
                <a:gdLst/>
                <a:ahLst/>
                <a:cxnLst/>
                <a:rect l="l" t="t" r="r" b="b"/>
                <a:pathLst>
                  <a:path w="42892" h="12867" extrusionOk="0">
                    <a:moveTo>
                      <a:pt x="7506" y="15012"/>
                    </a:moveTo>
                    <a:lnTo>
                      <a:pt x="35653" y="15012"/>
                    </a:lnTo>
                    <a:cubicBezTo>
                      <a:pt x="39798" y="15012"/>
                      <a:pt x="43159" y="11652"/>
                      <a:pt x="43159" y="7506"/>
                    </a:cubicBezTo>
                    <a:cubicBezTo>
                      <a:pt x="43159" y="3361"/>
                      <a:pt x="39798" y="0"/>
                      <a:pt x="35653"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44" name="Google Shape;2544;p33"/>
              <p:cNvSpPr/>
              <p:nvPr/>
            </p:nvSpPr>
            <p:spPr>
              <a:xfrm>
                <a:off x="6732201" y="223786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45" name="Google Shape;2545;p33"/>
              <p:cNvSpPr/>
              <p:nvPr/>
            </p:nvSpPr>
            <p:spPr>
              <a:xfrm>
                <a:off x="6756508" y="2288113"/>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46" name="Google Shape;2546;p33"/>
              <p:cNvSpPr/>
              <p:nvPr/>
            </p:nvSpPr>
            <p:spPr>
              <a:xfrm>
                <a:off x="6732201" y="2338361"/>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47" name="Google Shape;2547;p33"/>
              <p:cNvSpPr/>
              <p:nvPr/>
            </p:nvSpPr>
            <p:spPr>
              <a:xfrm>
                <a:off x="6756508" y="2388606"/>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48" name="Google Shape;2548;p33"/>
              <p:cNvSpPr/>
              <p:nvPr/>
            </p:nvSpPr>
            <p:spPr>
              <a:xfrm>
                <a:off x="6732201" y="243885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49" name="Google Shape;2549;p33"/>
              <p:cNvSpPr/>
              <p:nvPr/>
            </p:nvSpPr>
            <p:spPr>
              <a:xfrm>
                <a:off x="6756508" y="2491764"/>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2553"/>
        <p:cNvGrpSpPr/>
        <p:nvPr/>
      </p:nvGrpSpPr>
      <p:grpSpPr>
        <a:xfrm>
          <a:off x="0" y="0"/>
          <a:ext cx="0" cy="0"/>
          <a:chOff x="0" y="0"/>
          <a:chExt cx="0" cy="0"/>
        </a:xfrm>
      </p:grpSpPr>
      <p:graphicFrame>
        <p:nvGraphicFramePr>
          <p:cNvPr id="2554" name="Google Shape;2554;p34"/>
          <p:cNvGraphicFramePr/>
          <p:nvPr/>
        </p:nvGraphicFramePr>
        <p:xfrm>
          <a:off x="396790" y="2043914"/>
          <a:ext cx="11398425" cy="4225880"/>
        </p:xfrm>
        <a:graphic>
          <a:graphicData uri="http://schemas.openxmlformats.org/drawingml/2006/table">
            <a:tbl>
              <a:tblPr>
                <a:noFill/>
                <a:tableStyleId>{3149A09B-1AD0-4F29-9B92-C1F1A84BDCC0}</a:tableStyleId>
              </a:tblPr>
              <a:tblGrid>
                <a:gridCol w="5523675">
                  <a:extLst>
                    <a:ext uri="{9D8B030D-6E8A-4147-A177-3AD203B41FA5}">
                      <a16:colId xmlns:a16="http://schemas.microsoft.com/office/drawing/2014/main" val="20000"/>
                    </a:ext>
                  </a:extLst>
                </a:gridCol>
                <a:gridCol w="5874750">
                  <a:extLst>
                    <a:ext uri="{9D8B030D-6E8A-4147-A177-3AD203B41FA5}">
                      <a16:colId xmlns:a16="http://schemas.microsoft.com/office/drawing/2014/main" val="20001"/>
                    </a:ext>
                  </a:extLst>
                </a:gridCol>
              </a:tblGrid>
              <a:tr h="227150">
                <a:tc>
                  <a:txBody>
                    <a:bodyPr/>
                    <a:lstStyle/>
                    <a:p>
                      <a:pPr marL="0" marR="0" lvl="0" indent="0" algn="l" rtl="0">
                        <a:lnSpc>
                          <a:spcPct val="100000"/>
                        </a:lnSpc>
                        <a:spcBef>
                          <a:spcPts val="0"/>
                        </a:spcBef>
                        <a:spcAft>
                          <a:spcPts val="0"/>
                        </a:spcAft>
                        <a:buClr>
                          <a:srgbClr val="000000"/>
                        </a:buClr>
                        <a:buSzPts val="1100"/>
                        <a:buFont typeface="Arial"/>
                        <a:buNone/>
                      </a:pPr>
                      <a:r>
                        <a:rPr lang="en-US" sz="1100" b="0" i="0" u="none" strike="noStrike" cap="none">
                          <a:solidFill>
                            <a:schemeClr val="accent1"/>
                          </a:solidFill>
                          <a:latin typeface="Calibri"/>
                          <a:ea typeface="Calibri"/>
                          <a:cs typeface="Calibri"/>
                          <a:sym typeface="Calibri"/>
                        </a:rPr>
                        <a:t>Source Text</a:t>
                      </a:r>
                      <a:endParaRPr sz="1400" u="none" strike="noStrike" cap="none"/>
                    </a:p>
                  </a:txBody>
                  <a:tcPr marL="0" marR="0" marT="54000" marB="5400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000000"/>
                        </a:buClr>
                        <a:buSzPts val="1100"/>
                        <a:buFont typeface="Arial"/>
                        <a:buNone/>
                      </a:pPr>
                      <a:r>
                        <a:rPr lang="en-US" sz="1100" b="0" i="0" u="none" strike="noStrike" cap="none">
                          <a:solidFill>
                            <a:schemeClr val="accent1"/>
                          </a:solidFill>
                          <a:latin typeface="Calibri"/>
                          <a:ea typeface="Calibri"/>
                          <a:cs typeface="Calibri"/>
                          <a:sym typeface="Calibri"/>
                        </a:rPr>
                        <a:t>Translation</a:t>
                      </a:r>
                      <a:endParaRPr sz="1400" u="none" strike="noStrike" cap="none"/>
                    </a:p>
                  </a:txBody>
                  <a:tcPr marL="108000" marR="0" marT="54000" marB="5400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chemeClr val="accent1"/>
                      </a:solidFill>
                      <a:prstDash val="solid"/>
                      <a:round/>
                      <a:headEnd type="none" w="sm" len="sm"/>
                      <a:tailEnd type="none" w="sm" len="sm"/>
                    </a:lnB>
                  </a:tcPr>
                </a:tc>
                <a:extLst>
                  <a:ext uri="{0D108BD9-81ED-4DB2-BD59-A6C34878D82A}">
                    <a16:rowId xmlns:a16="http://schemas.microsoft.com/office/drawing/2014/main" val="10000"/>
                  </a:ext>
                </a:extLst>
              </a:tr>
              <a:tr h="3006875">
                <a:tc>
                  <a:txBody>
                    <a:bodyPr/>
                    <a:lstStyle/>
                    <a:p>
                      <a:pPr marL="0" marR="0" lvl="0" indent="0" algn="l" rtl="0">
                        <a:lnSpc>
                          <a:spcPct val="100000"/>
                        </a:lnSpc>
                        <a:spcBef>
                          <a:spcPts val="0"/>
                        </a:spcBef>
                        <a:spcAft>
                          <a:spcPts val="0"/>
                        </a:spcAft>
                        <a:buClr>
                          <a:srgbClr val="000000"/>
                        </a:buClr>
                        <a:buSzPts val="1100"/>
                        <a:buFont typeface="Arial"/>
                        <a:buNone/>
                      </a:pPr>
                      <a:endParaRPr sz="1100" b="1" i="0" u="none" strike="noStrike" cap="none">
                        <a:solidFill>
                          <a:srgbClr val="000000"/>
                        </a:solidFill>
                        <a:latin typeface="Calibri"/>
                        <a:ea typeface="Calibri"/>
                        <a:cs typeface="Calibri"/>
                        <a:sym typeface="Calibri"/>
                      </a:endParaRPr>
                    </a:p>
                    <a:p>
                      <a:pPr marL="0" marR="0" lvl="0" indent="0" algn="l" rtl="0">
                        <a:lnSpc>
                          <a:spcPct val="100000"/>
                        </a:lnSpc>
                        <a:spcBef>
                          <a:spcPts val="500"/>
                        </a:spcBef>
                        <a:spcAft>
                          <a:spcPts val="0"/>
                        </a:spcAft>
                        <a:buClr>
                          <a:srgbClr val="000000"/>
                        </a:buClr>
                        <a:buSzPts val="1100"/>
                        <a:buFont typeface="Arial"/>
                        <a:buNone/>
                      </a:pPr>
                      <a:r>
                        <a:rPr lang="en-US" sz="1100" b="1" i="0" u="none" strike="noStrike" cap="none">
                          <a:solidFill>
                            <a:srgbClr val="000000"/>
                          </a:solidFill>
                          <a:latin typeface="Calibri"/>
                          <a:ea typeface="Calibri"/>
                          <a:cs typeface="Calibri"/>
                          <a:sym typeface="Calibri"/>
                        </a:rPr>
                        <a:t>Article (3)</a:t>
                      </a:r>
                      <a:endParaRPr sz="1400" u="none" strike="noStrike" cap="none"/>
                    </a:p>
                    <a:p>
                      <a:pPr marL="0" marR="0" lvl="0" indent="0" algn="l" rtl="0">
                        <a:lnSpc>
                          <a:spcPct val="100000"/>
                        </a:lnSpc>
                        <a:spcBef>
                          <a:spcPts val="1500"/>
                        </a:spcBef>
                        <a:spcAft>
                          <a:spcPts val="0"/>
                        </a:spcAft>
                        <a:buClr>
                          <a:srgbClr val="000000"/>
                        </a:buClr>
                        <a:buSzPts val="1100"/>
                        <a:buFont typeface="Arial"/>
                        <a:buNone/>
                      </a:pPr>
                      <a:r>
                        <a:rPr lang="en-US" sz="1100" b="1" i="0" u="none" strike="noStrike" cap="none">
                          <a:solidFill>
                            <a:srgbClr val="000000"/>
                          </a:solidFill>
                          <a:latin typeface="Calibri"/>
                          <a:ea typeface="Calibri"/>
                          <a:cs typeface="Calibri"/>
                          <a:sym typeface="Calibri"/>
                        </a:rPr>
                        <a:t>Roles and Implementation Responsibilities</a:t>
                      </a:r>
                      <a:endParaRPr sz="1400" u="none" strike="noStrike" cap="none"/>
                    </a:p>
                    <a:p>
                      <a:pPr marL="0" marR="0" lvl="0" indent="0" algn="l" rtl="0">
                        <a:lnSpc>
                          <a:spcPct val="100000"/>
                        </a:lnSpc>
                        <a:spcBef>
                          <a:spcPts val="1500"/>
                        </a:spcBef>
                        <a:spcAft>
                          <a:spcPts val="0"/>
                        </a:spcAft>
                        <a:buClr>
                          <a:srgbClr val="000000"/>
                        </a:buClr>
                        <a:buSzPts val="1100"/>
                        <a:buFont typeface="Arial"/>
                        <a:buNone/>
                      </a:pPr>
                      <a:r>
                        <a:rPr lang="en-US" sz="1100" b="0" i="0" u="none" strike="noStrike" cap="none">
                          <a:solidFill>
                            <a:srgbClr val="000000"/>
                          </a:solidFill>
                          <a:latin typeface="Calibri"/>
                          <a:ea typeface="Calibri"/>
                          <a:cs typeface="Calibri"/>
                          <a:sym typeface="Calibri"/>
                        </a:rPr>
                        <a:t>3(1) The General Secretariat shall develop and approve profiles for each policy, specifying its objectives, expected outputs, and entities engaged in its development.</a:t>
                      </a:r>
                      <a:endParaRPr sz="1400" u="none" strike="noStrike" cap="none"/>
                    </a:p>
                    <a:p>
                      <a:pPr marL="0" marR="0" lvl="0" indent="0" algn="l" rtl="0">
                        <a:lnSpc>
                          <a:spcPct val="100000"/>
                        </a:lnSpc>
                        <a:spcBef>
                          <a:spcPts val="1500"/>
                        </a:spcBef>
                        <a:spcAft>
                          <a:spcPts val="0"/>
                        </a:spcAft>
                        <a:buClr>
                          <a:srgbClr val="000000"/>
                        </a:buClr>
                        <a:buSzPts val="1100"/>
                        <a:buFont typeface="Arial"/>
                        <a:buNone/>
                      </a:pPr>
                      <a:r>
                        <a:rPr lang="en-US" sz="1100" b="0" i="0" u="none" strike="noStrike" cap="none">
                          <a:solidFill>
                            <a:srgbClr val="000000"/>
                          </a:solidFill>
                          <a:latin typeface="Calibri"/>
                          <a:ea typeface="Calibri"/>
                          <a:cs typeface="Calibri"/>
                          <a:sym typeface="Calibri"/>
                        </a:rPr>
                        <a:t>3(2) Government entities responsible for the priority policies, specified in Article 2 of this resolution, shall form task forces, prepare the scope and development plan for such policies, and submit to the Secretary-General for approval.</a:t>
                      </a:r>
                      <a:endParaRPr sz="1400" u="none" strike="noStrike" cap="none"/>
                    </a:p>
                    <a:p>
                      <a:pPr marL="0" marR="0" lvl="0" indent="0" algn="l" rtl="0">
                        <a:lnSpc>
                          <a:spcPct val="100000"/>
                        </a:lnSpc>
                        <a:spcBef>
                          <a:spcPts val="1500"/>
                        </a:spcBef>
                        <a:spcAft>
                          <a:spcPts val="0"/>
                        </a:spcAft>
                        <a:buClr>
                          <a:srgbClr val="000000"/>
                        </a:buClr>
                        <a:buSzPts val="1100"/>
                        <a:buFont typeface="Arial"/>
                        <a:buNone/>
                      </a:pPr>
                      <a:r>
                        <a:rPr lang="en-US" sz="1100" b="0" i="0" u="none" strike="noStrike" cap="none">
                          <a:solidFill>
                            <a:srgbClr val="000000"/>
                          </a:solidFill>
                          <a:latin typeface="Calibri"/>
                          <a:ea typeface="Calibri"/>
                          <a:cs typeface="Calibri"/>
                          <a:sym typeface="Calibri"/>
                        </a:rPr>
                        <a:t>3(3) The Government entities, responsible for the priority policies, specified in Article 2 of this resolution, shall prepare and develop such policies in coordination with the General Secretariat and submit it to the concerned standing committees prior to their submission to the Executive Council before end of April 2020.</a:t>
                      </a:r>
                      <a:endParaRPr sz="1400" u="none" strike="noStrike" cap="none"/>
                    </a:p>
                    <a:p>
                      <a:pPr marL="0" marR="0" lvl="0" indent="0" algn="l" rtl="0">
                        <a:lnSpc>
                          <a:spcPct val="100000"/>
                        </a:lnSpc>
                        <a:spcBef>
                          <a:spcPts val="1500"/>
                        </a:spcBef>
                        <a:spcAft>
                          <a:spcPts val="0"/>
                        </a:spcAft>
                        <a:buClr>
                          <a:srgbClr val="000000"/>
                        </a:buClr>
                        <a:buSzPts val="1100"/>
                        <a:buFont typeface="Arial"/>
                        <a:buNone/>
                      </a:pPr>
                      <a:r>
                        <a:rPr lang="en-US" sz="1100" b="0" i="0" u="none" strike="noStrike" cap="none">
                          <a:solidFill>
                            <a:srgbClr val="000000"/>
                          </a:solidFill>
                          <a:latin typeface="Calibri"/>
                          <a:ea typeface="Calibri"/>
                          <a:cs typeface="Calibri"/>
                          <a:sym typeface="Calibri"/>
                        </a:rPr>
                        <a:t>3(4) The General Secretariat of The Executive Council shall report the progress made on the development of priority policies specified in Article 22 of this resolution and provide recommendations thereon to the Executive Council.</a:t>
                      </a:r>
                      <a:endParaRPr sz="1400" u="none" strike="noStrike" cap="none"/>
                    </a:p>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Calibri"/>
                        <a:ea typeface="Calibri"/>
                        <a:cs typeface="Calibri"/>
                        <a:sym typeface="Calibri"/>
                      </a:endParaRPr>
                    </a:p>
                  </a:txBody>
                  <a:tcPr marL="0" marR="72000" marT="126000" marB="126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accent1"/>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marR="0" lvl="0" indent="0" algn="r" rtl="1">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Calibri"/>
                        <a:ea typeface="Calibri"/>
                        <a:cs typeface="Calibri"/>
                        <a:sym typeface="Calibri"/>
                      </a:endParaRPr>
                    </a:p>
                  </a:txBody>
                  <a:tcPr marL="324000" marR="0" marT="126000" marB="126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accent1"/>
                      </a:solidFill>
                      <a:prstDash val="solid"/>
                      <a:round/>
                      <a:headEnd type="none" w="sm" len="sm"/>
                      <a:tailEnd type="none" w="sm" len="sm"/>
                    </a:lnT>
                    <a:lnB w="12700" cap="flat" cmpd="sng">
                      <a:solidFill>
                        <a:schemeClr val="accent1"/>
                      </a:solidFill>
                      <a:prstDash val="solid"/>
                      <a:round/>
                      <a:headEnd type="none" w="sm" len="sm"/>
                      <a:tailEnd type="none" w="sm" len="sm"/>
                    </a:lnB>
                  </a:tcPr>
                </a:tc>
                <a:extLst>
                  <a:ext uri="{0D108BD9-81ED-4DB2-BD59-A6C34878D82A}">
                    <a16:rowId xmlns:a16="http://schemas.microsoft.com/office/drawing/2014/main" val="10001"/>
                  </a:ext>
                </a:extLst>
              </a:tr>
            </a:tbl>
          </a:graphicData>
        </a:graphic>
      </p:graphicFrame>
      <p:sp>
        <p:nvSpPr>
          <p:cNvPr id="2555" name="Google Shape;2555;p34"/>
          <p:cNvSpPr txBox="1">
            <a:spLocks noGrp="1"/>
          </p:cNvSpPr>
          <p:nvPr>
            <p:ph type="title"/>
          </p:nvPr>
        </p:nvSpPr>
        <p:spPr>
          <a:xfrm>
            <a:off x="1375547" y="348339"/>
            <a:ext cx="2133600" cy="1255728"/>
          </a:xfrm>
          <a:prstGeom prst="rect">
            <a:avLst/>
          </a:prstGeom>
          <a:noFill/>
          <a:ln>
            <a:noFill/>
          </a:ln>
        </p:spPr>
        <p:txBody>
          <a:bodyPr spcFirstLastPara="1" wrap="square" lIns="0" tIns="0" rIns="0" bIns="0" anchor="t" anchorCtr="0">
            <a:spAutoFit/>
          </a:bodyPr>
          <a:lstStyle/>
          <a:p>
            <a:pPr marL="0" lvl="0" indent="0" algn="l" rtl="0">
              <a:lnSpc>
                <a:spcPct val="109375"/>
              </a:lnSpc>
              <a:spcBef>
                <a:spcPts val="0"/>
              </a:spcBef>
              <a:spcAft>
                <a:spcPts val="0"/>
              </a:spcAft>
              <a:buClr>
                <a:schemeClr val="dk2"/>
              </a:buClr>
              <a:buSzPts val="3200"/>
              <a:buFont typeface="Franklin Gothic"/>
              <a:buNone/>
            </a:pPr>
            <a:r>
              <a:rPr lang="en-US"/>
              <a:t>Case</a:t>
            </a:r>
            <a:br>
              <a:rPr lang="en-US"/>
            </a:br>
            <a:r>
              <a:rPr lang="en-US"/>
              <a:t>Example</a:t>
            </a:r>
            <a:endParaRPr/>
          </a:p>
        </p:txBody>
      </p:sp>
      <p:pic>
        <p:nvPicPr>
          <p:cNvPr id="2556" name="Google Shape;2556;p34" descr="A screenshot of a cell phone&#10;&#10;Description automatically generated"/>
          <p:cNvPicPr preferRelativeResize="0"/>
          <p:nvPr/>
        </p:nvPicPr>
        <p:blipFill rotWithShape="1">
          <a:blip r:embed="rId3">
            <a:alphaModFix/>
          </a:blip>
          <a:srcRect t="3945" r="7098" b="3701"/>
          <a:stretch/>
        </p:blipFill>
        <p:spPr>
          <a:xfrm>
            <a:off x="6233170" y="2465871"/>
            <a:ext cx="5562039" cy="3578660"/>
          </a:xfrm>
          <a:prstGeom prst="rect">
            <a:avLst/>
          </a:prstGeom>
          <a:solidFill>
            <a:schemeClr val="accent1">
              <a:alpha val="0"/>
            </a:schemeClr>
          </a:solidFill>
          <a:ln>
            <a:noFill/>
          </a:ln>
        </p:spPr>
      </p:pic>
      <p:sp>
        <p:nvSpPr>
          <p:cNvPr id="2557" name="Google Shape;2557;p34"/>
          <p:cNvSpPr txBox="1"/>
          <p:nvPr/>
        </p:nvSpPr>
        <p:spPr>
          <a:xfrm>
            <a:off x="3748544" y="320152"/>
            <a:ext cx="6298281" cy="923330"/>
          </a:xfrm>
          <a:prstGeom prst="rect">
            <a:avLst/>
          </a:prstGeom>
          <a:noFill/>
          <a:ln>
            <a:noFill/>
          </a:ln>
        </p:spPr>
        <p:txBody>
          <a:bodyPr spcFirstLastPara="1" wrap="square" lIns="0" tIns="45700" rIns="0" bIns="45700" anchor="t" anchorCtr="0">
            <a:spAutoFit/>
          </a:bodyPr>
          <a:lstStyle/>
          <a:p>
            <a:pPr marL="0" marR="0" lvl="0" indent="0" algn="l" rtl="0">
              <a:lnSpc>
                <a:spcPct val="100000"/>
              </a:lnSpc>
              <a:spcBef>
                <a:spcPts val="0"/>
              </a:spcBef>
              <a:spcAft>
                <a:spcPts val="0"/>
              </a:spcAft>
              <a:buClr>
                <a:schemeClr val="dk1"/>
              </a:buClr>
              <a:buSzPts val="1800"/>
              <a:buFont typeface="Calibri"/>
              <a:buNone/>
            </a:pPr>
            <a:r>
              <a:rPr lang="en-US" sz="1800" b="0" i="0" u="none" strike="noStrike" cap="none">
                <a:solidFill>
                  <a:schemeClr val="dk1"/>
                </a:solidFill>
                <a:latin typeface="Calibri"/>
                <a:ea typeface="Calibri"/>
                <a:cs typeface="Calibri"/>
                <a:sym typeface="Calibri"/>
              </a:rPr>
              <a:t>Clients require documents with highest quality and fastest turnaround; therefore, we deliver these docs by focusing on meaning and structure</a:t>
            </a:r>
            <a:endParaRPr sz="1400" b="0" i="0" u="none" strike="noStrike" cap="none">
              <a:solidFill>
                <a:srgbClr val="000000"/>
              </a:solidFill>
              <a:latin typeface="Arial"/>
              <a:ea typeface="Arial"/>
              <a:cs typeface="Arial"/>
              <a:sym typeface="Arial"/>
            </a:endParaRPr>
          </a:p>
        </p:txBody>
      </p:sp>
      <p:grpSp>
        <p:nvGrpSpPr>
          <p:cNvPr id="2558" name="Google Shape;2558;p34"/>
          <p:cNvGrpSpPr/>
          <p:nvPr/>
        </p:nvGrpSpPr>
        <p:grpSpPr>
          <a:xfrm>
            <a:off x="10881886" y="135255"/>
            <a:ext cx="1141311" cy="468742"/>
            <a:chOff x="10881886" y="135255"/>
            <a:chExt cx="1141311" cy="468742"/>
          </a:xfrm>
        </p:grpSpPr>
        <p:grpSp>
          <p:nvGrpSpPr>
            <p:cNvPr id="2559" name="Google Shape;2559;p34"/>
            <p:cNvGrpSpPr/>
            <p:nvPr/>
          </p:nvGrpSpPr>
          <p:grpSpPr>
            <a:xfrm>
              <a:off x="10881886" y="135255"/>
              <a:ext cx="1141311" cy="468742"/>
              <a:chOff x="10881886" y="135255"/>
              <a:chExt cx="1141311" cy="468742"/>
            </a:xfrm>
          </p:grpSpPr>
          <p:sp>
            <p:nvSpPr>
              <p:cNvPr id="2560" name="Google Shape;2560;p34"/>
              <p:cNvSpPr txBox="1"/>
              <p:nvPr/>
            </p:nvSpPr>
            <p:spPr>
              <a:xfrm>
                <a:off x="10881886" y="230150"/>
                <a:ext cx="628378" cy="2769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Business </a:t>
                </a:r>
                <a:endParaRPr sz="1400" b="0" i="0" u="none" strike="noStrike" cap="none">
                  <a:solidFill>
                    <a:srgbClr val="000000"/>
                  </a:solidFill>
                  <a:latin typeface="Arial"/>
                  <a:ea typeface="Arial"/>
                  <a:cs typeface="Arial"/>
                  <a:sym typeface="Arial"/>
                </a:endParaRPr>
              </a:p>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Translation</a:t>
                </a:r>
                <a:endParaRPr sz="1400" b="0" i="0" u="none" strike="noStrike" cap="none">
                  <a:solidFill>
                    <a:srgbClr val="000000"/>
                  </a:solidFill>
                  <a:latin typeface="Arial"/>
                  <a:ea typeface="Arial"/>
                  <a:cs typeface="Arial"/>
                  <a:sym typeface="Arial"/>
                </a:endParaRPr>
              </a:p>
            </p:txBody>
          </p:sp>
          <p:sp>
            <p:nvSpPr>
              <p:cNvPr id="2561" name="Google Shape;2561;p34"/>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grpSp>
          <p:nvGrpSpPr>
            <p:cNvPr id="2562" name="Google Shape;2562;p34"/>
            <p:cNvGrpSpPr/>
            <p:nvPr/>
          </p:nvGrpSpPr>
          <p:grpSpPr>
            <a:xfrm>
              <a:off x="11701145" y="220980"/>
              <a:ext cx="175360" cy="295338"/>
              <a:chOff x="6689308" y="2024976"/>
              <a:chExt cx="325986" cy="549024"/>
            </a:xfrm>
          </p:grpSpPr>
          <p:sp>
            <p:nvSpPr>
              <p:cNvPr id="2563" name="Google Shape;2563;p34"/>
              <p:cNvSpPr/>
              <p:nvPr/>
            </p:nvSpPr>
            <p:spPr>
              <a:xfrm>
                <a:off x="6689308" y="2024976"/>
                <a:ext cx="325986" cy="549024"/>
              </a:xfrm>
              <a:custGeom>
                <a:avLst/>
                <a:gdLst/>
                <a:ahLst/>
                <a:cxnLst/>
                <a:rect l="l" t="t" r="r" b="b"/>
                <a:pathLst>
                  <a:path w="325986" h="549024" extrusionOk="0">
                    <a:moveTo>
                      <a:pt x="304900" y="0"/>
                    </a:moveTo>
                    <a:lnTo>
                      <a:pt x="24663" y="0"/>
                    </a:lnTo>
                    <a:cubicBezTo>
                      <a:pt x="11049" y="17"/>
                      <a:pt x="17" y="11049"/>
                      <a:pt x="0" y="24663"/>
                    </a:cubicBezTo>
                    <a:lnTo>
                      <a:pt x="0" y="524361"/>
                    </a:lnTo>
                    <a:cubicBezTo>
                      <a:pt x="17" y="537975"/>
                      <a:pt x="11049" y="549007"/>
                      <a:pt x="24663" y="549024"/>
                    </a:cubicBezTo>
                    <a:lnTo>
                      <a:pt x="304900" y="549024"/>
                    </a:lnTo>
                    <a:cubicBezTo>
                      <a:pt x="318516" y="549011"/>
                      <a:pt x="329551" y="537975"/>
                      <a:pt x="329563" y="524361"/>
                    </a:cubicBezTo>
                    <a:lnTo>
                      <a:pt x="329563" y="24663"/>
                    </a:lnTo>
                    <a:cubicBezTo>
                      <a:pt x="329551" y="11048"/>
                      <a:pt x="318516" y="14"/>
                      <a:pt x="304900" y="0"/>
                    </a:cubicBezTo>
                    <a:close/>
                    <a:moveTo>
                      <a:pt x="240852" y="15012"/>
                    </a:moveTo>
                    <a:lnTo>
                      <a:pt x="223313" y="32538"/>
                    </a:lnTo>
                    <a:cubicBezTo>
                      <a:pt x="216691" y="39189"/>
                      <a:pt x="207684" y="42917"/>
                      <a:pt x="198298" y="42893"/>
                    </a:cubicBezTo>
                    <a:lnTo>
                      <a:pt x="131265" y="42893"/>
                    </a:lnTo>
                    <a:cubicBezTo>
                      <a:pt x="121879" y="42917"/>
                      <a:pt x="112873" y="39189"/>
                      <a:pt x="106250" y="32538"/>
                    </a:cubicBezTo>
                    <a:lnTo>
                      <a:pt x="88711" y="15012"/>
                    </a:lnTo>
                    <a:close/>
                    <a:moveTo>
                      <a:pt x="314551" y="524361"/>
                    </a:moveTo>
                    <a:cubicBezTo>
                      <a:pt x="314544" y="529688"/>
                      <a:pt x="310227" y="534003"/>
                      <a:pt x="304900" y="534012"/>
                    </a:cubicBezTo>
                    <a:lnTo>
                      <a:pt x="24663" y="534012"/>
                    </a:lnTo>
                    <a:cubicBezTo>
                      <a:pt x="19336" y="534003"/>
                      <a:pt x="15020" y="529688"/>
                      <a:pt x="15013" y="524361"/>
                    </a:cubicBezTo>
                    <a:lnTo>
                      <a:pt x="15013" y="24663"/>
                    </a:lnTo>
                    <a:cubicBezTo>
                      <a:pt x="15020" y="19336"/>
                      <a:pt x="19336" y="15019"/>
                      <a:pt x="24663" y="15012"/>
                    </a:cubicBezTo>
                    <a:lnTo>
                      <a:pt x="67471" y="15012"/>
                    </a:lnTo>
                    <a:lnTo>
                      <a:pt x="95638" y="43163"/>
                    </a:lnTo>
                    <a:cubicBezTo>
                      <a:pt x="105072" y="52633"/>
                      <a:pt x="117898" y="57940"/>
                      <a:pt x="131265" y="57905"/>
                    </a:cubicBezTo>
                    <a:lnTo>
                      <a:pt x="198298" y="57905"/>
                    </a:lnTo>
                    <a:cubicBezTo>
                      <a:pt x="211665" y="57940"/>
                      <a:pt x="224492" y="52633"/>
                      <a:pt x="233925" y="43163"/>
                    </a:cubicBezTo>
                    <a:lnTo>
                      <a:pt x="262093" y="15012"/>
                    </a:lnTo>
                    <a:lnTo>
                      <a:pt x="304900" y="15012"/>
                    </a:lnTo>
                    <a:cubicBezTo>
                      <a:pt x="310227" y="15019"/>
                      <a:pt x="314544" y="19336"/>
                      <a:pt x="314551" y="2466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64" name="Google Shape;2564;p34"/>
              <p:cNvSpPr/>
              <p:nvPr/>
            </p:nvSpPr>
            <p:spPr>
              <a:xfrm>
                <a:off x="6732201" y="2110795"/>
                <a:ext cx="85786" cy="98653"/>
              </a:xfrm>
              <a:custGeom>
                <a:avLst/>
                <a:gdLst/>
                <a:ahLst/>
                <a:cxnLst/>
                <a:rect l="l" t="t" r="r" b="b"/>
                <a:pathLst>
                  <a:path w="85785" h="98652" extrusionOk="0">
                    <a:moveTo>
                      <a:pt x="5040" y="98734"/>
                    </a:moveTo>
                    <a:cubicBezTo>
                      <a:pt x="8946" y="100102"/>
                      <a:pt x="13221" y="98044"/>
                      <a:pt x="14588" y="94138"/>
                    </a:cubicBezTo>
                    <a:cubicBezTo>
                      <a:pt x="14591" y="94130"/>
                      <a:pt x="14594" y="94122"/>
                      <a:pt x="14597" y="94115"/>
                    </a:cubicBezTo>
                    <a:lnTo>
                      <a:pt x="27499" y="57081"/>
                    </a:lnTo>
                    <a:lnTo>
                      <a:pt x="62242" y="57081"/>
                    </a:lnTo>
                    <a:lnTo>
                      <a:pt x="75136" y="94115"/>
                    </a:lnTo>
                    <a:cubicBezTo>
                      <a:pt x="76715" y="97948"/>
                      <a:pt x="81102" y="99776"/>
                      <a:pt x="84935" y="98197"/>
                    </a:cubicBezTo>
                    <a:cubicBezTo>
                      <a:pt x="88471" y="96740"/>
                      <a:pt x="90347" y="92858"/>
                      <a:pt x="89290" y="89182"/>
                    </a:cubicBezTo>
                    <a:lnTo>
                      <a:pt x="59994" y="5040"/>
                    </a:lnTo>
                    <a:cubicBezTo>
                      <a:pt x="58944" y="2022"/>
                      <a:pt x="56099" y="0"/>
                      <a:pt x="52904" y="0"/>
                    </a:cubicBezTo>
                    <a:lnTo>
                      <a:pt x="36819" y="0"/>
                    </a:lnTo>
                    <a:cubicBezTo>
                      <a:pt x="33624" y="0"/>
                      <a:pt x="30779" y="2022"/>
                      <a:pt x="29729" y="5040"/>
                    </a:cubicBezTo>
                    <a:lnTo>
                      <a:pt x="420" y="89182"/>
                    </a:lnTo>
                    <a:cubicBezTo>
                      <a:pt x="-944" y="93092"/>
                      <a:pt x="1120" y="97367"/>
                      <a:pt x="5030" y="98731"/>
                    </a:cubicBezTo>
                    <a:cubicBezTo>
                      <a:pt x="5034" y="98732"/>
                      <a:pt x="5037" y="98733"/>
                      <a:pt x="5040" y="98734"/>
                    </a:cubicBezTo>
                    <a:close/>
                    <a:moveTo>
                      <a:pt x="42151" y="15012"/>
                    </a:moveTo>
                    <a:lnTo>
                      <a:pt x="47568" y="15012"/>
                    </a:lnTo>
                    <a:lnTo>
                      <a:pt x="57005" y="42069"/>
                    </a:lnTo>
                    <a:lnTo>
                      <a:pt x="32727" y="4206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65" name="Google Shape;2565;p34"/>
              <p:cNvSpPr/>
              <p:nvPr/>
            </p:nvSpPr>
            <p:spPr>
              <a:xfrm>
                <a:off x="6886259" y="2110795"/>
                <a:ext cx="85786" cy="98653"/>
              </a:xfrm>
              <a:custGeom>
                <a:avLst/>
                <a:gdLst/>
                <a:ahLst/>
                <a:cxnLst/>
                <a:rect l="l" t="t" r="r" b="b"/>
                <a:pathLst>
                  <a:path w="85785" h="98652" extrusionOk="0">
                    <a:moveTo>
                      <a:pt x="82213" y="24629"/>
                    </a:moveTo>
                    <a:lnTo>
                      <a:pt x="52368" y="24629"/>
                    </a:lnTo>
                    <a:lnTo>
                      <a:pt x="52368" y="7506"/>
                    </a:lnTo>
                    <a:cubicBezTo>
                      <a:pt x="52368" y="3361"/>
                      <a:pt x="49007" y="0"/>
                      <a:pt x="44862" y="0"/>
                    </a:cubicBezTo>
                    <a:cubicBezTo>
                      <a:pt x="40716" y="0"/>
                      <a:pt x="37355" y="3361"/>
                      <a:pt x="37355" y="7506"/>
                    </a:cubicBezTo>
                    <a:lnTo>
                      <a:pt x="37355" y="24629"/>
                    </a:lnTo>
                    <a:lnTo>
                      <a:pt x="7506" y="24629"/>
                    </a:lnTo>
                    <a:cubicBezTo>
                      <a:pt x="3361" y="24629"/>
                      <a:pt x="0" y="27990"/>
                      <a:pt x="0" y="32135"/>
                    </a:cubicBezTo>
                    <a:cubicBezTo>
                      <a:pt x="0" y="36281"/>
                      <a:pt x="3361" y="39641"/>
                      <a:pt x="7506" y="39641"/>
                    </a:cubicBezTo>
                    <a:lnTo>
                      <a:pt x="17873" y="39641"/>
                    </a:lnTo>
                    <a:lnTo>
                      <a:pt x="17873" y="41027"/>
                    </a:lnTo>
                    <a:cubicBezTo>
                      <a:pt x="17867" y="52418"/>
                      <a:pt x="22457" y="63330"/>
                      <a:pt x="30604" y="71292"/>
                    </a:cubicBezTo>
                    <a:lnTo>
                      <a:pt x="4066" y="84974"/>
                    </a:lnTo>
                    <a:cubicBezTo>
                      <a:pt x="456" y="87016"/>
                      <a:pt x="-816" y="91599"/>
                      <a:pt x="1226" y="95209"/>
                    </a:cubicBezTo>
                    <a:cubicBezTo>
                      <a:pt x="3154" y="98618"/>
                      <a:pt x="7378" y="99973"/>
                      <a:pt x="10929" y="98322"/>
                    </a:cubicBezTo>
                    <a:lnTo>
                      <a:pt x="44845" y="80831"/>
                    </a:lnTo>
                    <a:lnTo>
                      <a:pt x="78756" y="98322"/>
                    </a:lnTo>
                    <a:cubicBezTo>
                      <a:pt x="82366" y="100365"/>
                      <a:pt x="86948" y="99093"/>
                      <a:pt x="88990" y="95483"/>
                    </a:cubicBezTo>
                    <a:cubicBezTo>
                      <a:pt x="91032" y="91872"/>
                      <a:pt x="89761" y="87290"/>
                      <a:pt x="86151" y="85248"/>
                    </a:cubicBezTo>
                    <a:cubicBezTo>
                      <a:pt x="85977" y="85150"/>
                      <a:pt x="85800" y="85058"/>
                      <a:pt x="85619" y="84974"/>
                    </a:cubicBezTo>
                    <a:lnTo>
                      <a:pt x="59085" y="71292"/>
                    </a:lnTo>
                    <a:cubicBezTo>
                      <a:pt x="67232" y="63329"/>
                      <a:pt x="71821" y="52415"/>
                      <a:pt x="71811" y="41022"/>
                    </a:cubicBezTo>
                    <a:lnTo>
                      <a:pt x="71811" y="39641"/>
                    </a:lnTo>
                    <a:lnTo>
                      <a:pt x="82179" y="39641"/>
                    </a:lnTo>
                    <a:cubicBezTo>
                      <a:pt x="86324" y="39641"/>
                      <a:pt x="89685" y="36281"/>
                      <a:pt x="89685" y="32135"/>
                    </a:cubicBezTo>
                    <a:cubicBezTo>
                      <a:pt x="89685" y="27990"/>
                      <a:pt x="86324" y="24629"/>
                      <a:pt x="82179" y="24629"/>
                    </a:cubicBezTo>
                    <a:close/>
                    <a:moveTo>
                      <a:pt x="56833" y="41022"/>
                    </a:moveTo>
                    <a:cubicBezTo>
                      <a:pt x="56848" y="50092"/>
                      <a:pt x="52363" y="58580"/>
                      <a:pt x="44862" y="63678"/>
                    </a:cubicBezTo>
                    <a:cubicBezTo>
                      <a:pt x="37360" y="58580"/>
                      <a:pt x="32874" y="50093"/>
                      <a:pt x="32886" y="41022"/>
                    </a:cubicBezTo>
                    <a:lnTo>
                      <a:pt x="32886" y="39641"/>
                    </a:lnTo>
                    <a:lnTo>
                      <a:pt x="56833" y="39641"/>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66" name="Google Shape;2566;p34"/>
              <p:cNvSpPr/>
              <p:nvPr/>
            </p:nvSpPr>
            <p:spPr>
              <a:xfrm>
                <a:off x="6832510" y="2152864"/>
                <a:ext cx="42893" cy="12868"/>
              </a:xfrm>
              <a:custGeom>
                <a:avLst/>
                <a:gdLst/>
                <a:ahLst/>
                <a:cxnLst/>
                <a:rect l="l" t="t" r="r" b="b"/>
                <a:pathLst>
                  <a:path w="42892" h="12867" extrusionOk="0">
                    <a:moveTo>
                      <a:pt x="7506" y="15012"/>
                    </a:moveTo>
                    <a:lnTo>
                      <a:pt x="35653" y="15012"/>
                    </a:lnTo>
                    <a:cubicBezTo>
                      <a:pt x="39798" y="15012"/>
                      <a:pt x="43159" y="11652"/>
                      <a:pt x="43159" y="7506"/>
                    </a:cubicBezTo>
                    <a:cubicBezTo>
                      <a:pt x="43159" y="3361"/>
                      <a:pt x="39798" y="0"/>
                      <a:pt x="35653"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67" name="Google Shape;2567;p34"/>
              <p:cNvSpPr/>
              <p:nvPr/>
            </p:nvSpPr>
            <p:spPr>
              <a:xfrm>
                <a:off x="6732201" y="223786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68" name="Google Shape;2568;p34"/>
              <p:cNvSpPr/>
              <p:nvPr/>
            </p:nvSpPr>
            <p:spPr>
              <a:xfrm>
                <a:off x="6756508" y="2288113"/>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69" name="Google Shape;2569;p34"/>
              <p:cNvSpPr/>
              <p:nvPr/>
            </p:nvSpPr>
            <p:spPr>
              <a:xfrm>
                <a:off x="6732201" y="2338361"/>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70" name="Google Shape;2570;p34"/>
              <p:cNvSpPr/>
              <p:nvPr/>
            </p:nvSpPr>
            <p:spPr>
              <a:xfrm>
                <a:off x="6756508" y="2388606"/>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71" name="Google Shape;2571;p34"/>
              <p:cNvSpPr/>
              <p:nvPr/>
            </p:nvSpPr>
            <p:spPr>
              <a:xfrm>
                <a:off x="6732201" y="243885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72" name="Google Shape;2572;p34"/>
              <p:cNvSpPr/>
              <p:nvPr/>
            </p:nvSpPr>
            <p:spPr>
              <a:xfrm>
                <a:off x="6756508" y="2491764"/>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2576"/>
        <p:cNvGrpSpPr/>
        <p:nvPr/>
      </p:nvGrpSpPr>
      <p:grpSpPr>
        <a:xfrm>
          <a:off x="0" y="0"/>
          <a:ext cx="0" cy="0"/>
          <a:chOff x="0" y="0"/>
          <a:chExt cx="0" cy="0"/>
        </a:xfrm>
      </p:grpSpPr>
      <p:pic>
        <p:nvPicPr>
          <p:cNvPr id="2577" name="Google Shape;2577;p35"/>
          <p:cNvPicPr preferRelativeResize="0"/>
          <p:nvPr/>
        </p:nvPicPr>
        <p:blipFill rotWithShape="1">
          <a:blip r:embed="rId3">
            <a:alphaModFix/>
          </a:blip>
          <a:srcRect/>
          <a:stretch/>
        </p:blipFill>
        <p:spPr>
          <a:xfrm>
            <a:off x="6187440" y="0"/>
            <a:ext cx="6004560" cy="6858000"/>
          </a:xfrm>
          <a:prstGeom prst="rect">
            <a:avLst/>
          </a:prstGeom>
          <a:noFill/>
          <a:ln>
            <a:noFill/>
          </a:ln>
        </p:spPr>
      </p:pic>
      <p:sp>
        <p:nvSpPr>
          <p:cNvPr id="2578" name="Google Shape;2578;p35"/>
          <p:cNvSpPr txBox="1">
            <a:spLocks noGrp="1"/>
          </p:cNvSpPr>
          <p:nvPr>
            <p:ph type="title"/>
          </p:nvPr>
        </p:nvSpPr>
        <p:spPr>
          <a:xfrm>
            <a:off x="539400" y="560588"/>
            <a:ext cx="11089972" cy="13295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Our work - Requests/Projects </a:t>
            </a:r>
            <a:br>
              <a:rPr lang="en-US"/>
            </a:br>
            <a:r>
              <a:rPr lang="en-US"/>
              <a:t>Support</a:t>
            </a:r>
            <a:br>
              <a:rPr lang="en-US"/>
            </a:br>
            <a:endParaRPr/>
          </a:p>
        </p:txBody>
      </p:sp>
      <p:graphicFrame>
        <p:nvGraphicFramePr>
          <p:cNvPr id="2579" name="Google Shape;2579;p35"/>
          <p:cNvGraphicFramePr/>
          <p:nvPr/>
        </p:nvGraphicFramePr>
        <p:xfrm>
          <a:off x="478438" y="2139036"/>
          <a:ext cx="5208000" cy="3696573"/>
        </p:xfrm>
        <a:graphic>
          <a:graphicData uri="http://schemas.openxmlformats.org/drawingml/2006/table">
            <a:tbl>
              <a:tblPr>
                <a:noFill/>
                <a:tableStyleId>{410035E7-BAF8-4B9D-805A-DB07596FDFCD}</a:tableStyleId>
              </a:tblPr>
              <a:tblGrid>
                <a:gridCol w="1407400">
                  <a:extLst>
                    <a:ext uri="{9D8B030D-6E8A-4147-A177-3AD203B41FA5}">
                      <a16:colId xmlns:a16="http://schemas.microsoft.com/office/drawing/2014/main" val="20000"/>
                    </a:ext>
                  </a:extLst>
                </a:gridCol>
                <a:gridCol w="3800600">
                  <a:extLst>
                    <a:ext uri="{9D8B030D-6E8A-4147-A177-3AD203B41FA5}">
                      <a16:colId xmlns:a16="http://schemas.microsoft.com/office/drawing/2014/main" val="20001"/>
                    </a:ext>
                  </a:extLst>
                </a:gridCol>
              </a:tblGrid>
              <a:tr h="0">
                <a:tc>
                  <a:txBody>
                    <a:bodyPr/>
                    <a:lstStyle/>
                    <a:p>
                      <a:pPr marL="0" marR="0" lvl="0" indent="0" algn="l" rtl="0">
                        <a:lnSpc>
                          <a:spcPct val="112500"/>
                        </a:lnSpc>
                        <a:spcBef>
                          <a:spcPts val="0"/>
                        </a:spcBef>
                        <a:spcAft>
                          <a:spcPts val="0"/>
                        </a:spcAft>
                        <a:buClr>
                          <a:srgbClr val="000000"/>
                        </a:buClr>
                        <a:buSzPts val="1600"/>
                        <a:buFont typeface="Arial"/>
                        <a:buNone/>
                      </a:pPr>
                      <a:r>
                        <a:rPr lang="en-US" sz="1600" b="1" u="none" strike="noStrike" cap="none">
                          <a:solidFill>
                            <a:schemeClr val="accent1"/>
                          </a:solidFill>
                          <a:latin typeface="Calibri"/>
                          <a:ea typeface="Calibri"/>
                          <a:cs typeface="Calibri"/>
                          <a:sym typeface="Calibri"/>
                        </a:rPr>
                        <a:t>Text</a:t>
                      </a:r>
                      <a:br>
                        <a:rPr lang="en-US" sz="1600" b="1" u="none" strike="noStrike" cap="none">
                          <a:solidFill>
                            <a:schemeClr val="accent1"/>
                          </a:solidFill>
                          <a:latin typeface="Calibri"/>
                          <a:ea typeface="Calibri"/>
                          <a:cs typeface="Calibri"/>
                          <a:sym typeface="Calibri"/>
                        </a:rPr>
                      </a:br>
                      <a:r>
                        <a:rPr lang="en-US" sz="1600" b="1" u="none" strike="noStrike" cap="none">
                          <a:solidFill>
                            <a:schemeClr val="accent1"/>
                          </a:solidFill>
                          <a:latin typeface="Calibri"/>
                          <a:ea typeface="Calibri"/>
                          <a:cs typeface="Calibri"/>
                          <a:sym typeface="Calibri"/>
                        </a:rPr>
                        <a:t>Characteristics</a:t>
                      </a:r>
                      <a:endParaRPr sz="1600" u="none" strike="noStrike" cap="none"/>
                    </a:p>
                  </a:txBody>
                  <a:tcPr marL="0" marR="0" marT="108000" marB="108000">
                    <a:lnT w="12700" cap="flat" cmpd="sng">
                      <a:solidFill>
                        <a:schemeClr val="accent1"/>
                      </a:solidFill>
                      <a:prstDash val="solid"/>
                      <a:round/>
                      <a:headEnd type="none" w="sm" len="sm"/>
                      <a:tailEnd type="none" w="sm" len="sm"/>
                    </a:lnT>
                    <a:lnB w="9525" cap="flat" cmpd="sng">
                      <a:solidFill>
                        <a:srgbClr val="7F7F7F"/>
                      </a:solidFill>
                      <a:prstDash val="dash"/>
                      <a:round/>
                      <a:headEnd type="none" w="sm" len="sm"/>
                      <a:tailEnd type="none" w="sm" len="sm"/>
                    </a:lnB>
                  </a:tcPr>
                </a:tc>
                <a:tc>
                  <a:txBody>
                    <a:bodyPr/>
                    <a:lstStyle/>
                    <a:p>
                      <a:pPr marL="174625" marR="0" lvl="0" indent="-174625" algn="l" rtl="0">
                        <a:lnSpc>
                          <a:spcPct val="112500"/>
                        </a:lnSpc>
                        <a:spcBef>
                          <a:spcPts val="0"/>
                        </a:spcBef>
                        <a:spcAft>
                          <a:spcPts val="0"/>
                        </a:spcAft>
                        <a:buClr>
                          <a:schemeClr val="dk2"/>
                        </a:buClr>
                        <a:buSzPts val="1600"/>
                        <a:buFont typeface="Noto Sans Symbols"/>
                        <a:buChar char="▪"/>
                      </a:pPr>
                      <a:r>
                        <a:rPr lang="en-US" sz="1600" u="none" strike="noStrike" cap="none">
                          <a:solidFill>
                            <a:schemeClr val="dk1"/>
                          </a:solidFill>
                          <a:latin typeface="Calibri"/>
                          <a:ea typeface="Calibri"/>
                          <a:cs typeface="Calibri"/>
                          <a:sym typeface="Calibri"/>
                        </a:rPr>
                        <a:t>Miscellaneous snippets from different sources that depend on the topic of the request/project</a:t>
                      </a:r>
                      <a:endParaRPr sz="1600" u="none" strike="noStrike" cap="none"/>
                    </a:p>
                  </a:txBody>
                  <a:tcPr marL="0" marR="0" marT="108000" marB="108000">
                    <a:lnT w="12700" cap="flat" cmpd="sng">
                      <a:solidFill>
                        <a:schemeClr val="accent1"/>
                      </a:solidFill>
                      <a:prstDash val="solid"/>
                      <a:round/>
                      <a:headEnd type="none" w="sm" len="sm"/>
                      <a:tailEnd type="none" w="sm" len="sm"/>
                    </a:lnT>
                    <a:lnB w="9525" cap="flat" cmpd="sng">
                      <a:solidFill>
                        <a:srgbClr val="7F7F7F"/>
                      </a:solidFill>
                      <a:prstDash val="dash"/>
                      <a:round/>
                      <a:headEnd type="none" w="sm" len="sm"/>
                      <a:tailEnd type="none" w="sm" len="sm"/>
                    </a:lnB>
                  </a:tcPr>
                </a:tc>
                <a:extLst>
                  <a:ext uri="{0D108BD9-81ED-4DB2-BD59-A6C34878D82A}">
                    <a16:rowId xmlns:a16="http://schemas.microsoft.com/office/drawing/2014/main" val="10000"/>
                  </a:ext>
                </a:extLst>
              </a:tr>
              <a:tr h="0">
                <a:tc>
                  <a:txBody>
                    <a:bodyPr/>
                    <a:lstStyle/>
                    <a:p>
                      <a:pPr marL="0" marR="0" lvl="0" indent="0" algn="l" rtl="0">
                        <a:lnSpc>
                          <a:spcPct val="112500"/>
                        </a:lnSpc>
                        <a:spcBef>
                          <a:spcPts val="0"/>
                        </a:spcBef>
                        <a:spcAft>
                          <a:spcPts val="0"/>
                        </a:spcAft>
                        <a:buClr>
                          <a:srgbClr val="000000"/>
                        </a:buClr>
                        <a:buSzPts val="1600"/>
                        <a:buFont typeface="Arial"/>
                        <a:buNone/>
                      </a:pPr>
                      <a:r>
                        <a:rPr lang="en-US" sz="1600" b="1" u="none" strike="noStrike" cap="none">
                          <a:solidFill>
                            <a:schemeClr val="accent1"/>
                          </a:solidFill>
                          <a:latin typeface="Calibri"/>
                          <a:ea typeface="Calibri"/>
                          <a:cs typeface="Calibri"/>
                          <a:sym typeface="Calibri"/>
                        </a:rPr>
                        <a:t>Challenge</a:t>
                      </a:r>
                      <a:endParaRPr sz="1600" u="none" strike="noStrike" cap="none"/>
                    </a:p>
                  </a:txBody>
                  <a:tcPr marL="0" marR="0" marT="108000" marB="108000">
                    <a:lnT w="9525" cap="flat" cmpd="sng">
                      <a:solidFill>
                        <a:srgbClr val="7F7F7F"/>
                      </a:solidFill>
                      <a:prstDash val="dash"/>
                      <a:round/>
                      <a:headEnd type="none" w="sm" len="sm"/>
                      <a:tailEnd type="none" w="sm" len="sm"/>
                    </a:lnT>
                    <a:lnB w="9525" cap="flat" cmpd="sng">
                      <a:solidFill>
                        <a:srgbClr val="7F7F7F"/>
                      </a:solidFill>
                      <a:prstDash val="dash"/>
                      <a:round/>
                      <a:headEnd type="none" w="sm" len="sm"/>
                      <a:tailEnd type="none" w="sm" len="sm"/>
                    </a:lnB>
                  </a:tcPr>
                </a:tc>
                <a:tc>
                  <a:txBody>
                    <a:bodyPr/>
                    <a:lstStyle/>
                    <a:p>
                      <a:pPr marL="174625" marR="0" lvl="0" indent="-174625" algn="l" rtl="0">
                        <a:lnSpc>
                          <a:spcPct val="112500"/>
                        </a:lnSpc>
                        <a:spcBef>
                          <a:spcPts val="0"/>
                        </a:spcBef>
                        <a:spcAft>
                          <a:spcPts val="0"/>
                        </a:spcAft>
                        <a:buClr>
                          <a:schemeClr val="dk2"/>
                        </a:buClr>
                        <a:buSzPts val="1600"/>
                        <a:buFont typeface="Noto Sans Symbols"/>
                        <a:buChar char="▪"/>
                      </a:pPr>
                      <a:r>
                        <a:rPr lang="en-US" sz="1600" u="none" strike="noStrike" cap="none">
                          <a:solidFill>
                            <a:schemeClr val="dk1"/>
                          </a:solidFill>
                          <a:latin typeface="Calibri"/>
                          <a:ea typeface="Calibri"/>
                          <a:cs typeface="Calibri"/>
                          <a:sym typeface="Calibri"/>
                        </a:rPr>
                        <a:t>A simple text that is easy to digest and merged with additional content without affecting consistency</a:t>
                      </a:r>
                      <a:endParaRPr sz="1600" u="none" strike="noStrike" cap="none"/>
                    </a:p>
                  </a:txBody>
                  <a:tcPr marL="0" marR="0" marT="108000" marB="108000">
                    <a:lnT w="9525" cap="flat" cmpd="sng">
                      <a:solidFill>
                        <a:srgbClr val="7F7F7F"/>
                      </a:solidFill>
                      <a:prstDash val="dash"/>
                      <a:round/>
                      <a:headEnd type="none" w="sm" len="sm"/>
                      <a:tailEnd type="none" w="sm" len="sm"/>
                    </a:lnT>
                    <a:lnB w="9525" cap="flat" cmpd="sng">
                      <a:solidFill>
                        <a:srgbClr val="7F7F7F"/>
                      </a:solidFill>
                      <a:prstDash val="dash"/>
                      <a:round/>
                      <a:headEnd type="none" w="sm" len="sm"/>
                      <a:tailEnd type="none" w="sm" len="sm"/>
                    </a:lnB>
                  </a:tcPr>
                </a:tc>
                <a:extLst>
                  <a:ext uri="{0D108BD9-81ED-4DB2-BD59-A6C34878D82A}">
                    <a16:rowId xmlns:a16="http://schemas.microsoft.com/office/drawing/2014/main" val="10001"/>
                  </a:ext>
                </a:extLst>
              </a:tr>
              <a:tr h="252000">
                <a:tc>
                  <a:txBody>
                    <a:bodyPr/>
                    <a:lstStyle/>
                    <a:p>
                      <a:pPr marL="0" marR="0" lvl="0" indent="0" algn="l" rtl="0">
                        <a:lnSpc>
                          <a:spcPct val="112500"/>
                        </a:lnSpc>
                        <a:spcBef>
                          <a:spcPts val="0"/>
                        </a:spcBef>
                        <a:spcAft>
                          <a:spcPts val="0"/>
                        </a:spcAft>
                        <a:buClr>
                          <a:srgbClr val="000000"/>
                        </a:buClr>
                        <a:buSzPts val="1600"/>
                        <a:buFont typeface="Arial"/>
                        <a:buNone/>
                      </a:pPr>
                      <a:r>
                        <a:rPr lang="en-US" sz="1600" b="1" u="none" strike="noStrike" cap="none">
                          <a:solidFill>
                            <a:schemeClr val="accent1"/>
                          </a:solidFill>
                          <a:latin typeface="Calibri"/>
                          <a:ea typeface="Calibri"/>
                          <a:cs typeface="Calibri"/>
                          <a:sym typeface="Calibri"/>
                        </a:rPr>
                        <a:t>Translation Methodology</a:t>
                      </a:r>
                      <a:endParaRPr sz="1600" u="none" strike="noStrike" cap="none"/>
                    </a:p>
                  </a:txBody>
                  <a:tcPr marL="0" marR="0" marT="108000" marB="108000">
                    <a:lnT w="9525" cap="flat" cmpd="sng">
                      <a:solidFill>
                        <a:srgbClr val="7F7F7F"/>
                      </a:solidFill>
                      <a:prstDash val="dash"/>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174625" marR="0" lvl="0" indent="-174625" algn="l" rtl="0">
                        <a:lnSpc>
                          <a:spcPct val="112500"/>
                        </a:lnSpc>
                        <a:spcBef>
                          <a:spcPts val="0"/>
                        </a:spcBef>
                        <a:spcAft>
                          <a:spcPts val="0"/>
                        </a:spcAft>
                        <a:buClr>
                          <a:schemeClr val="dk2"/>
                        </a:buClr>
                        <a:buSzPts val="1600"/>
                        <a:buFont typeface="Noto Sans Symbols"/>
                        <a:buChar char="▪"/>
                      </a:pPr>
                      <a:r>
                        <a:rPr lang="en-US" sz="1600" u="none" strike="noStrike" cap="none">
                          <a:latin typeface="Calibri"/>
                          <a:ea typeface="Calibri"/>
                          <a:cs typeface="Calibri"/>
                          <a:sym typeface="Calibri"/>
                        </a:rPr>
                        <a:t>Try to understand from the analyst the scope of his/her assignment and have more context</a:t>
                      </a:r>
                      <a:endParaRPr sz="1600" u="none" strike="noStrike" cap="none"/>
                    </a:p>
                    <a:p>
                      <a:pPr marL="174625" marR="0" lvl="0" indent="-174625" algn="l" rtl="0">
                        <a:lnSpc>
                          <a:spcPct val="112500"/>
                        </a:lnSpc>
                        <a:spcBef>
                          <a:spcPts val="500"/>
                        </a:spcBef>
                        <a:spcAft>
                          <a:spcPts val="0"/>
                        </a:spcAft>
                        <a:buClr>
                          <a:schemeClr val="dk2"/>
                        </a:buClr>
                        <a:buSzPts val="1600"/>
                        <a:buFont typeface="Noto Sans Symbols"/>
                        <a:buChar char="▪"/>
                      </a:pPr>
                      <a:r>
                        <a:rPr lang="en-US" sz="1600" u="none" strike="noStrike" cap="none">
                          <a:latin typeface="Calibri"/>
                          <a:ea typeface="Calibri"/>
                          <a:cs typeface="Calibri"/>
                          <a:sym typeface="Calibri"/>
                        </a:rPr>
                        <a:t>Avoid jargons and provide a plain text with more emphasis on business concepts</a:t>
                      </a:r>
                      <a:endParaRPr sz="1600" u="none" strike="noStrike" cap="none"/>
                    </a:p>
                  </a:txBody>
                  <a:tcPr marL="0" marR="0" marT="108000" marB="108000">
                    <a:lnT w="9525" cap="flat" cmpd="sng">
                      <a:solidFill>
                        <a:srgbClr val="7F7F7F"/>
                      </a:solidFill>
                      <a:prstDash val="dash"/>
                      <a:round/>
                      <a:headEnd type="none" w="sm" len="sm"/>
                      <a:tailEnd type="none" w="sm" len="sm"/>
                    </a:lnT>
                    <a:lnB w="12700" cap="flat" cmpd="sng">
                      <a:solidFill>
                        <a:schemeClr val="accent1"/>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sp>
        <p:nvSpPr>
          <p:cNvPr id="2580" name="Google Shape;2580;p35"/>
          <p:cNvSpPr/>
          <p:nvPr/>
        </p:nvSpPr>
        <p:spPr>
          <a:xfrm>
            <a:off x="6187440" y="-1"/>
            <a:ext cx="6004560" cy="6857999"/>
          </a:xfrm>
          <a:prstGeom prst="rect">
            <a:avLst/>
          </a:prstGeom>
          <a:solidFill>
            <a:srgbClr val="4C4C4C">
              <a:alpha val="6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nvGrpSpPr>
          <p:cNvPr id="2581" name="Google Shape;2581;p35"/>
          <p:cNvGrpSpPr/>
          <p:nvPr/>
        </p:nvGrpSpPr>
        <p:grpSpPr>
          <a:xfrm>
            <a:off x="10881886" y="135255"/>
            <a:ext cx="1141311" cy="468742"/>
            <a:chOff x="10881886" y="135255"/>
            <a:chExt cx="1141311" cy="468742"/>
          </a:xfrm>
        </p:grpSpPr>
        <p:grpSp>
          <p:nvGrpSpPr>
            <p:cNvPr id="2582" name="Google Shape;2582;p35"/>
            <p:cNvGrpSpPr/>
            <p:nvPr/>
          </p:nvGrpSpPr>
          <p:grpSpPr>
            <a:xfrm>
              <a:off x="10881886" y="135255"/>
              <a:ext cx="1141311" cy="468742"/>
              <a:chOff x="10881886" y="135255"/>
              <a:chExt cx="1141311" cy="468742"/>
            </a:xfrm>
          </p:grpSpPr>
          <p:sp>
            <p:nvSpPr>
              <p:cNvPr id="2583" name="Google Shape;2583;p35"/>
              <p:cNvSpPr txBox="1"/>
              <p:nvPr/>
            </p:nvSpPr>
            <p:spPr>
              <a:xfrm>
                <a:off x="10881886" y="230150"/>
                <a:ext cx="628378" cy="2769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lt1"/>
                    </a:solidFill>
                    <a:latin typeface="Franklin Gothic"/>
                    <a:ea typeface="Franklin Gothic"/>
                    <a:cs typeface="Franklin Gothic"/>
                    <a:sym typeface="Franklin Gothic"/>
                  </a:rPr>
                  <a:t>Business </a:t>
                </a:r>
                <a:endParaRPr sz="1400" b="0" i="0" u="none" strike="noStrike" cap="none">
                  <a:solidFill>
                    <a:srgbClr val="000000"/>
                  </a:solidFill>
                  <a:latin typeface="Arial"/>
                  <a:ea typeface="Arial"/>
                  <a:cs typeface="Arial"/>
                  <a:sym typeface="Arial"/>
                </a:endParaRPr>
              </a:p>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lt1"/>
                    </a:solidFill>
                    <a:latin typeface="Franklin Gothic"/>
                    <a:ea typeface="Franklin Gothic"/>
                    <a:cs typeface="Franklin Gothic"/>
                    <a:sym typeface="Franklin Gothic"/>
                  </a:rPr>
                  <a:t>Translation</a:t>
                </a:r>
                <a:endParaRPr sz="1400" b="0" i="0" u="none" strike="noStrike" cap="none">
                  <a:solidFill>
                    <a:srgbClr val="000000"/>
                  </a:solidFill>
                  <a:latin typeface="Arial"/>
                  <a:ea typeface="Arial"/>
                  <a:cs typeface="Arial"/>
                  <a:sym typeface="Arial"/>
                </a:endParaRPr>
              </a:p>
            </p:txBody>
          </p:sp>
          <p:sp>
            <p:nvSpPr>
              <p:cNvPr id="2584" name="Google Shape;2584;p35"/>
              <p:cNvSpPr/>
              <p:nvPr/>
            </p:nvSpPr>
            <p:spPr>
              <a:xfrm>
                <a:off x="11554453" y="135255"/>
                <a:ext cx="468744" cy="468742"/>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grpSp>
          <p:nvGrpSpPr>
            <p:cNvPr id="2585" name="Google Shape;2585;p35"/>
            <p:cNvGrpSpPr/>
            <p:nvPr/>
          </p:nvGrpSpPr>
          <p:grpSpPr>
            <a:xfrm>
              <a:off x="11701145" y="220980"/>
              <a:ext cx="175360" cy="295338"/>
              <a:chOff x="6689308" y="2024976"/>
              <a:chExt cx="325986" cy="549024"/>
            </a:xfrm>
          </p:grpSpPr>
          <p:sp>
            <p:nvSpPr>
              <p:cNvPr id="2586" name="Google Shape;2586;p35"/>
              <p:cNvSpPr/>
              <p:nvPr/>
            </p:nvSpPr>
            <p:spPr>
              <a:xfrm>
                <a:off x="6689308" y="2024976"/>
                <a:ext cx="325986" cy="549024"/>
              </a:xfrm>
              <a:custGeom>
                <a:avLst/>
                <a:gdLst/>
                <a:ahLst/>
                <a:cxnLst/>
                <a:rect l="l" t="t" r="r" b="b"/>
                <a:pathLst>
                  <a:path w="325986" h="549024" extrusionOk="0">
                    <a:moveTo>
                      <a:pt x="304900" y="0"/>
                    </a:moveTo>
                    <a:lnTo>
                      <a:pt x="24663" y="0"/>
                    </a:lnTo>
                    <a:cubicBezTo>
                      <a:pt x="11049" y="17"/>
                      <a:pt x="17" y="11049"/>
                      <a:pt x="0" y="24663"/>
                    </a:cubicBezTo>
                    <a:lnTo>
                      <a:pt x="0" y="524361"/>
                    </a:lnTo>
                    <a:cubicBezTo>
                      <a:pt x="17" y="537975"/>
                      <a:pt x="11049" y="549007"/>
                      <a:pt x="24663" y="549024"/>
                    </a:cubicBezTo>
                    <a:lnTo>
                      <a:pt x="304900" y="549024"/>
                    </a:lnTo>
                    <a:cubicBezTo>
                      <a:pt x="318516" y="549011"/>
                      <a:pt x="329551" y="537975"/>
                      <a:pt x="329563" y="524361"/>
                    </a:cubicBezTo>
                    <a:lnTo>
                      <a:pt x="329563" y="24663"/>
                    </a:lnTo>
                    <a:cubicBezTo>
                      <a:pt x="329551" y="11048"/>
                      <a:pt x="318516" y="14"/>
                      <a:pt x="304900" y="0"/>
                    </a:cubicBezTo>
                    <a:close/>
                    <a:moveTo>
                      <a:pt x="240852" y="15012"/>
                    </a:moveTo>
                    <a:lnTo>
                      <a:pt x="223313" y="32538"/>
                    </a:lnTo>
                    <a:cubicBezTo>
                      <a:pt x="216691" y="39189"/>
                      <a:pt x="207684" y="42917"/>
                      <a:pt x="198298" y="42893"/>
                    </a:cubicBezTo>
                    <a:lnTo>
                      <a:pt x="131265" y="42893"/>
                    </a:lnTo>
                    <a:cubicBezTo>
                      <a:pt x="121879" y="42917"/>
                      <a:pt x="112873" y="39189"/>
                      <a:pt x="106250" y="32538"/>
                    </a:cubicBezTo>
                    <a:lnTo>
                      <a:pt x="88711" y="15012"/>
                    </a:lnTo>
                    <a:close/>
                    <a:moveTo>
                      <a:pt x="314551" y="524361"/>
                    </a:moveTo>
                    <a:cubicBezTo>
                      <a:pt x="314544" y="529688"/>
                      <a:pt x="310227" y="534003"/>
                      <a:pt x="304900" y="534012"/>
                    </a:cubicBezTo>
                    <a:lnTo>
                      <a:pt x="24663" y="534012"/>
                    </a:lnTo>
                    <a:cubicBezTo>
                      <a:pt x="19336" y="534003"/>
                      <a:pt x="15020" y="529688"/>
                      <a:pt x="15013" y="524361"/>
                    </a:cubicBezTo>
                    <a:lnTo>
                      <a:pt x="15013" y="24663"/>
                    </a:lnTo>
                    <a:cubicBezTo>
                      <a:pt x="15020" y="19336"/>
                      <a:pt x="19336" y="15019"/>
                      <a:pt x="24663" y="15012"/>
                    </a:cubicBezTo>
                    <a:lnTo>
                      <a:pt x="67471" y="15012"/>
                    </a:lnTo>
                    <a:lnTo>
                      <a:pt x="95638" y="43163"/>
                    </a:lnTo>
                    <a:cubicBezTo>
                      <a:pt x="105072" y="52633"/>
                      <a:pt x="117898" y="57940"/>
                      <a:pt x="131265" y="57905"/>
                    </a:cubicBezTo>
                    <a:lnTo>
                      <a:pt x="198298" y="57905"/>
                    </a:lnTo>
                    <a:cubicBezTo>
                      <a:pt x="211665" y="57940"/>
                      <a:pt x="224492" y="52633"/>
                      <a:pt x="233925" y="43163"/>
                    </a:cubicBezTo>
                    <a:lnTo>
                      <a:pt x="262093" y="15012"/>
                    </a:lnTo>
                    <a:lnTo>
                      <a:pt x="304900" y="15012"/>
                    </a:lnTo>
                    <a:cubicBezTo>
                      <a:pt x="310227" y="15019"/>
                      <a:pt x="314544" y="19336"/>
                      <a:pt x="314551" y="2466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87" name="Google Shape;2587;p35"/>
              <p:cNvSpPr/>
              <p:nvPr/>
            </p:nvSpPr>
            <p:spPr>
              <a:xfrm>
                <a:off x="6732201" y="2110795"/>
                <a:ext cx="85786" cy="98653"/>
              </a:xfrm>
              <a:custGeom>
                <a:avLst/>
                <a:gdLst/>
                <a:ahLst/>
                <a:cxnLst/>
                <a:rect l="l" t="t" r="r" b="b"/>
                <a:pathLst>
                  <a:path w="85785" h="98652" extrusionOk="0">
                    <a:moveTo>
                      <a:pt x="5040" y="98734"/>
                    </a:moveTo>
                    <a:cubicBezTo>
                      <a:pt x="8946" y="100102"/>
                      <a:pt x="13221" y="98044"/>
                      <a:pt x="14588" y="94138"/>
                    </a:cubicBezTo>
                    <a:cubicBezTo>
                      <a:pt x="14591" y="94130"/>
                      <a:pt x="14594" y="94122"/>
                      <a:pt x="14597" y="94115"/>
                    </a:cubicBezTo>
                    <a:lnTo>
                      <a:pt x="27499" y="57081"/>
                    </a:lnTo>
                    <a:lnTo>
                      <a:pt x="62242" y="57081"/>
                    </a:lnTo>
                    <a:lnTo>
                      <a:pt x="75136" y="94115"/>
                    </a:lnTo>
                    <a:cubicBezTo>
                      <a:pt x="76715" y="97948"/>
                      <a:pt x="81102" y="99776"/>
                      <a:pt x="84935" y="98197"/>
                    </a:cubicBezTo>
                    <a:cubicBezTo>
                      <a:pt x="88471" y="96740"/>
                      <a:pt x="90347" y="92858"/>
                      <a:pt x="89290" y="89182"/>
                    </a:cubicBezTo>
                    <a:lnTo>
                      <a:pt x="59994" y="5040"/>
                    </a:lnTo>
                    <a:cubicBezTo>
                      <a:pt x="58944" y="2022"/>
                      <a:pt x="56099" y="0"/>
                      <a:pt x="52904" y="0"/>
                    </a:cubicBezTo>
                    <a:lnTo>
                      <a:pt x="36819" y="0"/>
                    </a:lnTo>
                    <a:cubicBezTo>
                      <a:pt x="33624" y="0"/>
                      <a:pt x="30779" y="2022"/>
                      <a:pt x="29729" y="5040"/>
                    </a:cubicBezTo>
                    <a:lnTo>
                      <a:pt x="420" y="89182"/>
                    </a:lnTo>
                    <a:cubicBezTo>
                      <a:pt x="-944" y="93092"/>
                      <a:pt x="1120" y="97367"/>
                      <a:pt x="5030" y="98731"/>
                    </a:cubicBezTo>
                    <a:cubicBezTo>
                      <a:pt x="5034" y="98732"/>
                      <a:pt x="5037" y="98733"/>
                      <a:pt x="5040" y="98734"/>
                    </a:cubicBezTo>
                    <a:close/>
                    <a:moveTo>
                      <a:pt x="42151" y="15012"/>
                    </a:moveTo>
                    <a:lnTo>
                      <a:pt x="47568" y="15012"/>
                    </a:lnTo>
                    <a:lnTo>
                      <a:pt x="57005" y="42069"/>
                    </a:lnTo>
                    <a:lnTo>
                      <a:pt x="32727" y="42069"/>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88" name="Google Shape;2588;p35"/>
              <p:cNvSpPr/>
              <p:nvPr/>
            </p:nvSpPr>
            <p:spPr>
              <a:xfrm>
                <a:off x="6886259" y="2110795"/>
                <a:ext cx="85786" cy="98653"/>
              </a:xfrm>
              <a:custGeom>
                <a:avLst/>
                <a:gdLst/>
                <a:ahLst/>
                <a:cxnLst/>
                <a:rect l="l" t="t" r="r" b="b"/>
                <a:pathLst>
                  <a:path w="85785" h="98652" extrusionOk="0">
                    <a:moveTo>
                      <a:pt x="82213" y="24629"/>
                    </a:moveTo>
                    <a:lnTo>
                      <a:pt x="52368" y="24629"/>
                    </a:lnTo>
                    <a:lnTo>
                      <a:pt x="52368" y="7506"/>
                    </a:lnTo>
                    <a:cubicBezTo>
                      <a:pt x="52368" y="3361"/>
                      <a:pt x="49007" y="0"/>
                      <a:pt x="44862" y="0"/>
                    </a:cubicBezTo>
                    <a:cubicBezTo>
                      <a:pt x="40716" y="0"/>
                      <a:pt x="37355" y="3361"/>
                      <a:pt x="37355" y="7506"/>
                    </a:cubicBezTo>
                    <a:lnTo>
                      <a:pt x="37355" y="24629"/>
                    </a:lnTo>
                    <a:lnTo>
                      <a:pt x="7506" y="24629"/>
                    </a:lnTo>
                    <a:cubicBezTo>
                      <a:pt x="3361" y="24629"/>
                      <a:pt x="0" y="27990"/>
                      <a:pt x="0" y="32135"/>
                    </a:cubicBezTo>
                    <a:cubicBezTo>
                      <a:pt x="0" y="36281"/>
                      <a:pt x="3361" y="39641"/>
                      <a:pt x="7506" y="39641"/>
                    </a:cubicBezTo>
                    <a:lnTo>
                      <a:pt x="17873" y="39641"/>
                    </a:lnTo>
                    <a:lnTo>
                      <a:pt x="17873" y="41027"/>
                    </a:lnTo>
                    <a:cubicBezTo>
                      <a:pt x="17867" y="52418"/>
                      <a:pt x="22457" y="63330"/>
                      <a:pt x="30604" y="71292"/>
                    </a:cubicBezTo>
                    <a:lnTo>
                      <a:pt x="4066" y="84974"/>
                    </a:lnTo>
                    <a:cubicBezTo>
                      <a:pt x="456" y="87016"/>
                      <a:pt x="-816" y="91599"/>
                      <a:pt x="1226" y="95209"/>
                    </a:cubicBezTo>
                    <a:cubicBezTo>
                      <a:pt x="3154" y="98618"/>
                      <a:pt x="7378" y="99973"/>
                      <a:pt x="10929" y="98322"/>
                    </a:cubicBezTo>
                    <a:lnTo>
                      <a:pt x="44845" y="80831"/>
                    </a:lnTo>
                    <a:lnTo>
                      <a:pt x="78756" y="98322"/>
                    </a:lnTo>
                    <a:cubicBezTo>
                      <a:pt x="82366" y="100365"/>
                      <a:pt x="86948" y="99093"/>
                      <a:pt x="88990" y="95483"/>
                    </a:cubicBezTo>
                    <a:cubicBezTo>
                      <a:pt x="91032" y="91872"/>
                      <a:pt x="89761" y="87290"/>
                      <a:pt x="86151" y="85248"/>
                    </a:cubicBezTo>
                    <a:cubicBezTo>
                      <a:pt x="85977" y="85150"/>
                      <a:pt x="85800" y="85058"/>
                      <a:pt x="85619" y="84974"/>
                    </a:cubicBezTo>
                    <a:lnTo>
                      <a:pt x="59085" y="71292"/>
                    </a:lnTo>
                    <a:cubicBezTo>
                      <a:pt x="67232" y="63329"/>
                      <a:pt x="71821" y="52415"/>
                      <a:pt x="71811" y="41022"/>
                    </a:cubicBezTo>
                    <a:lnTo>
                      <a:pt x="71811" y="39641"/>
                    </a:lnTo>
                    <a:lnTo>
                      <a:pt x="82179" y="39641"/>
                    </a:lnTo>
                    <a:cubicBezTo>
                      <a:pt x="86324" y="39641"/>
                      <a:pt x="89685" y="36281"/>
                      <a:pt x="89685" y="32135"/>
                    </a:cubicBezTo>
                    <a:cubicBezTo>
                      <a:pt x="89685" y="27990"/>
                      <a:pt x="86324" y="24629"/>
                      <a:pt x="82179" y="24629"/>
                    </a:cubicBezTo>
                    <a:close/>
                    <a:moveTo>
                      <a:pt x="56833" y="41022"/>
                    </a:moveTo>
                    <a:cubicBezTo>
                      <a:pt x="56848" y="50092"/>
                      <a:pt x="52363" y="58580"/>
                      <a:pt x="44862" y="63678"/>
                    </a:cubicBezTo>
                    <a:cubicBezTo>
                      <a:pt x="37360" y="58580"/>
                      <a:pt x="32874" y="50093"/>
                      <a:pt x="32886" y="41022"/>
                    </a:cubicBezTo>
                    <a:lnTo>
                      <a:pt x="32886" y="39641"/>
                    </a:lnTo>
                    <a:lnTo>
                      <a:pt x="56833" y="39641"/>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89" name="Google Shape;2589;p35"/>
              <p:cNvSpPr/>
              <p:nvPr/>
            </p:nvSpPr>
            <p:spPr>
              <a:xfrm>
                <a:off x="6832510" y="2152864"/>
                <a:ext cx="42893" cy="12868"/>
              </a:xfrm>
              <a:custGeom>
                <a:avLst/>
                <a:gdLst/>
                <a:ahLst/>
                <a:cxnLst/>
                <a:rect l="l" t="t" r="r" b="b"/>
                <a:pathLst>
                  <a:path w="42892" h="12867" extrusionOk="0">
                    <a:moveTo>
                      <a:pt x="7506" y="15012"/>
                    </a:moveTo>
                    <a:lnTo>
                      <a:pt x="35653" y="15012"/>
                    </a:lnTo>
                    <a:cubicBezTo>
                      <a:pt x="39798" y="15012"/>
                      <a:pt x="43159" y="11652"/>
                      <a:pt x="43159" y="7506"/>
                    </a:cubicBezTo>
                    <a:cubicBezTo>
                      <a:pt x="43159" y="3361"/>
                      <a:pt x="39798" y="0"/>
                      <a:pt x="35653"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90" name="Google Shape;2590;p35"/>
              <p:cNvSpPr/>
              <p:nvPr/>
            </p:nvSpPr>
            <p:spPr>
              <a:xfrm>
                <a:off x="6732201" y="223786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91" name="Google Shape;2591;p35"/>
              <p:cNvSpPr/>
              <p:nvPr/>
            </p:nvSpPr>
            <p:spPr>
              <a:xfrm>
                <a:off x="6756508" y="2288113"/>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92" name="Google Shape;2592;p35"/>
              <p:cNvSpPr/>
              <p:nvPr/>
            </p:nvSpPr>
            <p:spPr>
              <a:xfrm>
                <a:off x="6732201" y="2338361"/>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93" name="Google Shape;2593;p35"/>
              <p:cNvSpPr/>
              <p:nvPr/>
            </p:nvSpPr>
            <p:spPr>
              <a:xfrm>
                <a:off x="6756508" y="2388606"/>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94" name="Google Shape;2594;p35"/>
              <p:cNvSpPr/>
              <p:nvPr/>
            </p:nvSpPr>
            <p:spPr>
              <a:xfrm>
                <a:off x="6732201" y="243885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95" name="Google Shape;2595;p35"/>
              <p:cNvSpPr/>
              <p:nvPr/>
            </p:nvSpPr>
            <p:spPr>
              <a:xfrm>
                <a:off x="6756508" y="2491764"/>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177"/>
        <p:cNvGrpSpPr/>
        <p:nvPr/>
      </p:nvGrpSpPr>
      <p:grpSpPr>
        <a:xfrm>
          <a:off x="0" y="0"/>
          <a:ext cx="0" cy="0"/>
          <a:chOff x="0" y="0"/>
          <a:chExt cx="0" cy="0"/>
        </a:xfrm>
      </p:grpSpPr>
      <p:sp>
        <p:nvSpPr>
          <p:cNvPr id="1178" name="Google Shape;1178;p4"/>
          <p:cNvSpPr txBox="1">
            <a:spLocks noGrp="1"/>
          </p:cNvSpPr>
          <p:nvPr>
            <p:ph type="title"/>
          </p:nvPr>
        </p:nvSpPr>
        <p:spPr>
          <a:xfrm>
            <a:off x="539400" y="560588"/>
            <a:ext cx="11089972" cy="886397"/>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Infomineo invented Brainshoring, a new generation of service outsourcing, to solve your problems</a:t>
            </a:r>
            <a:endParaRPr/>
          </a:p>
        </p:txBody>
      </p:sp>
      <p:sp>
        <p:nvSpPr>
          <p:cNvPr id="1179" name="Google Shape;1179;p4"/>
          <p:cNvSpPr txBox="1">
            <a:spLocks noGrp="1"/>
          </p:cNvSpPr>
          <p:nvPr>
            <p:ph type="sldNum" idx="12"/>
          </p:nvPr>
        </p:nvSpPr>
        <p:spPr>
          <a:xfrm>
            <a:off x="14248594" y="9699206"/>
            <a:ext cx="150682" cy="138499"/>
          </a:xfrm>
          <a:prstGeom prst="rect">
            <a:avLst/>
          </a:prstGeom>
          <a:noFill/>
          <a:ln>
            <a:noFill/>
          </a:ln>
        </p:spPr>
        <p:txBody>
          <a:bodyPr spcFirstLastPara="1" wrap="square" lIns="0" tIns="0" rIns="0" bIns="0" anchor="b" anchorCtr="0">
            <a:spAutoFit/>
          </a:bodyPr>
          <a:lstStyle/>
          <a:p>
            <a:pPr marL="0" lvl="0" indent="0" algn="r" rtl="0">
              <a:lnSpc>
                <a:spcPct val="90000"/>
              </a:lnSpc>
              <a:spcBef>
                <a:spcPts val="0"/>
              </a:spcBef>
              <a:spcAft>
                <a:spcPts val="0"/>
              </a:spcAft>
              <a:buSzPts val="1000"/>
              <a:buNone/>
            </a:pPr>
            <a:fld id="{00000000-1234-1234-1234-123412341234}" type="slidenum">
              <a:rPr lang="en-US"/>
              <a:t>4</a:t>
            </a:fld>
            <a:endParaRPr/>
          </a:p>
        </p:txBody>
      </p:sp>
      <p:sp>
        <p:nvSpPr>
          <p:cNvPr id="1180" name="Google Shape;1180;p4"/>
          <p:cNvSpPr/>
          <p:nvPr/>
        </p:nvSpPr>
        <p:spPr>
          <a:xfrm>
            <a:off x="0" y="1732989"/>
            <a:ext cx="12191999" cy="1486827"/>
          </a:xfrm>
          <a:prstGeom prst="roundRect">
            <a:avLst>
              <a:gd name="adj" fmla="val 0"/>
            </a:avLst>
          </a:prstGeom>
          <a:gradFill>
            <a:gsLst>
              <a:gs pos="0">
                <a:srgbClr val="062379"/>
              </a:gs>
              <a:gs pos="33000">
                <a:srgbClr val="0934B6"/>
              </a:gs>
              <a:gs pos="79000">
                <a:srgbClr val="036DFF"/>
              </a:gs>
              <a:gs pos="100000">
                <a:srgbClr val="43E1D3"/>
              </a:gs>
            </a:gsLst>
            <a:lin ang="3000000" scaled="0"/>
          </a:gradFill>
          <a:ln>
            <a:noFill/>
          </a:ln>
        </p:spPr>
        <p:txBody>
          <a:bodyPr spcFirstLastPara="1" wrap="square" lIns="0" tIns="27430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1" u="none" strike="noStrike" cap="none">
              <a:solidFill>
                <a:schemeClr val="lt1"/>
              </a:solidFill>
              <a:latin typeface="Calibri"/>
              <a:ea typeface="Calibri"/>
              <a:cs typeface="Calibri"/>
              <a:sym typeface="Calibri"/>
            </a:endParaRPr>
          </a:p>
        </p:txBody>
      </p:sp>
      <p:sp>
        <p:nvSpPr>
          <p:cNvPr id="1181" name="Google Shape;1181;p4"/>
          <p:cNvSpPr txBox="1">
            <a:spLocks noGrp="1"/>
          </p:cNvSpPr>
          <p:nvPr>
            <p:ph type="body" idx="4294967295"/>
          </p:nvPr>
        </p:nvSpPr>
        <p:spPr>
          <a:xfrm>
            <a:off x="539399" y="1894286"/>
            <a:ext cx="1368785" cy="1169551"/>
          </a:xfrm>
          <a:prstGeom prst="rect">
            <a:avLst/>
          </a:prstGeom>
          <a:noFill/>
          <a:ln>
            <a:noFill/>
          </a:ln>
        </p:spPr>
        <p:txBody>
          <a:bodyPr spcFirstLastPara="1" wrap="square" lIns="0" tIns="0" rIns="0" bIns="0" anchor="t" anchorCtr="0">
            <a:spAutoFit/>
          </a:bodyPr>
          <a:lstStyle/>
          <a:p>
            <a:pPr marL="0" lvl="0" indent="0" algn="l" rtl="0">
              <a:lnSpc>
                <a:spcPct val="95000"/>
              </a:lnSpc>
              <a:spcBef>
                <a:spcPts val="0"/>
              </a:spcBef>
              <a:spcAft>
                <a:spcPts val="0"/>
              </a:spcAft>
              <a:buClr>
                <a:srgbClr val="43E1D3"/>
              </a:buClr>
              <a:buSzPts val="1600"/>
              <a:buNone/>
            </a:pPr>
            <a:r>
              <a:rPr lang="en-US">
                <a:solidFill>
                  <a:srgbClr val="43E1D3"/>
                </a:solidFill>
                <a:latin typeface="Franklin Gothic"/>
                <a:ea typeface="Franklin Gothic"/>
                <a:cs typeface="Franklin Gothic"/>
                <a:sym typeface="Franklin Gothic"/>
              </a:rPr>
              <a:t>In service outsourcing  there are four possible levels of value add</a:t>
            </a:r>
            <a:endParaRPr/>
          </a:p>
        </p:txBody>
      </p:sp>
      <p:sp>
        <p:nvSpPr>
          <p:cNvPr id="1182" name="Google Shape;1182;p4"/>
          <p:cNvSpPr txBox="1"/>
          <p:nvPr/>
        </p:nvSpPr>
        <p:spPr>
          <a:xfrm>
            <a:off x="2622976" y="1892954"/>
            <a:ext cx="1670439" cy="1052596"/>
          </a:xfrm>
          <a:prstGeom prst="rect">
            <a:avLst/>
          </a:prstGeom>
          <a:noFill/>
          <a:ln>
            <a:noFill/>
          </a:ln>
        </p:spPr>
        <p:txBody>
          <a:bodyPr spcFirstLastPara="1" wrap="square" lIns="0" tIns="0" rIns="0" bIns="0" anchor="t" anchorCtr="0">
            <a:spAutoFit/>
          </a:bodyPr>
          <a:lstStyle/>
          <a:p>
            <a:pPr marL="0" marR="0" lvl="1" indent="0" algn="ctr" rtl="0">
              <a:lnSpc>
                <a:spcPct val="95000"/>
              </a:lnSpc>
              <a:spcBef>
                <a:spcPts val="0"/>
              </a:spcBef>
              <a:spcAft>
                <a:spcPts val="0"/>
              </a:spcAft>
              <a:buClr>
                <a:schemeClr val="dk2"/>
              </a:buClr>
              <a:buSzPts val="1440"/>
              <a:buFont typeface="Noto Sans Symbols"/>
              <a:buNone/>
            </a:pPr>
            <a:r>
              <a:rPr lang="en-US" sz="1600" b="0" i="0" u="none" strike="noStrike" cap="none">
                <a:solidFill>
                  <a:srgbClr val="43E1D3"/>
                </a:solidFill>
                <a:latin typeface="Franklin Gothic"/>
                <a:ea typeface="Franklin Gothic"/>
                <a:cs typeface="Franklin Gothic"/>
                <a:sym typeface="Franklin Gothic"/>
              </a:rPr>
              <a:t>Call centers</a:t>
            </a:r>
            <a:br>
              <a:rPr lang="en-US" sz="1400" b="1" i="0" u="none" strike="noStrike" cap="none">
                <a:solidFill>
                  <a:schemeClr val="lt1"/>
                </a:solidFill>
                <a:latin typeface="Calibri"/>
                <a:ea typeface="Calibri"/>
                <a:cs typeface="Calibri"/>
                <a:sym typeface="Calibri"/>
              </a:rPr>
            </a:br>
            <a:r>
              <a:rPr lang="en-US" sz="1400" b="0" i="0" u="none" strike="noStrike" cap="none">
                <a:solidFill>
                  <a:schemeClr val="lt1"/>
                </a:solidFill>
                <a:latin typeface="Calibri"/>
                <a:ea typeface="Calibri"/>
                <a:cs typeface="Calibri"/>
                <a:sym typeface="Calibri"/>
              </a:rPr>
              <a:t>handle basic,</a:t>
            </a:r>
            <a:br>
              <a:rPr lang="en-US" sz="1400" b="0" i="0" u="none" strike="noStrike" cap="none">
                <a:solidFill>
                  <a:schemeClr val="lt1"/>
                </a:solidFill>
                <a:latin typeface="Calibri"/>
                <a:ea typeface="Calibri"/>
                <a:cs typeface="Calibri"/>
                <a:sym typeface="Calibri"/>
              </a:rPr>
            </a:br>
            <a:r>
              <a:rPr lang="en-US" sz="1400" b="0" i="0" u="none" strike="noStrike" cap="none">
                <a:solidFill>
                  <a:schemeClr val="lt1"/>
                </a:solidFill>
                <a:latin typeface="Calibri"/>
                <a:ea typeface="Calibri"/>
                <a:cs typeface="Calibri"/>
                <a:sym typeface="Calibri"/>
              </a:rPr>
              <a:t>heavily processed conversations (sales, customer support)</a:t>
            </a:r>
            <a:endParaRPr sz="1400" b="0" i="0" u="none" strike="noStrike" cap="none">
              <a:solidFill>
                <a:srgbClr val="000000"/>
              </a:solidFill>
              <a:latin typeface="Arial"/>
              <a:ea typeface="Arial"/>
              <a:cs typeface="Arial"/>
              <a:sym typeface="Arial"/>
            </a:endParaRPr>
          </a:p>
        </p:txBody>
      </p:sp>
      <p:sp>
        <p:nvSpPr>
          <p:cNvPr id="1183" name="Google Shape;1183;p4"/>
          <p:cNvSpPr txBox="1"/>
          <p:nvPr/>
        </p:nvSpPr>
        <p:spPr>
          <a:xfrm>
            <a:off x="7034865" y="1892954"/>
            <a:ext cx="2311964" cy="1286506"/>
          </a:xfrm>
          <a:prstGeom prst="rect">
            <a:avLst/>
          </a:prstGeom>
          <a:noFill/>
          <a:ln>
            <a:noFill/>
          </a:ln>
        </p:spPr>
        <p:txBody>
          <a:bodyPr spcFirstLastPara="1" wrap="square" lIns="0" tIns="0" rIns="0" bIns="0" anchor="t" anchorCtr="0">
            <a:spAutoFit/>
          </a:bodyPr>
          <a:lstStyle/>
          <a:p>
            <a:pPr marL="0" marR="0" lvl="1" indent="0" algn="ctr" rtl="0">
              <a:lnSpc>
                <a:spcPct val="95000"/>
              </a:lnSpc>
              <a:spcBef>
                <a:spcPts val="0"/>
              </a:spcBef>
              <a:spcAft>
                <a:spcPts val="0"/>
              </a:spcAft>
              <a:buClr>
                <a:schemeClr val="dk2"/>
              </a:buClr>
              <a:buSzPts val="1440"/>
              <a:buFont typeface="Noto Sans Symbols"/>
              <a:buNone/>
            </a:pPr>
            <a:r>
              <a:rPr lang="en-US" sz="1600" b="0" i="0" u="none" strike="noStrike" cap="none">
                <a:solidFill>
                  <a:srgbClr val="43E1D3"/>
                </a:solidFill>
                <a:latin typeface="Franklin Gothic"/>
                <a:ea typeface="Franklin Gothic"/>
                <a:cs typeface="Franklin Gothic"/>
                <a:sym typeface="Franklin Gothic"/>
              </a:rPr>
              <a:t>Knowledge Process Outsourcing (KPO)</a:t>
            </a:r>
            <a:br>
              <a:rPr lang="en-US" sz="1400" b="0" i="0" u="none" strike="noStrike" cap="none">
                <a:solidFill>
                  <a:schemeClr val="lt1"/>
                </a:solidFill>
                <a:latin typeface="Calibri"/>
                <a:ea typeface="Calibri"/>
                <a:cs typeface="Calibri"/>
                <a:sym typeface="Calibri"/>
              </a:rPr>
            </a:br>
            <a:r>
              <a:rPr lang="en-US" sz="1400" b="0" i="0" u="none" strike="noStrike" cap="none">
                <a:solidFill>
                  <a:schemeClr val="lt1"/>
                </a:solidFill>
                <a:latin typeface="Calibri"/>
                <a:ea typeface="Calibri"/>
                <a:cs typeface="Calibri"/>
                <a:sym typeface="Calibri"/>
              </a:rPr>
              <a:t>transfers more complex processes, which don’t require extensive analytical thinking or client communication</a:t>
            </a:r>
            <a:endParaRPr sz="1400" b="0" i="0" u="none" strike="noStrike" cap="none">
              <a:solidFill>
                <a:srgbClr val="000000"/>
              </a:solidFill>
              <a:latin typeface="Arial"/>
              <a:ea typeface="Arial"/>
              <a:cs typeface="Arial"/>
              <a:sym typeface="Arial"/>
            </a:endParaRPr>
          </a:p>
        </p:txBody>
      </p:sp>
      <p:sp>
        <p:nvSpPr>
          <p:cNvPr id="1184" name="Google Shape;1184;p4"/>
          <p:cNvSpPr txBox="1"/>
          <p:nvPr/>
        </p:nvSpPr>
        <p:spPr>
          <a:xfrm>
            <a:off x="4547241" y="1892954"/>
            <a:ext cx="2296915" cy="1286506"/>
          </a:xfrm>
          <a:prstGeom prst="rect">
            <a:avLst/>
          </a:prstGeom>
          <a:noFill/>
          <a:ln>
            <a:noFill/>
          </a:ln>
        </p:spPr>
        <p:txBody>
          <a:bodyPr spcFirstLastPara="1" wrap="square" lIns="0" tIns="0" rIns="0" bIns="0" anchor="t" anchorCtr="0">
            <a:spAutoFit/>
          </a:bodyPr>
          <a:lstStyle/>
          <a:p>
            <a:pPr marL="0" marR="0" lvl="1" indent="0" algn="ctr" rtl="0">
              <a:lnSpc>
                <a:spcPct val="95000"/>
              </a:lnSpc>
              <a:spcBef>
                <a:spcPts val="0"/>
              </a:spcBef>
              <a:spcAft>
                <a:spcPts val="0"/>
              </a:spcAft>
              <a:buClr>
                <a:schemeClr val="dk2"/>
              </a:buClr>
              <a:buSzPts val="1440"/>
              <a:buFont typeface="Noto Sans Symbols"/>
              <a:buNone/>
            </a:pPr>
            <a:r>
              <a:rPr lang="en-US" sz="1600" b="0" i="0" u="none" strike="noStrike" cap="none">
                <a:solidFill>
                  <a:srgbClr val="43E1D3"/>
                </a:solidFill>
                <a:latin typeface="Franklin Gothic"/>
                <a:ea typeface="Franklin Gothic"/>
                <a:cs typeface="Franklin Gothic"/>
                <a:sym typeface="Franklin Gothic"/>
              </a:rPr>
              <a:t>Business Process Outsourcing (BPO)</a:t>
            </a:r>
            <a:br>
              <a:rPr lang="en-US" sz="1400" b="1" i="0" u="none" strike="noStrike" cap="none">
                <a:solidFill>
                  <a:schemeClr val="lt1"/>
                </a:solidFill>
                <a:latin typeface="Calibri"/>
                <a:ea typeface="Calibri"/>
                <a:cs typeface="Calibri"/>
                <a:sym typeface="Calibri"/>
              </a:rPr>
            </a:br>
            <a:r>
              <a:rPr lang="en-US" sz="1400" b="0" i="0" u="none" strike="noStrike" cap="none">
                <a:solidFill>
                  <a:schemeClr val="lt1"/>
                </a:solidFill>
                <a:latin typeface="Calibri"/>
                <a:ea typeface="Calibri"/>
                <a:cs typeface="Calibri"/>
                <a:sym typeface="Calibri"/>
              </a:rPr>
              <a:t>consists in transferring simple and repetitive processes, mostly handled by clerks (high school to bachelor degree)</a:t>
            </a:r>
            <a:endParaRPr sz="1400" b="0" i="0" u="none" strike="noStrike" cap="none">
              <a:solidFill>
                <a:srgbClr val="000000"/>
              </a:solidFill>
              <a:latin typeface="Arial"/>
              <a:ea typeface="Arial"/>
              <a:cs typeface="Arial"/>
              <a:sym typeface="Arial"/>
            </a:endParaRPr>
          </a:p>
        </p:txBody>
      </p:sp>
      <p:grpSp>
        <p:nvGrpSpPr>
          <p:cNvPr id="1185" name="Google Shape;1185;p4"/>
          <p:cNvGrpSpPr/>
          <p:nvPr/>
        </p:nvGrpSpPr>
        <p:grpSpPr>
          <a:xfrm>
            <a:off x="2081150" y="1951117"/>
            <a:ext cx="288000" cy="1050570"/>
            <a:chOff x="2145838" y="1961277"/>
            <a:chExt cx="288000" cy="1050570"/>
          </a:xfrm>
        </p:grpSpPr>
        <p:cxnSp>
          <p:nvCxnSpPr>
            <p:cNvPr id="1186" name="Google Shape;1186;p4"/>
            <p:cNvCxnSpPr/>
            <p:nvPr/>
          </p:nvCxnSpPr>
          <p:spPr>
            <a:xfrm>
              <a:off x="2289838" y="1961277"/>
              <a:ext cx="0" cy="1050570"/>
            </a:xfrm>
            <a:prstGeom prst="straightConnector1">
              <a:avLst/>
            </a:prstGeom>
            <a:noFill/>
            <a:ln w="19050" cap="flat" cmpd="sng">
              <a:solidFill>
                <a:schemeClr val="lt1"/>
              </a:solidFill>
              <a:prstDash val="solid"/>
              <a:miter lim="800000"/>
              <a:headEnd type="none" w="sm" len="sm"/>
              <a:tailEnd type="none" w="sm" len="sm"/>
            </a:ln>
          </p:spPr>
        </p:cxnSp>
        <p:grpSp>
          <p:nvGrpSpPr>
            <p:cNvPr id="1187" name="Google Shape;1187;p4"/>
            <p:cNvGrpSpPr/>
            <p:nvPr/>
          </p:nvGrpSpPr>
          <p:grpSpPr>
            <a:xfrm>
              <a:off x="2145838" y="2342562"/>
              <a:ext cx="288000" cy="288000"/>
              <a:chOff x="550862" y="2496471"/>
              <a:chExt cx="360000" cy="360000"/>
            </a:xfrm>
          </p:grpSpPr>
          <p:sp>
            <p:nvSpPr>
              <p:cNvPr id="1188" name="Google Shape;1188;p4"/>
              <p:cNvSpPr/>
              <p:nvPr/>
            </p:nvSpPr>
            <p:spPr>
              <a:xfrm>
                <a:off x="564471" y="2510079"/>
                <a:ext cx="332784" cy="332784"/>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89" name="Google Shape;1189;p4"/>
              <p:cNvPicPr preferRelativeResize="0"/>
              <p:nvPr/>
            </p:nvPicPr>
            <p:blipFill rotWithShape="1">
              <a:blip r:embed="rId3">
                <a:alphaModFix/>
              </a:blip>
              <a:srcRect/>
              <a:stretch/>
            </p:blipFill>
            <p:spPr>
              <a:xfrm>
                <a:off x="550862" y="2496471"/>
                <a:ext cx="360000" cy="360000"/>
              </a:xfrm>
              <a:prstGeom prst="rect">
                <a:avLst/>
              </a:prstGeom>
              <a:noFill/>
              <a:ln>
                <a:noFill/>
              </a:ln>
            </p:spPr>
          </p:pic>
        </p:grpSp>
      </p:grpSp>
      <p:sp>
        <p:nvSpPr>
          <p:cNvPr id="1190" name="Google Shape;1190;p4"/>
          <p:cNvSpPr/>
          <p:nvPr/>
        </p:nvSpPr>
        <p:spPr>
          <a:xfrm>
            <a:off x="9537538" y="1632998"/>
            <a:ext cx="2455443" cy="1686808"/>
          </a:xfrm>
          <a:prstGeom prst="roundRect">
            <a:avLst>
              <a:gd name="adj" fmla="val 11829"/>
            </a:avLst>
          </a:prstGeom>
          <a:solidFill>
            <a:schemeClr val="dk2"/>
          </a:solidFill>
          <a:ln w="12700" cap="flat" cmpd="sng">
            <a:solidFill>
              <a:srgbClr val="6D90F8"/>
            </a:solidFill>
            <a:prstDash val="solid"/>
            <a:miter lim="800000"/>
            <a:headEnd type="none" w="sm" len="sm"/>
            <a:tailEnd type="none" w="sm" len="sm"/>
          </a:ln>
          <a:effectLst>
            <a:outerShdw blurRad="381000" sx="102000" sy="102000" algn="ctr" rotWithShape="0">
              <a:srgbClr val="000000">
                <a:alpha val="27843"/>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1191" name="Google Shape;1191;p4"/>
          <p:cNvSpPr txBox="1"/>
          <p:nvPr/>
        </p:nvSpPr>
        <p:spPr>
          <a:xfrm>
            <a:off x="9710504" y="1766129"/>
            <a:ext cx="2052185" cy="1052596"/>
          </a:xfrm>
          <a:prstGeom prst="rect">
            <a:avLst/>
          </a:prstGeom>
          <a:noFill/>
          <a:ln>
            <a:noFill/>
          </a:ln>
        </p:spPr>
        <p:txBody>
          <a:bodyPr spcFirstLastPara="1" wrap="square" lIns="0" tIns="0" rIns="0" bIns="0" anchor="t" anchorCtr="0">
            <a:spAutoFit/>
          </a:bodyPr>
          <a:lstStyle/>
          <a:p>
            <a:pPr marL="0" marR="0" lvl="0" indent="0" algn="ctr" rtl="0">
              <a:lnSpc>
                <a:spcPct val="95000"/>
              </a:lnSpc>
              <a:spcBef>
                <a:spcPts val="0"/>
              </a:spcBef>
              <a:spcAft>
                <a:spcPts val="0"/>
              </a:spcAft>
              <a:buClr>
                <a:srgbClr val="43E1D3"/>
              </a:buClr>
              <a:buSzPts val="1600"/>
              <a:buFont typeface="Arial"/>
              <a:buNone/>
            </a:pPr>
            <a:r>
              <a:rPr lang="en-US" sz="1600" b="0" i="0" u="none" strike="noStrike" cap="none">
                <a:solidFill>
                  <a:srgbClr val="43E1D3"/>
                </a:solidFill>
                <a:latin typeface="Franklin Gothic"/>
                <a:ea typeface="Franklin Gothic"/>
                <a:cs typeface="Franklin Gothic"/>
                <a:sym typeface="Franklin Gothic"/>
              </a:rPr>
              <a:t>Brainshoring</a:t>
            </a:r>
            <a:br>
              <a:rPr lang="en-US" sz="1600" b="0" i="0" u="none" strike="noStrike" cap="none">
                <a:solidFill>
                  <a:schemeClr val="lt1"/>
                </a:solidFill>
                <a:latin typeface="Franklin Gothic"/>
                <a:ea typeface="Franklin Gothic"/>
                <a:cs typeface="Franklin Gothic"/>
                <a:sym typeface="Franklin Gothic"/>
              </a:rPr>
            </a:br>
            <a:r>
              <a:rPr lang="en-US" sz="1400" b="0" i="0" u="none" strike="noStrike" cap="none">
                <a:solidFill>
                  <a:schemeClr val="lt1"/>
                </a:solidFill>
                <a:latin typeface="Calibri"/>
                <a:ea typeface="Calibri"/>
                <a:cs typeface="Calibri"/>
                <a:sym typeface="Calibri"/>
              </a:rPr>
              <a:t>transfers tasks which require substantial client collaboration </a:t>
            </a:r>
            <a:r>
              <a:rPr lang="en-US" sz="1400" b="1" i="0" u="none" strike="noStrike" cap="none">
                <a:solidFill>
                  <a:schemeClr val="lt1"/>
                </a:solidFill>
                <a:latin typeface="Calibri"/>
                <a:ea typeface="Calibri"/>
                <a:cs typeface="Calibri"/>
                <a:sym typeface="Calibri"/>
              </a:rPr>
              <a:t>AND</a:t>
            </a:r>
            <a:r>
              <a:rPr lang="en-US" sz="1400" b="0" i="0" u="none" strike="noStrike" cap="none">
                <a:solidFill>
                  <a:schemeClr val="lt1"/>
                </a:solidFill>
                <a:latin typeface="Calibri"/>
                <a:ea typeface="Calibri"/>
                <a:cs typeface="Calibri"/>
                <a:sym typeface="Calibri"/>
              </a:rPr>
              <a:t> problem solving skills</a:t>
            </a:r>
            <a:endParaRPr sz="1400" b="0" i="0" u="none" strike="noStrike" cap="none">
              <a:solidFill>
                <a:srgbClr val="000000"/>
              </a:solidFill>
              <a:latin typeface="Arial"/>
              <a:ea typeface="Arial"/>
              <a:cs typeface="Arial"/>
              <a:sym typeface="Arial"/>
            </a:endParaRPr>
          </a:p>
        </p:txBody>
      </p:sp>
      <p:sp>
        <p:nvSpPr>
          <p:cNvPr id="1192" name="Google Shape;1192;p4"/>
          <p:cNvSpPr/>
          <p:nvPr/>
        </p:nvSpPr>
        <p:spPr>
          <a:xfrm>
            <a:off x="539400" y="3334109"/>
            <a:ext cx="11089972" cy="3119445"/>
          </a:xfrm>
          <a:custGeom>
            <a:avLst/>
            <a:gdLst/>
            <a:ahLst/>
            <a:cxnLst/>
            <a:rect l="l" t="t" r="r" b="b"/>
            <a:pathLst>
              <a:path w="11089972" h="3216535" extrusionOk="0">
                <a:moveTo>
                  <a:pt x="9994607" y="0"/>
                </a:moveTo>
                <a:lnTo>
                  <a:pt x="10103961" y="188542"/>
                </a:lnTo>
                <a:lnTo>
                  <a:pt x="11089972" y="188542"/>
                </a:lnTo>
                <a:lnTo>
                  <a:pt x="11089972" y="3216535"/>
                </a:lnTo>
                <a:lnTo>
                  <a:pt x="0" y="3216535"/>
                </a:lnTo>
                <a:lnTo>
                  <a:pt x="0" y="188542"/>
                </a:lnTo>
                <a:lnTo>
                  <a:pt x="9885252" y="188542"/>
                </a:lnTo>
                <a:close/>
              </a:path>
            </a:pathLst>
          </a:custGeom>
          <a:solidFill>
            <a:schemeClr val="lt1"/>
          </a:solidFill>
          <a:ln w="38100" cap="flat"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93" name="Google Shape;1193;p4"/>
          <p:cNvSpPr txBox="1"/>
          <p:nvPr/>
        </p:nvSpPr>
        <p:spPr>
          <a:xfrm>
            <a:off x="704113" y="3615884"/>
            <a:ext cx="3874366" cy="233910"/>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2"/>
              </a:buClr>
              <a:buSzPts val="1600"/>
              <a:buFont typeface="Arial"/>
              <a:buNone/>
            </a:pPr>
            <a:r>
              <a:rPr lang="en-US" sz="1600" b="0" i="0" u="none" strike="noStrike" cap="none">
                <a:solidFill>
                  <a:schemeClr val="dk2"/>
                </a:solidFill>
                <a:latin typeface="Franklin Gothic"/>
                <a:ea typeface="Franklin Gothic"/>
                <a:cs typeface="Franklin Gothic"/>
                <a:sym typeface="Franklin Gothic"/>
              </a:rPr>
              <a:t>Key success factors in Brainshoring</a:t>
            </a:r>
            <a:endParaRPr sz="1600" b="0" i="0" u="none" strike="noStrike" cap="none">
              <a:solidFill>
                <a:schemeClr val="dk2"/>
              </a:solidFill>
              <a:latin typeface="Franklin Gothic"/>
              <a:ea typeface="Franklin Gothic"/>
              <a:cs typeface="Franklin Gothic"/>
              <a:sym typeface="Franklin Gothic"/>
            </a:endParaRPr>
          </a:p>
        </p:txBody>
      </p:sp>
      <p:sp>
        <p:nvSpPr>
          <p:cNvPr id="1194" name="Google Shape;1194;p4"/>
          <p:cNvSpPr txBox="1"/>
          <p:nvPr/>
        </p:nvSpPr>
        <p:spPr>
          <a:xfrm>
            <a:off x="6297232" y="3615884"/>
            <a:ext cx="4985817" cy="233910"/>
          </a:xfrm>
          <a:prstGeom prst="rect">
            <a:avLst/>
          </a:prstGeom>
          <a:noFill/>
          <a:ln>
            <a:noFill/>
          </a:ln>
        </p:spPr>
        <p:txBody>
          <a:bodyPr spcFirstLastPara="1" wrap="square" lIns="0" tIns="0" rIns="0" bIns="0" anchor="t" anchorCtr="0">
            <a:spAutoFit/>
          </a:bodyPr>
          <a:lstStyle/>
          <a:p>
            <a:pPr marL="0" marR="0" lvl="1" indent="0" algn="l" rtl="0">
              <a:lnSpc>
                <a:spcPct val="95000"/>
              </a:lnSpc>
              <a:spcBef>
                <a:spcPts val="0"/>
              </a:spcBef>
              <a:spcAft>
                <a:spcPts val="0"/>
              </a:spcAft>
              <a:buClr>
                <a:schemeClr val="dk2"/>
              </a:buClr>
              <a:buSzPts val="1440"/>
              <a:buFont typeface="Noto Sans Symbols"/>
              <a:buNone/>
            </a:pPr>
            <a:r>
              <a:rPr lang="en-US" sz="1600" b="0" i="0" u="none" strike="noStrike" cap="none">
                <a:solidFill>
                  <a:schemeClr val="dk2"/>
                </a:solidFill>
                <a:latin typeface="Franklin Gothic"/>
                <a:ea typeface="Franklin Gothic"/>
                <a:cs typeface="Franklin Gothic"/>
                <a:sym typeface="Franklin Gothic"/>
              </a:rPr>
              <a:t>What Infomineo does</a:t>
            </a:r>
            <a:endParaRPr sz="1400" b="0" i="0" u="none" strike="noStrike" cap="none">
              <a:solidFill>
                <a:srgbClr val="000000"/>
              </a:solidFill>
              <a:latin typeface="Arial"/>
              <a:ea typeface="Arial"/>
              <a:cs typeface="Arial"/>
              <a:sym typeface="Arial"/>
            </a:endParaRPr>
          </a:p>
        </p:txBody>
      </p:sp>
      <p:sp>
        <p:nvSpPr>
          <p:cNvPr id="1195" name="Google Shape;1195;p4"/>
          <p:cNvSpPr txBox="1"/>
          <p:nvPr/>
        </p:nvSpPr>
        <p:spPr>
          <a:xfrm>
            <a:off x="6905068" y="4004544"/>
            <a:ext cx="4582819" cy="409343"/>
          </a:xfrm>
          <a:prstGeom prst="rect">
            <a:avLst/>
          </a:prstGeom>
          <a:noFill/>
          <a:ln>
            <a:noFill/>
          </a:ln>
        </p:spPr>
        <p:txBody>
          <a:bodyPr spcFirstLastPara="1" wrap="square" lIns="0" tIns="0" rIns="0" bIns="0" anchor="t" anchorCtr="0">
            <a:spAutoFit/>
          </a:bodyPr>
          <a:lstStyle/>
          <a:p>
            <a:pPr marL="0" marR="0" lvl="1" indent="0" algn="l" rtl="0">
              <a:lnSpc>
                <a:spcPct val="95000"/>
              </a:lnSpc>
              <a:spcBef>
                <a:spcPts val="0"/>
              </a:spcBef>
              <a:spcAft>
                <a:spcPts val="0"/>
              </a:spcAft>
              <a:buClr>
                <a:schemeClr val="dk2"/>
              </a:buClr>
              <a:buSzPts val="1260"/>
              <a:buFont typeface="Noto Sans Symbols"/>
              <a:buNone/>
            </a:pPr>
            <a:r>
              <a:rPr lang="en-US" sz="1400" b="0" i="0" u="none" strike="noStrike" cap="none" dirty="0">
                <a:solidFill>
                  <a:srgbClr val="222222"/>
                </a:solidFill>
                <a:latin typeface="Calibri"/>
                <a:ea typeface="Calibri"/>
                <a:cs typeface="Calibri"/>
                <a:sym typeface="Calibri"/>
              </a:rPr>
              <a:t>We offer a </a:t>
            </a:r>
            <a:r>
              <a:rPr lang="en-US" sz="1400" b="1" i="0" u="none" strike="noStrike" cap="none" dirty="0">
                <a:solidFill>
                  <a:srgbClr val="222222"/>
                </a:solidFill>
                <a:latin typeface="Calibri"/>
                <a:ea typeface="Calibri"/>
                <a:cs typeface="Calibri"/>
                <a:sym typeface="Calibri"/>
              </a:rPr>
              <a:t>range of </a:t>
            </a:r>
            <a:r>
              <a:rPr lang="en-US" sz="1400" b="1" i="0" u="none" strike="noStrike" cap="none" dirty="0" err="1">
                <a:solidFill>
                  <a:srgbClr val="222222"/>
                </a:solidFill>
                <a:latin typeface="Calibri"/>
                <a:ea typeface="Calibri"/>
                <a:cs typeface="Calibri"/>
                <a:sym typeface="Calibri"/>
              </a:rPr>
              <a:t>Brainshoring</a:t>
            </a:r>
            <a:r>
              <a:rPr lang="en-US" sz="1400" b="1" i="0" u="none" strike="noStrike" cap="none" dirty="0">
                <a:solidFill>
                  <a:srgbClr val="222222"/>
                </a:solidFill>
                <a:latin typeface="Calibri"/>
                <a:ea typeface="Calibri"/>
                <a:cs typeface="Calibri"/>
                <a:sym typeface="Calibri"/>
              </a:rPr>
              <a:t> services </a:t>
            </a:r>
            <a:r>
              <a:rPr lang="en-US" sz="1400" b="0" i="0" u="none" strike="noStrike" cap="none" dirty="0">
                <a:solidFill>
                  <a:srgbClr val="222222"/>
                </a:solidFill>
                <a:latin typeface="Calibri"/>
                <a:ea typeface="Calibri"/>
                <a:cs typeface="Calibri"/>
                <a:sym typeface="Calibri"/>
              </a:rPr>
              <a:t>– </a:t>
            </a:r>
            <a:r>
              <a:rPr lang="en-US" sz="1400" b="1" i="0" u="none" strike="noStrike" cap="none" dirty="0">
                <a:solidFill>
                  <a:srgbClr val="222222"/>
                </a:solidFill>
                <a:latin typeface="Calibri"/>
                <a:ea typeface="Calibri"/>
                <a:cs typeface="Calibri"/>
                <a:sym typeface="Calibri"/>
              </a:rPr>
              <a:t>Data</a:t>
            </a:r>
            <a:r>
              <a:rPr lang="en-US" sz="1400" b="0" i="0" u="none" strike="noStrike" cap="none" dirty="0">
                <a:solidFill>
                  <a:srgbClr val="222222"/>
                </a:solidFill>
                <a:latin typeface="Calibri"/>
                <a:ea typeface="Calibri"/>
                <a:cs typeface="Calibri"/>
                <a:sym typeface="Calibri"/>
              </a:rPr>
              <a:t> </a:t>
            </a:r>
            <a:r>
              <a:rPr lang="en-US" sz="1400" b="1" i="0" u="none" strike="noStrike" cap="none" dirty="0">
                <a:solidFill>
                  <a:srgbClr val="222222"/>
                </a:solidFill>
                <a:latin typeface="Calibri"/>
                <a:ea typeface="Calibri"/>
                <a:cs typeface="Calibri"/>
                <a:sym typeface="Calibri"/>
              </a:rPr>
              <a:t>Research, Graphic design</a:t>
            </a:r>
            <a:r>
              <a:rPr lang="en-US" sz="1400" b="0" i="0" u="none" strike="noStrike" cap="none" dirty="0">
                <a:solidFill>
                  <a:srgbClr val="222222"/>
                </a:solidFill>
                <a:latin typeface="Calibri"/>
                <a:ea typeface="Calibri"/>
                <a:cs typeface="Calibri"/>
                <a:sym typeface="Calibri"/>
              </a:rPr>
              <a:t>, </a:t>
            </a:r>
            <a:r>
              <a:rPr lang="en-US" sz="1400" b="1" i="0" u="none" strike="noStrike" cap="none" dirty="0">
                <a:solidFill>
                  <a:srgbClr val="222222"/>
                </a:solidFill>
                <a:latin typeface="Calibri"/>
                <a:ea typeface="Calibri"/>
                <a:cs typeface="Calibri"/>
                <a:sym typeface="Calibri"/>
              </a:rPr>
              <a:t>Language services </a:t>
            </a:r>
            <a:r>
              <a:rPr lang="en-US" sz="1400" i="0" u="none" strike="noStrike" cap="none" dirty="0">
                <a:solidFill>
                  <a:srgbClr val="222222"/>
                </a:solidFill>
                <a:latin typeface="Calibri"/>
                <a:ea typeface="Calibri"/>
                <a:cs typeface="Calibri"/>
                <a:sym typeface="Calibri"/>
              </a:rPr>
              <a:t>and</a:t>
            </a:r>
            <a:r>
              <a:rPr lang="en-US" sz="1400" b="1" i="0" u="none" strike="noStrike" cap="none" dirty="0">
                <a:solidFill>
                  <a:srgbClr val="222222"/>
                </a:solidFill>
                <a:latin typeface="Calibri"/>
                <a:ea typeface="Calibri"/>
                <a:cs typeface="Calibri"/>
                <a:sym typeface="Calibri"/>
              </a:rPr>
              <a:t> Data Analytics</a:t>
            </a:r>
            <a:endParaRPr sz="1400" b="0" i="0" u="none" strike="noStrike" cap="none" dirty="0">
              <a:solidFill>
                <a:srgbClr val="222222"/>
              </a:solidFill>
              <a:latin typeface="Arial"/>
              <a:ea typeface="Arial"/>
              <a:cs typeface="Arial"/>
              <a:sym typeface="Arial"/>
            </a:endParaRPr>
          </a:p>
        </p:txBody>
      </p:sp>
      <p:sp>
        <p:nvSpPr>
          <p:cNvPr id="1196" name="Google Shape;1196;p4"/>
          <p:cNvSpPr txBox="1"/>
          <p:nvPr/>
        </p:nvSpPr>
        <p:spPr>
          <a:xfrm>
            <a:off x="6905068" y="4576676"/>
            <a:ext cx="4582819" cy="1151597"/>
          </a:xfrm>
          <a:prstGeom prst="rect">
            <a:avLst/>
          </a:prstGeom>
          <a:noFill/>
          <a:ln>
            <a:noFill/>
          </a:ln>
        </p:spPr>
        <p:txBody>
          <a:bodyPr spcFirstLastPara="1" wrap="square" lIns="0" tIns="0" rIns="0" bIns="0" anchor="t" anchorCtr="0">
            <a:spAutoFit/>
          </a:bodyPr>
          <a:lstStyle/>
          <a:p>
            <a:pPr marL="0" marR="0" lvl="1" indent="0" algn="l" rtl="0">
              <a:lnSpc>
                <a:spcPct val="95000"/>
              </a:lnSpc>
              <a:spcBef>
                <a:spcPts val="0"/>
              </a:spcBef>
              <a:spcAft>
                <a:spcPts val="0"/>
              </a:spcAft>
              <a:buClr>
                <a:schemeClr val="dk2"/>
              </a:buClr>
              <a:buSzPts val="1260"/>
              <a:buFont typeface="Noto Sans Symbols"/>
              <a:buNone/>
            </a:pPr>
            <a:r>
              <a:rPr lang="en-US" sz="1400" b="0" i="0" u="none" strike="noStrike" cap="none">
                <a:solidFill>
                  <a:srgbClr val="222222"/>
                </a:solidFill>
                <a:latin typeface="Calibri"/>
                <a:ea typeface="Calibri"/>
                <a:cs typeface="Calibri"/>
                <a:sym typeface="Calibri"/>
              </a:rPr>
              <a:t>We operate from </a:t>
            </a:r>
            <a:r>
              <a:rPr lang="en-US" sz="1400" b="1" i="0" u="none" strike="noStrike" cap="none">
                <a:solidFill>
                  <a:srgbClr val="222222"/>
                </a:solidFill>
                <a:latin typeface="Calibri"/>
                <a:ea typeface="Calibri"/>
                <a:cs typeface="Calibri"/>
                <a:sym typeface="Calibri"/>
              </a:rPr>
              <a:t>major cities in the emerging world (Cairo, Casablanca </a:t>
            </a:r>
            <a:r>
              <a:rPr lang="en-US" sz="1400" b="0" i="0" u="none" strike="noStrike" cap="none">
                <a:solidFill>
                  <a:srgbClr val="222222"/>
                </a:solidFill>
                <a:latin typeface="Calibri"/>
                <a:ea typeface="Calibri"/>
                <a:cs typeface="Calibri"/>
                <a:sym typeface="Calibri"/>
              </a:rPr>
              <a:t>and </a:t>
            </a:r>
            <a:r>
              <a:rPr lang="en-US" sz="1400" b="1" i="0" u="none" strike="noStrike" cap="none">
                <a:solidFill>
                  <a:srgbClr val="222222"/>
                </a:solidFill>
                <a:latin typeface="Calibri"/>
                <a:ea typeface="Calibri"/>
                <a:cs typeface="Calibri"/>
                <a:sym typeface="Calibri"/>
              </a:rPr>
              <a:t>Mexico City) </a:t>
            </a:r>
            <a:r>
              <a:rPr lang="en-US" sz="1400" b="0" i="0" u="none" strike="noStrike" cap="none">
                <a:solidFill>
                  <a:srgbClr val="222222"/>
                </a:solidFill>
                <a:latin typeface="Calibri"/>
                <a:ea typeface="Calibri"/>
                <a:cs typeface="Calibri"/>
                <a:sym typeface="Calibri"/>
              </a:rPr>
              <a:t>to </a:t>
            </a:r>
            <a:endParaRPr sz="1400" b="0" i="0" u="none" strike="noStrike" cap="none">
              <a:solidFill>
                <a:srgbClr val="222222"/>
              </a:solidFill>
              <a:latin typeface="Arial"/>
              <a:ea typeface="Arial"/>
              <a:cs typeface="Arial"/>
              <a:sym typeface="Arial"/>
            </a:endParaRPr>
          </a:p>
          <a:p>
            <a:pPr marL="285750" marR="0" lvl="1" indent="-285750" algn="l" rtl="0">
              <a:lnSpc>
                <a:spcPct val="95000"/>
              </a:lnSpc>
              <a:spcBef>
                <a:spcPts val="500"/>
              </a:spcBef>
              <a:spcAft>
                <a:spcPts val="0"/>
              </a:spcAft>
              <a:buClr>
                <a:schemeClr val="dk2"/>
              </a:buClr>
              <a:buSzPts val="1260"/>
              <a:buFont typeface="Noto Sans Symbols"/>
              <a:buChar char="▪"/>
            </a:pPr>
            <a:r>
              <a:rPr lang="en-US" sz="1400" b="0" i="0" u="none" strike="noStrike" cap="none">
                <a:solidFill>
                  <a:srgbClr val="222222"/>
                </a:solidFill>
                <a:latin typeface="Calibri"/>
                <a:ea typeface="Calibri"/>
                <a:cs typeface="Calibri"/>
                <a:sym typeface="Calibri"/>
              </a:rPr>
              <a:t>Tap in underleveraged talent pools and deliver high-quality work at decent prices</a:t>
            </a:r>
            <a:endParaRPr sz="1400" b="0" i="0" u="none" strike="noStrike" cap="none">
              <a:solidFill>
                <a:srgbClr val="222222"/>
              </a:solidFill>
              <a:latin typeface="Arial"/>
              <a:ea typeface="Arial"/>
              <a:cs typeface="Arial"/>
              <a:sym typeface="Arial"/>
            </a:endParaRPr>
          </a:p>
          <a:p>
            <a:pPr marL="285750" marR="0" lvl="1" indent="-285750" algn="l" rtl="0">
              <a:lnSpc>
                <a:spcPct val="95000"/>
              </a:lnSpc>
              <a:spcBef>
                <a:spcPts val="500"/>
              </a:spcBef>
              <a:spcAft>
                <a:spcPts val="0"/>
              </a:spcAft>
              <a:buClr>
                <a:schemeClr val="dk2"/>
              </a:buClr>
              <a:buSzPts val="1260"/>
              <a:buFont typeface="Noto Sans Symbols"/>
              <a:buChar char="▪"/>
            </a:pPr>
            <a:r>
              <a:rPr lang="en-US" sz="1400" b="0" i="0" u="none" strike="noStrike" cap="none">
                <a:solidFill>
                  <a:srgbClr val="222222"/>
                </a:solidFill>
                <a:latin typeface="Calibri"/>
                <a:ea typeface="Calibri"/>
                <a:cs typeface="Calibri"/>
                <a:sym typeface="Calibri"/>
              </a:rPr>
              <a:t>Offer nearshore/same time zone options to our clients</a:t>
            </a:r>
            <a:endParaRPr sz="1400" b="0" i="0" u="none" strike="noStrike" cap="none">
              <a:solidFill>
                <a:srgbClr val="222222"/>
              </a:solidFill>
              <a:latin typeface="Arial"/>
              <a:ea typeface="Arial"/>
              <a:cs typeface="Arial"/>
              <a:sym typeface="Arial"/>
            </a:endParaRPr>
          </a:p>
        </p:txBody>
      </p:sp>
      <p:sp>
        <p:nvSpPr>
          <p:cNvPr id="1197" name="Google Shape;1197;p4"/>
          <p:cNvSpPr txBox="1"/>
          <p:nvPr/>
        </p:nvSpPr>
        <p:spPr>
          <a:xfrm>
            <a:off x="6905068" y="5876563"/>
            <a:ext cx="4582819" cy="409343"/>
          </a:xfrm>
          <a:prstGeom prst="rect">
            <a:avLst/>
          </a:prstGeom>
          <a:noFill/>
          <a:ln>
            <a:noFill/>
          </a:ln>
        </p:spPr>
        <p:txBody>
          <a:bodyPr spcFirstLastPara="1" wrap="square" lIns="0" tIns="0" rIns="0" bIns="0" anchor="t" anchorCtr="0">
            <a:spAutoFit/>
          </a:bodyPr>
          <a:lstStyle/>
          <a:p>
            <a:pPr marL="0" marR="0" lvl="1" indent="0" algn="l" rtl="0">
              <a:lnSpc>
                <a:spcPct val="95000"/>
              </a:lnSpc>
              <a:spcBef>
                <a:spcPts val="0"/>
              </a:spcBef>
              <a:spcAft>
                <a:spcPts val="0"/>
              </a:spcAft>
              <a:buClr>
                <a:schemeClr val="dk2"/>
              </a:buClr>
              <a:buSzPts val="1260"/>
              <a:buFont typeface="Noto Sans Symbols"/>
              <a:buNone/>
            </a:pPr>
            <a:r>
              <a:rPr lang="en-US" sz="1400" b="0" i="0" u="none" strike="noStrike" cap="none">
                <a:solidFill>
                  <a:srgbClr val="222222"/>
                </a:solidFill>
                <a:latin typeface="Calibri"/>
                <a:ea typeface="Calibri"/>
                <a:cs typeface="Calibri"/>
                <a:sym typeface="Calibri"/>
              </a:rPr>
              <a:t>We make it easy to work with us by dealing with our clients on a </a:t>
            </a:r>
            <a:r>
              <a:rPr lang="en-US" sz="1400" b="1" i="0" u="none" strike="noStrike" cap="none">
                <a:solidFill>
                  <a:srgbClr val="222222"/>
                </a:solidFill>
                <a:latin typeface="Calibri"/>
                <a:ea typeface="Calibri"/>
                <a:cs typeface="Calibri"/>
                <a:sym typeface="Calibri"/>
              </a:rPr>
              <a:t>retainer basis</a:t>
            </a:r>
            <a:r>
              <a:rPr lang="en-US" sz="1400" b="0" i="0" u="none" strike="noStrike" cap="none">
                <a:solidFill>
                  <a:srgbClr val="222222"/>
                </a:solidFill>
                <a:latin typeface="Calibri"/>
                <a:ea typeface="Calibri"/>
                <a:cs typeface="Calibri"/>
                <a:sym typeface="Calibri"/>
              </a:rPr>
              <a:t>,</a:t>
            </a:r>
            <a:r>
              <a:rPr lang="en-US" sz="1400" b="1" i="0" u="none" strike="noStrike" cap="none">
                <a:solidFill>
                  <a:srgbClr val="222222"/>
                </a:solidFill>
                <a:latin typeface="Calibri"/>
                <a:ea typeface="Calibri"/>
                <a:cs typeface="Calibri"/>
                <a:sym typeface="Calibri"/>
              </a:rPr>
              <a:t> </a:t>
            </a:r>
            <a:r>
              <a:rPr lang="en-US" sz="1400" b="0" i="0" u="none" strike="noStrike" cap="none">
                <a:solidFill>
                  <a:srgbClr val="222222"/>
                </a:solidFill>
                <a:latin typeface="Calibri"/>
                <a:ea typeface="Calibri"/>
                <a:cs typeface="Calibri"/>
                <a:sym typeface="Calibri"/>
              </a:rPr>
              <a:t>i.e. with dedicated teams</a:t>
            </a:r>
            <a:endParaRPr sz="1400" b="0" i="0" u="none" strike="noStrike" cap="none">
              <a:solidFill>
                <a:srgbClr val="222222"/>
              </a:solidFill>
              <a:latin typeface="Arial"/>
              <a:ea typeface="Arial"/>
              <a:cs typeface="Arial"/>
              <a:sym typeface="Arial"/>
            </a:endParaRPr>
          </a:p>
        </p:txBody>
      </p:sp>
      <p:sp>
        <p:nvSpPr>
          <p:cNvPr id="1198" name="Google Shape;1198;p4"/>
          <p:cNvSpPr txBox="1"/>
          <p:nvPr/>
        </p:nvSpPr>
        <p:spPr>
          <a:xfrm>
            <a:off x="1310647" y="3979495"/>
            <a:ext cx="3874366" cy="614014"/>
          </a:xfrm>
          <a:prstGeom prst="rect">
            <a:avLst/>
          </a:prstGeom>
          <a:noFill/>
          <a:ln>
            <a:noFill/>
          </a:ln>
        </p:spPr>
        <p:txBody>
          <a:bodyPr spcFirstLastPara="1" wrap="square" lIns="0" tIns="0" rIns="0" bIns="0" anchor="t" anchorCtr="0">
            <a:spAutoFit/>
          </a:bodyPr>
          <a:lstStyle/>
          <a:p>
            <a:pPr marL="0" marR="0" lvl="1" indent="0" algn="l" rtl="0">
              <a:lnSpc>
                <a:spcPct val="95000"/>
              </a:lnSpc>
              <a:spcBef>
                <a:spcPts val="0"/>
              </a:spcBef>
              <a:spcAft>
                <a:spcPts val="0"/>
              </a:spcAft>
              <a:buClr>
                <a:schemeClr val="dk2"/>
              </a:buClr>
              <a:buSzPts val="1260"/>
              <a:buFont typeface="Noto Sans Symbols"/>
              <a:buNone/>
            </a:pPr>
            <a:r>
              <a:rPr lang="en-US" sz="1400" b="1" i="0" u="none" strike="noStrike" cap="none">
                <a:solidFill>
                  <a:srgbClr val="222222"/>
                </a:solidFill>
                <a:latin typeface="Calibri"/>
                <a:ea typeface="Calibri"/>
                <a:cs typeface="Calibri"/>
                <a:sym typeface="Calibri"/>
              </a:rPr>
              <a:t>Selecting activities </a:t>
            </a:r>
            <a:r>
              <a:rPr lang="en-US" sz="1400" b="0" i="0" u="none" strike="noStrike" cap="none">
                <a:solidFill>
                  <a:srgbClr val="222222"/>
                </a:solidFill>
                <a:latin typeface="Calibri"/>
                <a:ea typeface="Calibri"/>
                <a:cs typeface="Calibri"/>
                <a:sym typeface="Calibri"/>
              </a:rPr>
              <a:t>which require </a:t>
            </a:r>
            <a:r>
              <a:rPr lang="en-US" sz="1400" b="1" i="0" u="none" strike="noStrike" cap="none">
                <a:solidFill>
                  <a:srgbClr val="222222"/>
                </a:solidFill>
                <a:latin typeface="Calibri"/>
                <a:ea typeface="Calibri"/>
                <a:cs typeface="Calibri"/>
                <a:sym typeface="Calibri"/>
              </a:rPr>
              <a:t>problem solving </a:t>
            </a:r>
            <a:r>
              <a:rPr lang="en-US" sz="1400" b="0" i="0" u="none" strike="noStrike" cap="none">
                <a:solidFill>
                  <a:srgbClr val="222222"/>
                </a:solidFill>
                <a:latin typeface="Calibri"/>
                <a:ea typeface="Calibri"/>
                <a:cs typeface="Calibri"/>
                <a:sym typeface="Calibri"/>
              </a:rPr>
              <a:t>and </a:t>
            </a:r>
            <a:r>
              <a:rPr lang="en-US" sz="1400" b="1" i="0" u="none" strike="noStrike" cap="none">
                <a:solidFill>
                  <a:srgbClr val="222222"/>
                </a:solidFill>
                <a:latin typeface="Calibri"/>
                <a:ea typeface="Calibri"/>
                <a:cs typeface="Calibri"/>
                <a:sym typeface="Calibri"/>
              </a:rPr>
              <a:t>close collaboration </a:t>
            </a:r>
            <a:r>
              <a:rPr lang="en-US" sz="1400" b="0" i="0" u="none" strike="noStrike" cap="none">
                <a:solidFill>
                  <a:srgbClr val="222222"/>
                </a:solidFill>
                <a:latin typeface="Calibri"/>
                <a:ea typeface="Calibri"/>
                <a:cs typeface="Calibri"/>
                <a:sym typeface="Calibri"/>
              </a:rPr>
              <a:t>and which can be executed remotely</a:t>
            </a:r>
            <a:endParaRPr sz="1400" b="0" i="0" u="none" strike="noStrike" cap="none">
              <a:solidFill>
                <a:srgbClr val="222222"/>
              </a:solidFill>
              <a:latin typeface="Arial"/>
              <a:ea typeface="Arial"/>
              <a:cs typeface="Arial"/>
              <a:sym typeface="Arial"/>
            </a:endParaRPr>
          </a:p>
        </p:txBody>
      </p:sp>
      <p:sp>
        <p:nvSpPr>
          <p:cNvPr id="1199" name="Google Shape;1199;p4"/>
          <p:cNvSpPr txBox="1"/>
          <p:nvPr/>
        </p:nvSpPr>
        <p:spPr>
          <a:xfrm>
            <a:off x="1310647" y="4704792"/>
            <a:ext cx="3874366" cy="409343"/>
          </a:xfrm>
          <a:prstGeom prst="rect">
            <a:avLst/>
          </a:prstGeom>
          <a:noFill/>
          <a:ln>
            <a:noFill/>
          </a:ln>
        </p:spPr>
        <p:txBody>
          <a:bodyPr spcFirstLastPara="1" wrap="square" lIns="0" tIns="0" rIns="0" bIns="0" anchor="t" anchorCtr="0">
            <a:spAutoFit/>
          </a:bodyPr>
          <a:lstStyle/>
          <a:p>
            <a:pPr marL="0" marR="0" lvl="1" indent="0" algn="l" rtl="0">
              <a:lnSpc>
                <a:spcPct val="95000"/>
              </a:lnSpc>
              <a:spcBef>
                <a:spcPts val="0"/>
              </a:spcBef>
              <a:spcAft>
                <a:spcPts val="0"/>
              </a:spcAft>
              <a:buClr>
                <a:schemeClr val="dk2"/>
              </a:buClr>
              <a:buSzPts val="1260"/>
              <a:buFont typeface="Noto Sans Symbols"/>
              <a:buNone/>
            </a:pPr>
            <a:r>
              <a:rPr lang="en-US" sz="1400" b="0" i="0" u="none" strike="noStrike" cap="none">
                <a:solidFill>
                  <a:srgbClr val="222222"/>
                </a:solidFill>
                <a:latin typeface="Calibri"/>
                <a:ea typeface="Calibri"/>
                <a:cs typeface="Calibri"/>
                <a:sym typeface="Calibri"/>
              </a:rPr>
              <a:t>Hiring and training </a:t>
            </a:r>
            <a:r>
              <a:rPr lang="en-US" sz="1400" b="1" i="0" u="none" strike="noStrike" cap="none">
                <a:solidFill>
                  <a:srgbClr val="222222"/>
                </a:solidFill>
                <a:latin typeface="Calibri"/>
                <a:ea typeface="Calibri"/>
                <a:cs typeface="Calibri"/>
                <a:sym typeface="Calibri"/>
              </a:rPr>
              <a:t>staff</a:t>
            </a:r>
            <a:r>
              <a:rPr lang="en-US" sz="1400" b="0" i="0" u="none" strike="noStrike" cap="none">
                <a:solidFill>
                  <a:srgbClr val="222222"/>
                </a:solidFill>
                <a:latin typeface="Calibri"/>
                <a:ea typeface="Calibri"/>
                <a:cs typeface="Calibri"/>
                <a:sym typeface="Calibri"/>
              </a:rPr>
              <a:t> who offer strong </a:t>
            </a:r>
            <a:r>
              <a:rPr lang="en-US" sz="1400" b="1" i="0" u="none" strike="noStrike" cap="none">
                <a:solidFill>
                  <a:srgbClr val="222222"/>
                </a:solidFill>
                <a:latin typeface="Calibri"/>
                <a:ea typeface="Calibri"/>
                <a:cs typeface="Calibri"/>
                <a:sym typeface="Calibri"/>
              </a:rPr>
              <a:t>critical thinking </a:t>
            </a:r>
            <a:r>
              <a:rPr lang="en-US" sz="1400" b="0" i="0" u="none" strike="noStrike" cap="none">
                <a:solidFill>
                  <a:srgbClr val="222222"/>
                </a:solidFill>
                <a:latin typeface="Calibri"/>
                <a:ea typeface="Calibri"/>
                <a:cs typeface="Calibri"/>
                <a:sym typeface="Calibri"/>
              </a:rPr>
              <a:t>and </a:t>
            </a:r>
            <a:r>
              <a:rPr lang="en-US" sz="1400" b="1" i="0" u="none" strike="noStrike" cap="none">
                <a:solidFill>
                  <a:srgbClr val="222222"/>
                </a:solidFill>
                <a:latin typeface="Calibri"/>
                <a:ea typeface="Calibri"/>
                <a:cs typeface="Calibri"/>
                <a:sym typeface="Calibri"/>
              </a:rPr>
              <a:t>communication</a:t>
            </a:r>
            <a:r>
              <a:rPr lang="en-US" sz="1400" b="0" i="0" u="none" strike="noStrike" cap="none">
                <a:solidFill>
                  <a:srgbClr val="222222"/>
                </a:solidFill>
                <a:latin typeface="Calibri"/>
                <a:ea typeface="Calibri"/>
                <a:cs typeface="Calibri"/>
                <a:sym typeface="Calibri"/>
              </a:rPr>
              <a:t> skills</a:t>
            </a:r>
            <a:endParaRPr sz="1400" b="0" i="0" u="none" strike="noStrike" cap="none">
              <a:solidFill>
                <a:srgbClr val="222222"/>
              </a:solidFill>
              <a:latin typeface="Arial"/>
              <a:ea typeface="Arial"/>
              <a:cs typeface="Arial"/>
              <a:sym typeface="Arial"/>
            </a:endParaRPr>
          </a:p>
        </p:txBody>
      </p:sp>
      <p:sp>
        <p:nvSpPr>
          <p:cNvPr id="1200" name="Google Shape;1200;p4"/>
          <p:cNvSpPr txBox="1"/>
          <p:nvPr/>
        </p:nvSpPr>
        <p:spPr>
          <a:xfrm>
            <a:off x="1310647" y="5281952"/>
            <a:ext cx="3874366" cy="409343"/>
          </a:xfrm>
          <a:prstGeom prst="rect">
            <a:avLst/>
          </a:prstGeom>
          <a:noFill/>
          <a:ln>
            <a:noFill/>
          </a:ln>
        </p:spPr>
        <p:txBody>
          <a:bodyPr spcFirstLastPara="1" wrap="square" lIns="0" tIns="0" rIns="0" bIns="0" anchor="t" anchorCtr="0">
            <a:spAutoFit/>
          </a:bodyPr>
          <a:lstStyle/>
          <a:p>
            <a:pPr marL="0" marR="0" lvl="1" indent="0" algn="l" rtl="0">
              <a:lnSpc>
                <a:spcPct val="95000"/>
              </a:lnSpc>
              <a:spcBef>
                <a:spcPts val="0"/>
              </a:spcBef>
              <a:spcAft>
                <a:spcPts val="0"/>
              </a:spcAft>
              <a:buClr>
                <a:schemeClr val="dk2"/>
              </a:buClr>
              <a:buSzPts val="1260"/>
              <a:buFont typeface="Noto Sans Symbols"/>
              <a:buNone/>
            </a:pPr>
            <a:r>
              <a:rPr lang="en-US" sz="1400" b="0" i="0" u="none" strike="noStrike" cap="none">
                <a:solidFill>
                  <a:srgbClr val="222222"/>
                </a:solidFill>
                <a:latin typeface="Calibri"/>
                <a:ea typeface="Calibri"/>
                <a:cs typeface="Calibri"/>
                <a:sym typeface="Calibri"/>
              </a:rPr>
              <a:t>Using </a:t>
            </a:r>
            <a:r>
              <a:rPr lang="en-US" sz="1400" b="1" i="0" u="none" strike="noStrike" cap="none">
                <a:solidFill>
                  <a:srgbClr val="222222"/>
                </a:solidFill>
                <a:latin typeface="Calibri"/>
                <a:ea typeface="Calibri"/>
                <a:cs typeface="Calibri"/>
                <a:sym typeface="Calibri"/>
              </a:rPr>
              <a:t>delivery locations </a:t>
            </a:r>
            <a:r>
              <a:rPr lang="en-US" sz="1400" b="0" i="0" u="none" strike="noStrike" cap="none">
                <a:solidFill>
                  <a:srgbClr val="222222"/>
                </a:solidFill>
                <a:latin typeface="Calibri"/>
                <a:ea typeface="Calibri"/>
                <a:cs typeface="Calibri"/>
                <a:sym typeface="Calibri"/>
              </a:rPr>
              <a:t>which allow live discussions with clients</a:t>
            </a:r>
            <a:endParaRPr sz="1400" b="0" i="0" u="none" strike="noStrike" cap="none">
              <a:solidFill>
                <a:srgbClr val="222222"/>
              </a:solidFill>
              <a:latin typeface="Arial"/>
              <a:ea typeface="Arial"/>
              <a:cs typeface="Arial"/>
              <a:sym typeface="Arial"/>
            </a:endParaRPr>
          </a:p>
        </p:txBody>
      </p:sp>
      <p:sp>
        <p:nvSpPr>
          <p:cNvPr id="1201" name="Google Shape;1201;p4"/>
          <p:cNvSpPr txBox="1"/>
          <p:nvPr/>
        </p:nvSpPr>
        <p:spPr>
          <a:xfrm>
            <a:off x="1310647" y="5881451"/>
            <a:ext cx="3874366" cy="409343"/>
          </a:xfrm>
          <a:prstGeom prst="rect">
            <a:avLst/>
          </a:prstGeom>
          <a:noFill/>
          <a:ln>
            <a:noFill/>
          </a:ln>
        </p:spPr>
        <p:txBody>
          <a:bodyPr spcFirstLastPara="1" wrap="square" lIns="0" tIns="0" rIns="0" bIns="0" anchor="t" anchorCtr="0">
            <a:spAutoFit/>
          </a:bodyPr>
          <a:lstStyle/>
          <a:p>
            <a:pPr marL="0" marR="0" lvl="1" indent="0" algn="l" rtl="0">
              <a:lnSpc>
                <a:spcPct val="95000"/>
              </a:lnSpc>
              <a:spcBef>
                <a:spcPts val="0"/>
              </a:spcBef>
              <a:spcAft>
                <a:spcPts val="0"/>
              </a:spcAft>
              <a:buClr>
                <a:schemeClr val="dk2"/>
              </a:buClr>
              <a:buSzPts val="1260"/>
              <a:buFont typeface="Noto Sans Symbols"/>
              <a:buNone/>
            </a:pPr>
            <a:r>
              <a:rPr lang="en-US" sz="1400" b="0" i="0" u="none" strike="noStrike" cap="none">
                <a:solidFill>
                  <a:srgbClr val="222222"/>
                </a:solidFill>
                <a:latin typeface="Calibri"/>
                <a:ea typeface="Calibri"/>
                <a:cs typeface="Calibri"/>
                <a:sym typeface="Calibri"/>
              </a:rPr>
              <a:t>Building </a:t>
            </a:r>
            <a:r>
              <a:rPr lang="en-US" sz="1400" b="1" i="0" u="none" strike="noStrike" cap="none">
                <a:solidFill>
                  <a:srgbClr val="222222"/>
                </a:solidFill>
                <a:latin typeface="Calibri"/>
                <a:ea typeface="Calibri"/>
                <a:cs typeface="Calibri"/>
                <a:sym typeface="Calibri"/>
              </a:rPr>
              <a:t>integrated relationships </a:t>
            </a:r>
            <a:r>
              <a:rPr lang="en-US" sz="1400" b="0" i="0" u="none" strike="noStrike" cap="none">
                <a:solidFill>
                  <a:srgbClr val="222222"/>
                </a:solidFill>
                <a:latin typeface="Calibri"/>
                <a:ea typeface="Calibri"/>
                <a:cs typeface="Calibri"/>
                <a:sym typeface="Calibri"/>
              </a:rPr>
              <a:t>with clients as “ecosystem partners”</a:t>
            </a:r>
            <a:endParaRPr sz="1400" b="0" i="0" u="none" strike="noStrike" cap="none">
              <a:solidFill>
                <a:srgbClr val="222222"/>
              </a:solidFill>
              <a:latin typeface="Arial"/>
              <a:ea typeface="Arial"/>
              <a:cs typeface="Arial"/>
              <a:sym typeface="Arial"/>
            </a:endParaRPr>
          </a:p>
        </p:txBody>
      </p:sp>
      <p:sp>
        <p:nvSpPr>
          <p:cNvPr id="1202" name="Google Shape;1202;p4"/>
          <p:cNvSpPr/>
          <p:nvPr/>
        </p:nvSpPr>
        <p:spPr>
          <a:xfrm>
            <a:off x="673633" y="3919121"/>
            <a:ext cx="530090" cy="530091"/>
          </a:xfrm>
          <a:prstGeom prst="ellipse">
            <a:avLst/>
          </a:prstGeom>
          <a:solidFill>
            <a:schemeClr val="lt2"/>
          </a:solidFill>
          <a:ln w="12700" cap="flat" cmpd="sng">
            <a:solidFill>
              <a:schemeClr val="lt2"/>
            </a:solidFill>
            <a:prstDash val="solid"/>
            <a:miter lim="800000"/>
            <a:headEnd type="none" w="sm" len="sm"/>
            <a:tailEnd type="none" w="sm" len="sm"/>
          </a:ln>
        </p:spPr>
        <p:txBody>
          <a:bodyPr spcFirstLastPara="1" wrap="square" lIns="0" tIns="468000" rIns="0" bIns="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1" i="0" u="none" strike="noStrike" cap="none">
              <a:solidFill>
                <a:srgbClr val="7F7F7F"/>
              </a:solidFill>
              <a:latin typeface="Calibri"/>
              <a:ea typeface="Calibri"/>
              <a:cs typeface="Calibri"/>
              <a:sym typeface="Calibri"/>
            </a:endParaRPr>
          </a:p>
        </p:txBody>
      </p:sp>
      <p:sp>
        <p:nvSpPr>
          <p:cNvPr id="1203" name="Google Shape;1203;p4"/>
          <p:cNvSpPr/>
          <p:nvPr/>
        </p:nvSpPr>
        <p:spPr>
          <a:xfrm>
            <a:off x="673633" y="4635165"/>
            <a:ext cx="530090" cy="530091"/>
          </a:xfrm>
          <a:prstGeom prst="ellipse">
            <a:avLst/>
          </a:prstGeom>
          <a:solidFill>
            <a:schemeClr val="lt2"/>
          </a:solidFill>
          <a:ln w="12700" cap="flat" cmpd="sng">
            <a:solidFill>
              <a:schemeClr val="lt2"/>
            </a:solidFill>
            <a:prstDash val="solid"/>
            <a:miter lim="800000"/>
            <a:headEnd type="none" w="sm" len="sm"/>
            <a:tailEnd type="none" w="sm" len="sm"/>
          </a:ln>
        </p:spPr>
        <p:txBody>
          <a:bodyPr spcFirstLastPara="1" wrap="square" lIns="0" tIns="468000" rIns="0" bIns="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1" i="0" u="none" strike="noStrike" cap="none">
              <a:solidFill>
                <a:srgbClr val="7F7F7F"/>
              </a:solidFill>
              <a:latin typeface="Calibri"/>
              <a:ea typeface="Calibri"/>
              <a:cs typeface="Calibri"/>
              <a:sym typeface="Calibri"/>
            </a:endParaRPr>
          </a:p>
        </p:txBody>
      </p:sp>
      <p:sp>
        <p:nvSpPr>
          <p:cNvPr id="1204" name="Google Shape;1204;p4"/>
          <p:cNvSpPr/>
          <p:nvPr/>
        </p:nvSpPr>
        <p:spPr>
          <a:xfrm>
            <a:off x="673633" y="5228121"/>
            <a:ext cx="530090" cy="530091"/>
          </a:xfrm>
          <a:prstGeom prst="ellipse">
            <a:avLst/>
          </a:prstGeom>
          <a:solidFill>
            <a:schemeClr val="lt2"/>
          </a:solidFill>
          <a:ln w="12700" cap="flat" cmpd="sng">
            <a:solidFill>
              <a:schemeClr val="lt2"/>
            </a:solidFill>
            <a:prstDash val="solid"/>
            <a:miter lim="800000"/>
            <a:headEnd type="none" w="sm" len="sm"/>
            <a:tailEnd type="none" w="sm" len="sm"/>
          </a:ln>
        </p:spPr>
        <p:txBody>
          <a:bodyPr spcFirstLastPara="1" wrap="square" lIns="0" tIns="468000" rIns="0" bIns="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1" i="0" u="none" strike="noStrike" cap="none">
              <a:solidFill>
                <a:srgbClr val="7F7F7F"/>
              </a:solidFill>
              <a:latin typeface="Calibri"/>
              <a:ea typeface="Calibri"/>
              <a:cs typeface="Calibri"/>
              <a:sym typeface="Calibri"/>
            </a:endParaRPr>
          </a:p>
        </p:txBody>
      </p:sp>
      <p:sp>
        <p:nvSpPr>
          <p:cNvPr id="1205" name="Google Shape;1205;p4"/>
          <p:cNvSpPr/>
          <p:nvPr/>
        </p:nvSpPr>
        <p:spPr>
          <a:xfrm>
            <a:off x="673633" y="5821077"/>
            <a:ext cx="530090" cy="530091"/>
          </a:xfrm>
          <a:prstGeom prst="ellipse">
            <a:avLst/>
          </a:prstGeom>
          <a:solidFill>
            <a:schemeClr val="lt2"/>
          </a:solidFill>
          <a:ln w="12700" cap="flat" cmpd="sng">
            <a:solidFill>
              <a:schemeClr val="lt2"/>
            </a:solidFill>
            <a:prstDash val="solid"/>
            <a:miter lim="800000"/>
            <a:headEnd type="none" w="sm" len="sm"/>
            <a:tailEnd type="none" w="sm" len="sm"/>
          </a:ln>
        </p:spPr>
        <p:txBody>
          <a:bodyPr spcFirstLastPara="1" wrap="square" lIns="0" tIns="468000" rIns="0" bIns="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1" i="0" u="none" strike="noStrike" cap="none">
              <a:solidFill>
                <a:srgbClr val="7F7F7F"/>
              </a:solidFill>
              <a:latin typeface="Calibri"/>
              <a:ea typeface="Calibri"/>
              <a:cs typeface="Calibri"/>
              <a:sym typeface="Calibri"/>
            </a:endParaRPr>
          </a:p>
        </p:txBody>
      </p:sp>
      <p:sp>
        <p:nvSpPr>
          <p:cNvPr id="1206" name="Google Shape;1206;p4"/>
          <p:cNvSpPr/>
          <p:nvPr/>
        </p:nvSpPr>
        <p:spPr>
          <a:xfrm>
            <a:off x="6266752" y="3919121"/>
            <a:ext cx="530090" cy="530091"/>
          </a:xfrm>
          <a:prstGeom prst="ellipse">
            <a:avLst/>
          </a:prstGeom>
          <a:solidFill>
            <a:schemeClr val="lt2"/>
          </a:solidFill>
          <a:ln w="12700" cap="flat" cmpd="sng">
            <a:solidFill>
              <a:schemeClr val="lt2"/>
            </a:solidFill>
            <a:prstDash val="solid"/>
            <a:miter lim="800000"/>
            <a:headEnd type="none" w="sm" len="sm"/>
            <a:tailEnd type="none" w="sm" len="sm"/>
          </a:ln>
        </p:spPr>
        <p:txBody>
          <a:bodyPr spcFirstLastPara="1" wrap="square" lIns="0" tIns="468000" rIns="0" bIns="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1" i="0" u="none" strike="noStrike" cap="none">
              <a:solidFill>
                <a:srgbClr val="7F7F7F"/>
              </a:solidFill>
              <a:latin typeface="Calibri"/>
              <a:ea typeface="Calibri"/>
              <a:cs typeface="Calibri"/>
              <a:sym typeface="Calibri"/>
            </a:endParaRPr>
          </a:p>
        </p:txBody>
      </p:sp>
      <p:sp>
        <p:nvSpPr>
          <p:cNvPr id="1207" name="Google Shape;1207;p4"/>
          <p:cNvSpPr/>
          <p:nvPr/>
        </p:nvSpPr>
        <p:spPr>
          <a:xfrm>
            <a:off x="6266752" y="4618638"/>
            <a:ext cx="530090" cy="530091"/>
          </a:xfrm>
          <a:prstGeom prst="ellipse">
            <a:avLst/>
          </a:prstGeom>
          <a:solidFill>
            <a:schemeClr val="lt2"/>
          </a:solidFill>
          <a:ln w="12700" cap="flat" cmpd="sng">
            <a:solidFill>
              <a:schemeClr val="lt2"/>
            </a:solidFill>
            <a:prstDash val="solid"/>
            <a:miter lim="800000"/>
            <a:headEnd type="none" w="sm" len="sm"/>
            <a:tailEnd type="none" w="sm" len="sm"/>
          </a:ln>
        </p:spPr>
        <p:txBody>
          <a:bodyPr spcFirstLastPara="1" wrap="square" lIns="0" tIns="468000" rIns="0" bIns="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1" i="0" u="none" strike="noStrike" cap="none">
              <a:solidFill>
                <a:srgbClr val="7F7F7F"/>
              </a:solidFill>
              <a:latin typeface="Calibri"/>
              <a:ea typeface="Calibri"/>
              <a:cs typeface="Calibri"/>
              <a:sym typeface="Calibri"/>
            </a:endParaRPr>
          </a:p>
        </p:txBody>
      </p:sp>
      <p:sp>
        <p:nvSpPr>
          <p:cNvPr id="1208" name="Google Shape;1208;p4"/>
          <p:cNvSpPr/>
          <p:nvPr/>
        </p:nvSpPr>
        <p:spPr>
          <a:xfrm>
            <a:off x="6266752" y="5816188"/>
            <a:ext cx="530090" cy="530091"/>
          </a:xfrm>
          <a:prstGeom prst="ellipse">
            <a:avLst/>
          </a:prstGeom>
          <a:solidFill>
            <a:schemeClr val="lt2"/>
          </a:solidFill>
          <a:ln w="12700" cap="flat" cmpd="sng">
            <a:solidFill>
              <a:schemeClr val="lt2"/>
            </a:solidFill>
            <a:prstDash val="solid"/>
            <a:miter lim="800000"/>
            <a:headEnd type="none" w="sm" len="sm"/>
            <a:tailEnd type="none" w="sm" len="sm"/>
          </a:ln>
        </p:spPr>
        <p:txBody>
          <a:bodyPr spcFirstLastPara="1" wrap="square" lIns="0" tIns="468000" rIns="0" bIns="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1" i="0" u="none" strike="noStrike" cap="none">
              <a:solidFill>
                <a:srgbClr val="7F7F7F"/>
              </a:solidFill>
              <a:latin typeface="Calibri"/>
              <a:ea typeface="Calibri"/>
              <a:cs typeface="Calibri"/>
              <a:sym typeface="Calibri"/>
            </a:endParaRPr>
          </a:p>
        </p:txBody>
      </p:sp>
      <p:grpSp>
        <p:nvGrpSpPr>
          <p:cNvPr id="1209" name="Google Shape;1209;p4"/>
          <p:cNvGrpSpPr/>
          <p:nvPr/>
        </p:nvGrpSpPr>
        <p:grpSpPr>
          <a:xfrm>
            <a:off x="5579469" y="3911763"/>
            <a:ext cx="288000" cy="2434515"/>
            <a:chOff x="5579469" y="3924754"/>
            <a:chExt cx="288000" cy="2333806"/>
          </a:xfrm>
        </p:grpSpPr>
        <p:cxnSp>
          <p:nvCxnSpPr>
            <p:cNvPr id="1210" name="Google Shape;1210;p4"/>
            <p:cNvCxnSpPr/>
            <p:nvPr/>
          </p:nvCxnSpPr>
          <p:spPr>
            <a:xfrm>
              <a:off x="5723469" y="3924754"/>
              <a:ext cx="0" cy="2333806"/>
            </a:xfrm>
            <a:prstGeom prst="straightConnector1">
              <a:avLst/>
            </a:prstGeom>
            <a:noFill/>
            <a:ln w="19050" cap="flat" cmpd="sng">
              <a:solidFill>
                <a:schemeClr val="dk2"/>
              </a:solidFill>
              <a:prstDash val="solid"/>
              <a:miter lim="800000"/>
              <a:headEnd type="none" w="sm" len="sm"/>
              <a:tailEnd type="none" w="sm" len="sm"/>
            </a:ln>
          </p:spPr>
        </p:cxnSp>
        <p:grpSp>
          <p:nvGrpSpPr>
            <p:cNvPr id="1211" name="Google Shape;1211;p4"/>
            <p:cNvGrpSpPr/>
            <p:nvPr/>
          </p:nvGrpSpPr>
          <p:grpSpPr>
            <a:xfrm>
              <a:off x="5579469" y="4947657"/>
              <a:ext cx="288000" cy="288000"/>
              <a:chOff x="550862" y="2496471"/>
              <a:chExt cx="360000" cy="360000"/>
            </a:xfrm>
          </p:grpSpPr>
          <p:sp>
            <p:nvSpPr>
              <p:cNvPr id="1212" name="Google Shape;1212;p4"/>
              <p:cNvSpPr/>
              <p:nvPr/>
            </p:nvSpPr>
            <p:spPr>
              <a:xfrm>
                <a:off x="564471" y="2510079"/>
                <a:ext cx="332784" cy="332784"/>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213" name="Google Shape;1213;p4"/>
              <p:cNvPicPr preferRelativeResize="0"/>
              <p:nvPr/>
            </p:nvPicPr>
            <p:blipFill rotWithShape="1">
              <a:blip r:embed="rId3">
                <a:alphaModFix/>
              </a:blip>
              <a:srcRect/>
              <a:stretch/>
            </p:blipFill>
            <p:spPr>
              <a:xfrm>
                <a:off x="550862" y="2496471"/>
                <a:ext cx="360000" cy="360000"/>
              </a:xfrm>
              <a:prstGeom prst="rect">
                <a:avLst/>
              </a:prstGeom>
              <a:noFill/>
              <a:ln>
                <a:noFill/>
              </a:ln>
            </p:spPr>
          </p:pic>
        </p:grpSp>
      </p:grpSp>
      <p:pic>
        <p:nvPicPr>
          <p:cNvPr id="1214" name="Google Shape;1214;p4"/>
          <p:cNvPicPr preferRelativeResize="0"/>
          <p:nvPr/>
        </p:nvPicPr>
        <p:blipFill rotWithShape="1">
          <a:blip r:embed="rId4">
            <a:alphaModFix/>
          </a:blip>
          <a:srcRect/>
          <a:stretch/>
        </p:blipFill>
        <p:spPr>
          <a:xfrm flipH="1">
            <a:off x="767365" y="4017222"/>
            <a:ext cx="321195" cy="321195"/>
          </a:xfrm>
          <a:prstGeom prst="rect">
            <a:avLst/>
          </a:prstGeom>
          <a:noFill/>
          <a:ln>
            <a:noFill/>
          </a:ln>
        </p:spPr>
      </p:pic>
      <p:pic>
        <p:nvPicPr>
          <p:cNvPr id="1215" name="Google Shape;1215;p4"/>
          <p:cNvPicPr preferRelativeResize="0"/>
          <p:nvPr/>
        </p:nvPicPr>
        <p:blipFill rotWithShape="1">
          <a:blip r:embed="rId5">
            <a:alphaModFix/>
          </a:blip>
          <a:srcRect/>
          <a:stretch/>
        </p:blipFill>
        <p:spPr>
          <a:xfrm>
            <a:off x="784145" y="4733210"/>
            <a:ext cx="330916" cy="330916"/>
          </a:xfrm>
          <a:prstGeom prst="rect">
            <a:avLst/>
          </a:prstGeom>
          <a:noFill/>
          <a:ln>
            <a:noFill/>
          </a:ln>
        </p:spPr>
      </p:pic>
      <p:pic>
        <p:nvPicPr>
          <p:cNvPr id="1216" name="Google Shape;1216;p4"/>
          <p:cNvPicPr preferRelativeResize="0"/>
          <p:nvPr/>
        </p:nvPicPr>
        <p:blipFill rotWithShape="1">
          <a:blip r:embed="rId6">
            <a:alphaModFix/>
          </a:blip>
          <a:srcRect/>
          <a:stretch/>
        </p:blipFill>
        <p:spPr>
          <a:xfrm>
            <a:off x="783885" y="5340043"/>
            <a:ext cx="309586" cy="309586"/>
          </a:xfrm>
          <a:prstGeom prst="rect">
            <a:avLst/>
          </a:prstGeom>
          <a:noFill/>
          <a:ln>
            <a:noFill/>
          </a:ln>
        </p:spPr>
      </p:pic>
      <p:pic>
        <p:nvPicPr>
          <p:cNvPr id="1217" name="Google Shape;1217;p4"/>
          <p:cNvPicPr preferRelativeResize="0"/>
          <p:nvPr/>
        </p:nvPicPr>
        <p:blipFill rotWithShape="1">
          <a:blip r:embed="rId7">
            <a:alphaModFix/>
          </a:blip>
          <a:srcRect/>
          <a:stretch/>
        </p:blipFill>
        <p:spPr>
          <a:xfrm>
            <a:off x="776267" y="5916091"/>
            <a:ext cx="324824" cy="324824"/>
          </a:xfrm>
          <a:prstGeom prst="rect">
            <a:avLst/>
          </a:prstGeom>
          <a:noFill/>
          <a:ln>
            <a:noFill/>
          </a:ln>
        </p:spPr>
      </p:pic>
      <p:pic>
        <p:nvPicPr>
          <p:cNvPr id="1218" name="Google Shape;1218;p4"/>
          <p:cNvPicPr preferRelativeResize="0"/>
          <p:nvPr/>
        </p:nvPicPr>
        <p:blipFill rotWithShape="1">
          <a:blip r:embed="rId8">
            <a:alphaModFix/>
          </a:blip>
          <a:srcRect/>
          <a:stretch/>
        </p:blipFill>
        <p:spPr>
          <a:xfrm>
            <a:off x="6384685" y="5910298"/>
            <a:ext cx="341870" cy="341870"/>
          </a:xfrm>
          <a:prstGeom prst="rect">
            <a:avLst/>
          </a:prstGeom>
          <a:noFill/>
          <a:ln>
            <a:noFill/>
          </a:ln>
        </p:spPr>
      </p:pic>
      <p:pic>
        <p:nvPicPr>
          <p:cNvPr id="1219" name="Google Shape;1219;p4"/>
          <p:cNvPicPr preferRelativeResize="0"/>
          <p:nvPr/>
        </p:nvPicPr>
        <p:blipFill rotWithShape="1">
          <a:blip r:embed="rId9">
            <a:alphaModFix/>
          </a:blip>
          <a:srcRect/>
          <a:stretch/>
        </p:blipFill>
        <p:spPr>
          <a:xfrm>
            <a:off x="6353831" y="4705717"/>
            <a:ext cx="355931" cy="355931"/>
          </a:xfrm>
          <a:prstGeom prst="rect">
            <a:avLst/>
          </a:prstGeom>
          <a:noFill/>
          <a:ln>
            <a:noFill/>
          </a:ln>
        </p:spPr>
      </p:pic>
      <p:pic>
        <p:nvPicPr>
          <p:cNvPr id="1220" name="Google Shape;1220;p4"/>
          <p:cNvPicPr preferRelativeResize="0"/>
          <p:nvPr/>
        </p:nvPicPr>
        <p:blipFill rotWithShape="1">
          <a:blip r:embed="rId10">
            <a:alphaModFix/>
          </a:blip>
          <a:srcRect/>
          <a:stretch/>
        </p:blipFill>
        <p:spPr>
          <a:xfrm flipH="1">
            <a:off x="6377578" y="4004167"/>
            <a:ext cx="341356" cy="341358"/>
          </a:xfrm>
          <a:prstGeom prst="rect">
            <a:avLst/>
          </a:prstGeom>
          <a:noFill/>
          <a:ln>
            <a:noFill/>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2599"/>
        <p:cNvGrpSpPr/>
        <p:nvPr/>
      </p:nvGrpSpPr>
      <p:grpSpPr>
        <a:xfrm>
          <a:off x="0" y="0"/>
          <a:ext cx="0" cy="0"/>
          <a:chOff x="0" y="0"/>
          <a:chExt cx="0" cy="0"/>
        </a:xfrm>
      </p:grpSpPr>
      <p:sp>
        <p:nvSpPr>
          <p:cNvPr id="2600" name="Google Shape;2600;p36"/>
          <p:cNvSpPr txBox="1">
            <a:spLocks noGrp="1"/>
          </p:cNvSpPr>
          <p:nvPr>
            <p:ph type="title"/>
          </p:nvPr>
        </p:nvSpPr>
        <p:spPr>
          <a:xfrm>
            <a:off x="1375547" y="348339"/>
            <a:ext cx="2133600" cy="1255728"/>
          </a:xfrm>
          <a:prstGeom prst="rect">
            <a:avLst/>
          </a:prstGeom>
          <a:noFill/>
          <a:ln>
            <a:noFill/>
          </a:ln>
        </p:spPr>
        <p:txBody>
          <a:bodyPr spcFirstLastPara="1" wrap="square" lIns="0" tIns="0" rIns="0" bIns="0" anchor="t" anchorCtr="0">
            <a:spAutoFit/>
          </a:bodyPr>
          <a:lstStyle/>
          <a:p>
            <a:pPr marL="0" lvl="0" indent="0" algn="l" rtl="0">
              <a:lnSpc>
                <a:spcPct val="109375"/>
              </a:lnSpc>
              <a:spcBef>
                <a:spcPts val="0"/>
              </a:spcBef>
              <a:spcAft>
                <a:spcPts val="0"/>
              </a:spcAft>
              <a:buClr>
                <a:schemeClr val="dk2"/>
              </a:buClr>
              <a:buSzPts val="3200"/>
              <a:buFont typeface="Franklin Gothic"/>
              <a:buNone/>
            </a:pPr>
            <a:r>
              <a:rPr lang="en-US"/>
              <a:t>Case Example</a:t>
            </a:r>
            <a:endParaRPr/>
          </a:p>
        </p:txBody>
      </p:sp>
      <p:pic>
        <p:nvPicPr>
          <p:cNvPr id="2601" name="Google Shape;2601;p36" descr="A picture containing tree, bird&#10;&#10;Description automatically generated"/>
          <p:cNvPicPr preferRelativeResize="0"/>
          <p:nvPr/>
        </p:nvPicPr>
        <p:blipFill rotWithShape="1">
          <a:blip r:embed="rId3">
            <a:alphaModFix/>
          </a:blip>
          <a:srcRect/>
          <a:stretch/>
        </p:blipFill>
        <p:spPr>
          <a:xfrm>
            <a:off x="6007101" y="5134097"/>
            <a:ext cx="4968626" cy="1379064"/>
          </a:xfrm>
          <a:prstGeom prst="rect">
            <a:avLst/>
          </a:prstGeom>
          <a:noFill/>
          <a:ln>
            <a:noFill/>
          </a:ln>
        </p:spPr>
      </p:pic>
      <p:pic>
        <p:nvPicPr>
          <p:cNvPr id="2602" name="Google Shape;2602;p36" descr="A picture containing bird&#10;&#10;Description automatically generated"/>
          <p:cNvPicPr preferRelativeResize="0"/>
          <p:nvPr/>
        </p:nvPicPr>
        <p:blipFill rotWithShape="1">
          <a:blip r:embed="rId4">
            <a:alphaModFix/>
          </a:blip>
          <a:srcRect/>
          <a:stretch/>
        </p:blipFill>
        <p:spPr>
          <a:xfrm>
            <a:off x="1843315" y="5167276"/>
            <a:ext cx="4120242" cy="1348938"/>
          </a:xfrm>
          <a:prstGeom prst="rect">
            <a:avLst/>
          </a:prstGeom>
          <a:noFill/>
          <a:ln>
            <a:noFill/>
          </a:ln>
        </p:spPr>
      </p:pic>
      <p:pic>
        <p:nvPicPr>
          <p:cNvPr id="2603" name="Google Shape;2603;p36" descr="A screenshot of a social media post&#10;&#10;Description automatically generated"/>
          <p:cNvPicPr preferRelativeResize="0"/>
          <p:nvPr/>
        </p:nvPicPr>
        <p:blipFill rotWithShape="1">
          <a:blip r:embed="rId5">
            <a:alphaModFix/>
          </a:blip>
          <a:srcRect/>
          <a:stretch/>
        </p:blipFill>
        <p:spPr>
          <a:xfrm>
            <a:off x="1516743" y="3169360"/>
            <a:ext cx="9223828" cy="1861368"/>
          </a:xfrm>
          <a:prstGeom prst="rect">
            <a:avLst/>
          </a:prstGeom>
          <a:noFill/>
          <a:ln>
            <a:noFill/>
          </a:ln>
        </p:spPr>
      </p:pic>
      <p:cxnSp>
        <p:nvCxnSpPr>
          <p:cNvPr id="2604" name="Google Shape;2604;p36"/>
          <p:cNvCxnSpPr/>
          <p:nvPr/>
        </p:nvCxnSpPr>
        <p:spPr>
          <a:xfrm>
            <a:off x="1518964" y="3111250"/>
            <a:ext cx="9221607" cy="3053"/>
          </a:xfrm>
          <a:prstGeom prst="straightConnector1">
            <a:avLst/>
          </a:prstGeom>
          <a:noFill/>
          <a:ln w="9525" cap="flat" cmpd="sng">
            <a:solidFill>
              <a:schemeClr val="accent2"/>
            </a:solidFill>
            <a:prstDash val="solid"/>
            <a:miter lim="800000"/>
            <a:headEnd type="none" w="sm" len="sm"/>
            <a:tailEnd type="none" w="sm" len="sm"/>
          </a:ln>
        </p:spPr>
      </p:cxnSp>
      <p:cxnSp>
        <p:nvCxnSpPr>
          <p:cNvPr id="2605" name="Google Shape;2605;p36"/>
          <p:cNvCxnSpPr/>
          <p:nvPr/>
        </p:nvCxnSpPr>
        <p:spPr>
          <a:xfrm>
            <a:off x="1516742" y="5089770"/>
            <a:ext cx="9221607" cy="3053"/>
          </a:xfrm>
          <a:prstGeom prst="straightConnector1">
            <a:avLst/>
          </a:prstGeom>
          <a:noFill/>
          <a:ln w="9525" cap="flat" cmpd="sng">
            <a:solidFill>
              <a:schemeClr val="accent2"/>
            </a:solidFill>
            <a:prstDash val="solid"/>
            <a:miter lim="800000"/>
            <a:headEnd type="none" w="sm" len="sm"/>
            <a:tailEnd type="none" w="sm" len="sm"/>
          </a:ln>
        </p:spPr>
      </p:cxnSp>
      <p:cxnSp>
        <p:nvCxnSpPr>
          <p:cNvPr id="2606" name="Google Shape;2606;p36"/>
          <p:cNvCxnSpPr/>
          <p:nvPr/>
        </p:nvCxnSpPr>
        <p:spPr>
          <a:xfrm>
            <a:off x="5964451" y="5129261"/>
            <a:ext cx="0" cy="1402170"/>
          </a:xfrm>
          <a:prstGeom prst="straightConnector1">
            <a:avLst/>
          </a:prstGeom>
          <a:noFill/>
          <a:ln w="9525" cap="flat" cmpd="sng">
            <a:solidFill>
              <a:schemeClr val="accent2"/>
            </a:solidFill>
            <a:prstDash val="solid"/>
            <a:miter lim="800000"/>
            <a:headEnd type="none" w="sm" len="sm"/>
            <a:tailEnd type="none" w="sm" len="sm"/>
          </a:ln>
        </p:spPr>
      </p:cxnSp>
      <p:sp>
        <p:nvSpPr>
          <p:cNvPr id="2607" name="Google Shape;2607;p36"/>
          <p:cNvSpPr txBox="1"/>
          <p:nvPr/>
        </p:nvSpPr>
        <p:spPr>
          <a:xfrm>
            <a:off x="3748544" y="320214"/>
            <a:ext cx="6159385" cy="923330"/>
          </a:xfrm>
          <a:prstGeom prst="rect">
            <a:avLst/>
          </a:prstGeom>
          <a:noFill/>
          <a:ln>
            <a:noFill/>
          </a:ln>
        </p:spPr>
        <p:txBody>
          <a:bodyPr spcFirstLastPara="1" wrap="square" lIns="0" tIns="45700" rIns="0" bIns="45700" anchor="t" anchorCtr="0">
            <a:spAutoFit/>
          </a:bodyPr>
          <a:lstStyle/>
          <a:p>
            <a:pPr marL="0" marR="0" lvl="0" indent="0" algn="l" rtl="0">
              <a:lnSpc>
                <a:spcPct val="100000"/>
              </a:lnSpc>
              <a:spcBef>
                <a:spcPts val="0"/>
              </a:spcBef>
              <a:spcAft>
                <a:spcPts val="0"/>
              </a:spcAft>
              <a:buClr>
                <a:schemeClr val="dk1"/>
              </a:buClr>
              <a:buSzPts val="1800"/>
              <a:buFont typeface="Calibri"/>
              <a:buNone/>
            </a:pPr>
            <a:r>
              <a:rPr lang="en-US" sz="1800" b="0" i="0" u="none" strike="noStrike" cap="none">
                <a:solidFill>
                  <a:schemeClr val="dk1"/>
                </a:solidFill>
                <a:latin typeface="Calibri"/>
                <a:ea typeface="Calibri"/>
                <a:cs typeface="Calibri"/>
                <a:sym typeface="Calibri"/>
              </a:rPr>
              <a:t>We support knowledge specialists and analysts, either internally or at consulting firms, with translations of data and insights to be plugged in their deliverables</a:t>
            </a:r>
            <a:endParaRPr sz="1400" b="0" i="0" u="none" strike="noStrike" cap="none">
              <a:solidFill>
                <a:srgbClr val="000000"/>
              </a:solidFill>
              <a:latin typeface="Arial"/>
              <a:ea typeface="Arial"/>
              <a:cs typeface="Arial"/>
              <a:sym typeface="Arial"/>
            </a:endParaRPr>
          </a:p>
        </p:txBody>
      </p:sp>
      <p:pic>
        <p:nvPicPr>
          <p:cNvPr id="2608" name="Google Shape;2608;p36"/>
          <p:cNvPicPr preferRelativeResize="0"/>
          <p:nvPr/>
        </p:nvPicPr>
        <p:blipFill rotWithShape="1">
          <a:blip r:embed="rId6">
            <a:alphaModFix/>
          </a:blip>
          <a:srcRect/>
          <a:stretch/>
        </p:blipFill>
        <p:spPr>
          <a:xfrm>
            <a:off x="1234440" y="1662619"/>
            <a:ext cx="9723120" cy="1404139"/>
          </a:xfrm>
          <a:prstGeom prst="rect">
            <a:avLst/>
          </a:prstGeom>
          <a:noFill/>
          <a:ln>
            <a:noFill/>
          </a:ln>
        </p:spPr>
      </p:pic>
      <p:grpSp>
        <p:nvGrpSpPr>
          <p:cNvPr id="2609" name="Google Shape;2609;p36"/>
          <p:cNvGrpSpPr/>
          <p:nvPr/>
        </p:nvGrpSpPr>
        <p:grpSpPr>
          <a:xfrm>
            <a:off x="10881886" y="135255"/>
            <a:ext cx="1141311" cy="468742"/>
            <a:chOff x="10881886" y="135255"/>
            <a:chExt cx="1141311" cy="468742"/>
          </a:xfrm>
        </p:grpSpPr>
        <p:grpSp>
          <p:nvGrpSpPr>
            <p:cNvPr id="2610" name="Google Shape;2610;p36"/>
            <p:cNvGrpSpPr/>
            <p:nvPr/>
          </p:nvGrpSpPr>
          <p:grpSpPr>
            <a:xfrm>
              <a:off x="10881886" y="135255"/>
              <a:ext cx="1141311" cy="468742"/>
              <a:chOff x="10881886" y="135255"/>
              <a:chExt cx="1141311" cy="468742"/>
            </a:xfrm>
          </p:grpSpPr>
          <p:sp>
            <p:nvSpPr>
              <p:cNvPr id="2611" name="Google Shape;2611;p36"/>
              <p:cNvSpPr txBox="1"/>
              <p:nvPr/>
            </p:nvSpPr>
            <p:spPr>
              <a:xfrm>
                <a:off x="10881886" y="230150"/>
                <a:ext cx="628378" cy="2769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Business </a:t>
                </a:r>
                <a:endParaRPr sz="1400" b="0" i="0" u="none" strike="noStrike" cap="none">
                  <a:solidFill>
                    <a:srgbClr val="000000"/>
                  </a:solidFill>
                  <a:latin typeface="Arial"/>
                  <a:ea typeface="Arial"/>
                  <a:cs typeface="Arial"/>
                  <a:sym typeface="Arial"/>
                </a:endParaRPr>
              </a:p>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Translation</a:t>
                </a:r>
                <a:endParaRPr sz="1400" b="0" i="0" u="none" strike="noStrike" cap="none">
                  <a:solidFill>
                    <a:srgbClr val="000000"/>
                  </a:solidFill>
                  <a:latin typeface="Arial"/>
                  <a:ea typeface="Arial"/>
                  <a:cs typeface="Arial"/>
                  <a:sym typeface="Arial"/>
                </a:endParaRPr>
              </a:p>
            </p:txBody>
          </p:sp>
          <p:sp>
            <p:nvSpPr>
              <p:cNvPr id="2612" name="Google Shape;2612;p36"/>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grpSp>
          <p:nvGrpSpPr>
            <p:cNvPr id="2613" name="Google Shape;2613;p36"/>
            <p:cNvGrpSpPr/>
            <p:nvPr/>
          </p:nvGrpSpPr>
          <p:grpSpPr>
            <a:xfrm>
              <a:off x="11701145" y="220980"/>
              <a:ext cx="175360" cy="295338"/>
              <a:chOff x="6689308" y="2024976"/>
              <a:chExt cx="325986" cy="549024"/>
            </a:xfrm>
          </p:grpSpPr>
          <p:sp>
            <p:nvSpPr>
              <p:cNvPr id="2614" name="Google Shape;2614;p36"/>
              <p:cNvSpPr/>
              <p:nvPr/>
            </p:nvSpPr>
            <p:spPr>
              <a:xfrm>
                <a:off x="6689308" y="2024976"/>
                <a:ext cx="325986" cy="549024"/>
              </a:xfrm>
              <a:custGeom>
                <a:avLst/>
                <a:gdLst/>
                <a:ahLst/>
                <a:cxnLst/>
                <a:rect l="l" t="t" r="r" b="b"/>
                <a:pathLst>
                  <a:path w="325986" h="549024" extrusionOk="0">
                    <a:moveTo>
                      <a:pt x="304900" y="0"/>
                    </a:moveTo>
                    <a:lnTo>
                      <a:pt x="24663" y="0"/>
                    </a:lnTo>
                    <a:cubicBezTo>
                      <a:pt x="11049" y="17"/>
                      <a:pt x="17" y="11049"/>
                      <a:pt x="0" y="24663"/>
                    </a:cubicBezTo>
                    <a:lnTo>
                      <a:pt x="0" y="524361"/>
                    </a:lnTo>
                    <a:cubicBezTo>
                      <a:pt x="17" y="537975"/>
                      <a:pt x="11049" y="549007"/>
                      <a:pt x="24663" y="549024"/>
                    </a:cubicBezTo>
                    <a:lnTo>
                      <a:pt x="304900" y="549024"/>
                    </a:lnTo>
                    <a:cubicBezTo>
                      <a:pt x="318516" y="549011"/>
                      <a:pt x="329551" y="537975"/>
                      <a:pt x="329563" y="524361"/>
                    </a:cubicBezTo>
                    <a:lnTo>
                      <a:pt x="329563" y="24663"/>
                    </a:lnTo>
                    <a:cubicBezTo>
                      <a:pt x="329551" y="11048"/>
                      <a:pt x="318516" y="14"/>
                      <a:pt x="304900" y="0"/>
                    </a:cubicBezTo>
                    <a:close/>
                    <a:moveTo>
                      <a:pt x="240852" y="15012"/>
                    </a:moveTo>
                    <a:lnTo>
                      <a:pt x="223313" y="32538"/>
                    </a:lnTo>
                    <a:cubicBezTo>
                      <a:pt x="216691" y="39189"/>
                      <a:pt x="207684" y="42917"/>
                      <a:pt x="198298" y="42893"/>
                    </a:cubicBezTo>
                    <a:lnTo>
                      <a:pt x="131265" y="42893"/>
                    </a:lnTo>
                    <a:cubicBezTo>
                      <a:pt x="121879" y="42917"/>
                      <a:pt x="112873" y="39189"/>
                      <a:pt x="106250" y="32538"/>
                    </a:cubicBezTo>
                    <a:lnTo>
                      <a:pt x="88711" y="15012"/>
                    </a:lnTo>
                    <a:close/>
                    <a:moveTo>
                      <a:pt x="314551" y="524361"/>
                    </a:moveTo>
                    <a:cubicBezTo>
                      <a:pt x="314544" y="529688"/>
                      <a:pt x="310227" y="534003"/>
                      <a:pt x="304900" y="534012"/>
                    </a:cubicBezTo>
                    <a:lnTo>
                      <a:pt x="24663" y="534012"/>
                    </a:lnTo>
                    <a:cubicBezTo>
                      <a:pt x="19336" y="534003"/>
                      <a:pt x="15020" y="529688"/>
                      <a:pt x="15013" y="524361"/>
                    </a:cubicBezTo>
                    <a:lnTo>
                      <a:pt x="15013" y="24663"/>
                    </a:lnTo>
                    <a:cubicBezTo>
                      <a:pt x="15020" y="19336"/>
                      <a:pt x="19336" y="15019"/>
                      <a:pt x="24663" y="15012"/>
                    </a:cubicBezTo>
                    <a:lnTo>
                      <a:pt x="67471" y="15012"/>
                    </a:lnTo>
                    <a:lnTo>
                      <a:pt x="95638" y="43163"/>
                    </a:lnTo>
                    <a:cubicBezTo>
                      <a:pt x="105072" y="52633"/>
                      <a:pt x="117898" y="57940"/>
                      <a:pt x="131265" y="57905"/>
                    </a:cubicBezTo>
                    <a:lnTo>
                      <a:pt x="198298" y="57905"/>
                    </a:lnTo>
                    <a:cubicBezTo>
                      <a:pt x="211665" y="57940"/>
                      <a:pt x="224492" y="52633"/>
                      <a:pt x="233925" y="43163"/>
                    </a:cubicBezTo>
                    <a:lnTo>
                      <a:pt x="262093" y="15012"/>
                    </a:lnTo>
                    <a:lnTo>
                      <a:pt x="304900" y="15012"/>
                    </a:lnTo>
                    <a:cubicBezTo>
                      <a:pt x="310227" y="15019"/>
                      <a:pt x="314544" y="19336"/>
                      <a:pt x="314551" y="2466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15" name="Google Shape;2615;p36"/>
              <p:cNvSpPr/>
              <p:nvPr/>
            </p:nvSpPr>
            <p:spPr>
              <a:xfrm>
                <a:off x="6732201" y="2110795"/>
                <a:ext cx="85786" cy="98653"/>
              </a:xfrm>
              <a:custGeom>
                <a:avLst/>
                <a:gdLst/>
                <a:ahLst/>
                <a:cxnLst/>
                <a:rect l="l" t="t" r="r" b="b"/>
                <a:pathLst>
                  <a:path w="85785" h="98652" extrusionOk="0">
                    <a:moveTo>
                      <a:pt x="5040" y="98734"/>
                    </a:moveTo>
                    <a:cubicBezTo>
                      <a:pt x="8946" y="100102"/>
                      <a:pt x="13221" y="98044"/>
                      <a:pt x="14588" y="94138"/>
                    </a:cubicBezTo>
                    <a:cubicBezTo>
                      <a:pt x="14591" y="94130"/>
                      <a:pt x="14594" y="94122"/>
                      <a:pt x="14597" y="94115"/>
                    </a:cubicBezTo>
                    <a:lnTo>
                      <a:pt x="27499" y="57081"/>
                    </a:lnTo>
                    <a:lnTo>
                      <a:pt x="62242" y="57081"/>
                    </a:lnTo>
                    <a:lnTo>
                      <a:pt x="75136" y="94115"/>
                    </a:lnTo>
                    <a:cubicBezTo>
                      <a:pt x="76715" y="97948"/>
                      <a:pt x="81102" y="99776"/>
                      <a:pt x="84935" y="98197"/>
                    </a:cubicBezTo>
                    <a:cubicBezTo>
                      <a:pt x="88471" y="96740"/>
                      <a:pt x="90347" y="92858"/>
                      <a:pt x="89290" y="89182"/>
                    </a:cubicBezTo>
                    <a:lnTo>
                      <a:pt x="59994" y="5040"/>
                    </a:lnTo>
                    <a:cubicBezTo>
                      <a:pt x="58944" y="2022"/>
                      <a:pt x="56099" y="0"/>
                      <a:pt x="52904" y="0"/>
                    </a:cubicBezTo>
                    <a:lnTo>
                      <a:pt x="36819" y="0"/>
                    </a:lnTo>
                    <a:cubicBezTo>
                      <a:pt x="33624" y="0"/>
                      <a:pt x="30779" y="2022"/>
                      <a:pt x="29729" y="5040"/>
                    </a:cubicBezTo>
                    <a:lnTo>
                      <a:pt x="420" y="89182"/>
                    </a:lnTo>
                    <a:cubicBezTo>
                      <a:pt x="-944" y="93092"/>
                      <a:pt x="1120" y="97367"/>
                      <a:pt x="5030" y="98731"/>
                    </a:cubicBezTo>
                    <a:cubicBezTo>
                      <a:pt x="5034" y="98732"/>
                      <a:pt x="5037" y="98733"/>
                      <a:pt x="5040" y="98734"/>
                    </a:cubicBezTo>
                    <a:close/>
                    <a:moveTo>
                      <a:pt x="42151" y="15012"/>
                    </a:moveTo>
                    <a:lnTo>
                      <a:pt x="47568" y="15012"/>
                    </a:lnTo>
                    <a:lnTo>
                      <a:pt x="57005" y="42069"/>
                    </a:lnTo>
                    <a:lnTo>
                      <a:pt x="32727" y="4206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16" name="Google Shape;2616;p36"/>
              <p:cNvSpPr/>
              <p:nvPr/>
            </p:nvSpPr>
            <p:spPr>
              <a:xfrm>
                <a:off x="6886259" y="2110795"/>
                <a:ext cx="85786" cy="98653"/>
              </a:xfrm>
              <a:custGeom>
                <a:avLst/>
                <a:gdLst/>
                <a:ahLst/>
                <a:cxnLst/>
                <a:rect l="l" t="t" r="r" b="b"/>
                <a:pathLst>
                  <a:path w="85785" h="98652" extrusionOk="0">
                    <a:moveTo>
                      <a:pt x="82213" y="24629"/>
                    </a:moveTo>
                    <a:lnTo>
                      <a:pt x="52368" y="24629"/>
                    </a:lnTo>
                    <a:lnTo>
                      <a:pt x="52368" y="7506"/>
                    </a:lnTo>
                    <a:cubicBezTo>
                      <a:pt x="52368" y="3361"/>
                      <a:pt x="49007" y="0"/>
                      <a:pt x="44862" y="0"/>
                    </a:cubicBezTo>
                    <a:cubicBezTo>
                      <a:pt x="40716" y="0"/>
                      <a:pt x="37355" y="3361"/>
                      <a:pt x="37355" y="7506"/>
                    </a:cubicBezTo>
                    <a:lnTo>
                      <a:pt x="37355" y="24629"/>
                    </a:lnTo>
                    <a:lnTo>
                      <a:pt x="7506" y="24629"/>
                    </a:lnTo>
                    <a:cubicBezTo>
                      <a:pt x="3361" y="24629"/>
                      <a:pt x="0" y="27990"/>
                      <a:pt x="0" y="32135"/>
                    </a:cubicBezTo>
                    <a:cubicBezTo>
                      <a:pt x="0" y="36281"/>
                      <a:pt x="3361" y="39641"/>
                      <a:pt x="7506" y="39641"/>
                    </a:cubicBezTo>
                    <a:lnTo>
                      <a:pt x="17873" y="39641"/>
                    </a:lnTo>
                    <a:lnTo>
                      <a:pt x="17873" y="41027"/>
                    </a:lnTo>
                    <a:cubicBezTo>
                      <a:pt x="17867" y="52418"/>
                      <a:pt x="22457" y="63330"/>
                      <a:pt x="30604" y="71292"/>
                    </a:cubicBezTo>
                    <a:lnTo>
                      <a:pt x="4066" y="84974"/>
                    </a:lnTo>
                    <a:cubicBezTo>
                      <a:pt x="456" y="87016"/>
                      <a:pt x="-816" y="91599"/>
                      <a:pt x="1226" y="95209"/>
                    </a:cubicBezTo>
                    <a:cubicBezTo>
                      <a:pt x="3154" y="98618"/>
                      <a:pt x="7378" y="99973"/>
                      <a:pt x="10929" y="98322"/>
                    </a:cubicBezTo>
                    <a:lnTo>
                      <a:pt x="44845" y="80831"/>
                    </a:lnTo>
                    <a:lnTo>
                      <a:pt x="78756" y="98322"/>
                    </a:lnTo>
                    <a:cubicBezTo>
                      <a:pt x="82366" y="100365"/>
                      <a:pt x="86948" y="99093"/>
                      <a:pt x="88990" y="95483"/>
                    </a:cubicBezTo>
                    <a:cubicBezTo>
                      <a:pt x="91032" y="91872"/>
                      <a:pt x="89761" y="87290"/>
                      <a:pt x="86151" y="85248"/>
                    </a:cubicBezTo>
                    <a:cubicBezTo>
                      <a:pt x="85977" y="85150"/>
                      <a:pt x="85800" y="85058"/>
                      <a:pt x="85619" y="84974"/>
                    </a:cubicBezTo>
                    <a:lnTo>
                      <a:pt x="59085" y="71292"/>
                    </a:lnTo>
                    <a:cubicBezTo>
                      <a:pt x="67232" y="63329"/>
                      <a:pt x="71821" y="52415"/>
                      <a:pt x="71811" y="41022"/>
                    </a:cubicBezTo>
                    <a:lnTo>
                      <a:pt x="71811" y="39641"/>
                    </a:lnTo>
                    <a:lnTo>
                      <a:pt x="82179" y="39641"/>
                    </a:lnTo>
                    <a:cubicBezTo>
                      <a:pt x="86324" y="39641"/>
                      <a:pt x="89685" y="36281"/>
                      <a:pt x="89685" y="32135"/>
                    </a:cubicBezTo>
                    <a:cubicBezTo>
                      <a:pt x="89685" y="27990"/>
                      <a:pt x="86324" y="24629"/>
                      <a:pt x="82179" y="24629"/>
                    </a:cubicBezTo>
                    <a:close/>
                    <a:moveTo>
                      <a:pt x="56833" y="41022"/>
                    </a:moveTo>
                    <a:cubicBezTo>
                      <a:pt x="56848" y="50092"/>
                      <a:pt x="52363" y="58580"/>
                      <a:pt x="44862" y="63678"/>
                    </a:cubicBezTo>
                    <a:cubicBezTo>
                      <a:pt x="37360" y="58580"/>
                      <a:pt x="32874" y="50093"/>
                      <a:pt x="32886" y="41022"/>
                    </a:cubicBezTo>
                    <a:lnTo>
                      <a:pt x="32886" y="39641"/>
                    </a:lnTo>
                    <a:lnTo>
                      <a:pt x="56833" y="39641"/>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17" name="Google Shape;2617;p36"/>
              <p:cNvSpPr/>
              <p:nvPr/>
            </p:nvSpPr>
            <p:spPr>
              <a:xfrm>
                <a:off x="6832510" y="2152864"/>
                <a:ext cx="42893" cy="12868"/>
              </a:xfrm>
              <a:custGeom>
                <a:avLst/>
                <a:gdLst/>
                <a:ahLst/>
                <a:cxnLst/>
                <a:rect l="l" t="t" r="r" b="b"/>
                <a:pathLst>
                  <a:path w="42892" h="12867" extrusionOk="0">
                    <a:moveTo>
                      <a:pt x="7506" y="15012"/>
                    </a:moveTo>
                    <a:lnTo>
                      <a:pt x="35653" y="15012"/>
                    </a:lnTo>
                    <a:cubicBezTo>
                      <a:pt x="39798" y="15012"/>
                      <a:pt x="43159" y="11652"/>
                      <a:pt x="43159" y="7506"/>
                    </a:cubicBezTo>
                    <a:cubicBezTo>
                      <a:pt x="43159" y="3361"/>
                      <a:pt x="39798" y="0"/>
                      <a:pt x="35653"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18" name="Google Shape;2618;p36"/>
              <p:cNvSpPr/>
              <p:nvPr/>
            </p:nvSpPr>
            <p:spPr>
              <a:xfrm>
                <a:off x="6732201" y="223786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19" name="Google Shape;2619;p36"/>
              <p:cNvSpPr/>
              <p:nvPr/>
            </p:nvSpPr>
            <p:spPr>
              <a:xfrm>
                <a:off x="6756508" y="2288113"/>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20" name="Google Shape;2620;p36"/>
              <p:cNvSpPr/>
              <p:nvPr/>
            </p:nvSpPr>
            <p:spPr>
              <a:xfrm>
                <a:off x="6732201" y="2338361"/>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21" name="Google Shape;2621;p36"/>
              <p:cNvSpPr/>
              <p:nvPr/>
            </p:nvSpPr>
            <p:spPr>
              <a:xfrm>
                <a:off x="6756508" y="2388606"/>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22" name="Google Shape;2622;p36"/>
              <p:cNvSpPr/>
              <p:nvPr/>
            </p:nvSpPr>
            <p:spPr>
              <a:xfrm>
                <a:off x="6732201" y="243885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23" name="Google Shape;2623;p36"/>
              <p:cNvSpPr/>
              <p:nvPr/>
            </p:nvSpPr>
            <p:spPr>
              <a:xfrm>
                <a:off x="6756508" y="2491764"/>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2627"/>
        <p:cNvGrpSpPr/>
        <p:nvPr/>
      </p:nvGrpSpPr>
      <p:grpSpPr>
        <a:xfrm>
          <a:off x="0" y="0"/>
          <a:ext cx="0" cy="0"/>
          <a:chOff x="0" y="0"/>
          <a:chExt cx="0" cy="0"/>
        </a:xfrm>
      </p:grpSpPr>
      <p:sp>
        <p:nvSpPr>
          <p:cNvPr id="2628" name="Google Shape;2628;p37"/>
          <p:cNvSpPr txBox="1">
            <a:spLocks noGrp="1"/>
          </p:cNvSpPr>
          <p:nvPr>
            <p:ph type="title"/>
          </p:nvPr>
        </p:nvSpPr>
        <p:spPr>
          <a:xfrm>
            <a:off x="539400" y="560588"/>
            <a:ext cx="11089972" cy="2215991"/>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Our work - Questionnaire/Discussion </a:t>
            </a:r>
            <a:br>
              <a:rPr lang="en-US"/>
            </a:br>
            <a:r>
              <a:rPr lang="en-US"/>
              <a:t>Guide</a:t>
            </a:r>
            <a:br>
              <a:rPr lang="en-US"/>
            </a:br>
            <a:br>
              <a:rPr lang="en-US"/>
            </a:br>
            <a:br>
              <a:rPr lang="en-US"/>
            </a:br>
            <a:endParaRPr/>
          </a:p>
        </p:txBody>
      </p:sp>
      <p:graphicFrame>
        <p:nvGraphicFramePr>
          <p:cNvPr id="2629" name="Google Shape;2629;p37"/>
          <p:cNvGraphicFramePr/>
          <p:nvPr/>
        </p:nvGraphicFramePr>
        <p:xfrm>
          <a:off x="420635" y="1502063"/>
          <a:ext cx="7095100" cy="5210960"/>
        </p:xfrm>
        <a:graphic>
          <a:graphicData uri="http://schemas.openxmlformats.org/drawingml/2006/table">
            <a:tbl>
              <a:tblPr>
                <a:noFill/>
                <a:tableStyleId>{410035E7-BAF8-4B9D-805A-DB07596FDFCD}</a:tableStyleId>
              </a:tblPr>
              <a:tblGrid>
                <a:gridCol w="1268825">
                  <a:extLst>
                    <a:ext uri="{9D8B030D-6E8A-4147-A177-3AD203B41FA5}">
                      <a16:colId xmlns:a16="http://schemas.microsoft.com/office/drawing/2014/main" val="20000"/>
                    </a:ext>
                  </a:extLst>
                </a:gridCol>
                <a:gridCol w="5826275">
                  <a:extLst>
                    <a:ext uri="{9D8B030D-6E8A-4147-A177-3AD203B41FA5}">
                      <a16:colId xmlns:a16="http://schemas.microsoft.com/office/drawing/2014/main" val="20001"/>
                    </a:ext>
                  </a:extLst>
                </a:gridCol>
              </a:tblGrid>
              <a:tr h="460275">
                <a:tc>
                  <a:txBody>
                    <a:bodyPr/>
                    <a:lstStyle/>
                    <a:p>
                      <a:pPr marL="0" marR="0" lvl="0" indent="0" algn="l" rtl="0">
                        <a:lnSpc>
                          <a:spcPct val="100000"/>
                        </a:lnSpc>
                        <a:spcBef>
                          <a:spcPts val="0"/>
                        </a:spcBef>
                        <a:spcAft>
                          <a:spcPts val="0"/>
                        </a:spcAft>
                        <a:buClr>
                          <a:srgbClr val="000000"/>
                        </a:buClr>
                        <a:buSzPts val="1600"/>
                        <a:buFont typeface="Arial"/>
                        <a:buNone/>
                      </a:pPr>
                      <a:r>
                        <a:rPr lang="en-US" sz="1600" b="1" u="none" strike="noStrike" cap="none">
                          <a:solidFill>
                            <a:schemeClr val="accent1"/>
                          </a:solidFill>
                          <a:latin typeface="Calibri"/>
                          <a:ea typeface="Calibri"/>
                          <a:cs typeface="Calibri"/>
                          <a:sym typeface="Calibri"/>
                        </a:rPr>
                        <a:t>Text Characteristics</a:t>
                      </a:r>
                      <a:endParaRPr sz="1600" u="none" strike="noStrike" cap="none"/>
                    </a:p>
                  </a:txBody>
                  <a:tcPr marL="0" marR="0" marT="54000" marB="54000">
                    <a:lnT w="12700" cap="flat" cmpd="sng">
                      <a:solidFill>
                        <a:schemeClr val="accent1"/>
                      </a:solidFill>
                      <a:prstDash val="solid"/>
                      <a:round/>
                      <a:headEnd type="none" w="sm" len="sm"/>
                      <a:tailEnd type="none" w="sm" len="sm"/>
                    </a:lnT>
                    <a:lnB w="9525" cap="flat" cmpd="sng">
                      <a:solidFill>
                        <a:srgbClr val="7F7F7F"/>
                      </a:solidFill>
                      <a:prstDash val="dash"/>
                      <a:round/>
                      <a:headEnd type="none" w="sm" len="sm"/>
                      <a:tailEnd type="none" w="sm" len="sm"/>
                    </a:lnB>
                  </a:tcPr>
                </a:tc>
                <a:tc>
                  <a:txBody>
                    <a:bodyPr/>
                    <a:lstStyle/>
                    <a:p>
                      <a:pPr marL="174625" marR="0" lvl="0" indent="-174625" algn="l" rtl="0">
                        <a:lnSpc>
                          <a:spcPct val="100000"/>
                        </a:lnSpc>
                        <a:spcBef>
                          <a:spcPts val="0"/>
                        </a:spcBef>
                        <a:spcAft>
                          <a:spcPts val="0"/>
                        </a:spcAft>
                        <a:buClr>
                          <a:schemeClr val="dk2"/>
                        </a:buClr>
                        <a:buSzPts val="1300"/>
                        <a:buFont typeface="Noto Sans Symbols"/>
                        <a:buChar char="▪"/>
                      </a:pPr>
                      <a:r>
                        <a:rPr lang="en-US" sz="1600" u="none" strike="noStrike" cap="none">
                          <a:solidFill>
                            <a:schemeClr val="dk1"/>
                          </a:solidFill>
                          <a:latin typeface="Calibri"/>
                          <a:ea typeface="Calibri"/>
                          <a:cs typeface="Calibri"/>
                          <a:sym typeface="Calibri"/>
                        </a:rPr>
                        <a:t>Text is divided into sections starting from introduction and warming-up and moving progressively to core questions of the client study</a:t>
                      </a:r>
                      <a:endParaRPr sz="1600" u="none" strike="noStrike" cap="none"/>
                    </a:p>
                    <a:p>
                      <a:pPr marL="174625" marR="0" lvl="0" indent="-174625" algn="l" rtl="0">
                        <a:lnSpc>
                          <a:spcPct val="100000"/>
                        </a:lnSpc>
                        <a:spcBef>
                          <a:spcPts val="500"/>
                        </a:spcBef>
                        <a:spcAft>
                          <a:spcPts val="0"/>
                        </a:spcAft>
                        <a:buClr>
                          <a:schemeClr val="dk2"/>
                        </a:buClr>
                        <a:buSzPts val="1300"/>
                        <a:buFont typeface="Noto Sans Symbols"/>
                        <a:buChar char="▪"/>
                      </a:pPr>
                      <a:r>
                        <a:rPr lang="en-US" sz="1600" u="none" strike="noStrike" cap="none">
                          <a:solidFill>
                            <a:schemeClr val="dk1"/>
                          </a:solidFill>
                          <a:latin typeface="Calibri"/>
                          <a:ea typeface="Calibri"/>
                          <a:cs typeface="Calibri"/>
                          <a:sym typeface="Calibri"/>
                        </a:rPr>
                        <a:t>Significant differences between the language structure of questionnaires and discussion guides - discussion guides are designed to be more interactive and the questions are inclined more towards probing, questionnaires on the contrary are more direct and have MCQs</a:t>
                      </a:r>
                      <a:endParaRPr sz="1600" u="none" strike="noStrike" cap="none"/>
                    </a:p>
                  </a:txBody>
                  <a:tcPr marL="0" marR="0" marT="54000" marB="54000">
                    <a:lnT w="12700" cap="flat" cmpd="sng">
                      <a:solidFill>
                        <a:schemeClr val="accent1"/>
                      </a:solidFill>
                      <a:prstDash val="solid"/>
                      <a:round/>
                      <a:headEnd type="none" w="sm" len="sm"/>
                      <a:tailEnd type="none" w="sm" len="sm"/>
                    </a:lnT>
                    <a:lnB w="9525" cap="flat" cmpd="sng">
                      <a:solidFill>
                        <a:srgbClr val="7F7F7F"/>
                      </a:solidFill>
                      <a:prstDash val="dash"/>
                      <a:round/>
                      <a:headEnd type="none" w="sm" len="sm"/>
                      <a:tailEnd type="none" w="sm" len="sm"/>
                    </a:lnB>
                  </a:tcPr>
                </a:tc>
                <a:extLst>
                  <a:ext uri="{0D108BD9-81ED-4DB2-BD59-A6C34878D82A}">
                    <a16:rowId xmlns:a16="http://schemas.microsoft.com/office/drawing/2014/main" val="10000"/>
                  </a:ext>
                </a:extLst>
              </a:tr>
              <a:tr h="460275">
                <a:tc>
                  <a:txBody>
                    <a:bodyPr/>
                    <a:lstStyle/>
                    <a:p>
                      <a:pPr marL="0" marR="0" lvl="0" indent="0" algn="l" rtl="0">
                        <a:lnSpc>
                          <a:spcPct val="100000"/>
                        </a:lnSpc>
                        <a:spcBef>
                          <a:spcPts val="0"/>
                        </a:spcBef>
                        <a:spcAft>
                          <a:spcPts val="0"/>
                        </a:spcAft>
                        <a:buClr>
                          <a:srgbClr val="000000"/>
                        </a:buClr>
                        <a:buSzPts val="1600"/>
                        <a:buFont typeface="Arial"/>
                        <a:buNone/>
                      </a:pPr>
                      <a:r>
                        <a:rPr lang="en-US" sz="1600" b="1" u="none" strike="noStrike" cap="none">
                          <a:solidFill>
                            <a:schemeClr val="accent1"/>
                          </a:solidFill>
                          <a:latin typeface="Calibri"/>
                          <a:ea typeface="Calibri"/>
                          <a:cs typeface="Calibri"/>
                          <a:sym typeface="Calibri"/>
                        </a:rPr>
                        <a:t>Challenge</a:t>
                      </a:r>
                      <a:endParaRPr sz="1600" u="none" strike="noStrike" cap="none"/>
                    </a:p>
                  </a:txBody>
                  <a:tcPr marL="0" marR="0" marT="54000" marB="54000">
                    <a:lnT w="9525" cap="flat" cmpd="sng">
                      <a:solidFill>
                        <a:srgbClr val="7F7F7F"/>
                      </a:solidFill>
                      <a:prstDash val="dash"/>
                      <a:round/>
                      <a:headEnd type="none" w="sm" len="sm"/>
                      <a:tailEnd type="none" w="sm" len="sm"/>
                    </a:lnT>
                    <a:lnB w="9525" cap="flat" cmpd="sng">
                      <a:solidFill>
                        <a:srgbClr val="7F7F7F"/>
                      </a:solidFill>
                      <a:prstDash val="dash"/>
                      <a:round/>
                      <a:headEnd type="none" w="sm" len="sm"/>
                      <a:tailEnd type="none" w="sm" len="sm"/>
                    </a:lnB>
                  </a:tcPr>
                </a:tc>
                <a:tc>
                  <a:txBody>
                    <a:bodyPr/>
                    <a:lstStyle/>
                    <a:p>
                      <a:pPr marL="174625" marR="0" lvl="0" indent="-174625" algn="l" rtl="0">
                        <a:lnSpc>
                          <a:spcPct val="100000"/>
                        </a:lnSpc>
                        <a:spcBef>
                          <a:spcPts val="0"/>
                        </a:spcBef>
                        <a:spcAft>
                          <a:spcPts val="0"/>
                        </a:spcAft>
                        <a:buClr>
                          <a:schemeClr val="dk2"/>
                        </a:buClr>
                        <a:buSzPts val="1300"/>
                        <a:buFont typeface="Noto Sans Symbols"/>
                        <a:buChar char="▪"/>
                      </a:pPr>
                      <a:r>
                        <a:rPr lang="en-US" sz="1600" u="none" strike="noStrike" cap="none">
                          <a:solidFill>
                            <a:schemeClr val="dk1"/>
                          </a:solidFill>
                          <a:latin typeface="Calibri"/>
                          <a:ea typeface="Calibri"/>
                          <a:cs typeface="Calibri"/>
                          <a:sym typeface="Calibri"/>
                        </a:rPr>
                        <a:t>Understanding the purpose of the study and not leaving loopholes in the questions that might deviate the respondents’ answers</a:t>
                      </a:r>
                      <a:endParaRPr sz="1600" u="none" strike="noStrike" cap="none"/>
                    </a:p>
                    <a:p>
                      <a:pPr marL="174625" marR="0" lvl="0" indent="-174625" algn="l" rtl="0">
                        <a:lnSpc>
                          <a:spcPct val="100000"/>
                        </a:lnSpc>
                        <a:spcBef>
                          <a:spcPts val="500"/>
                        </a:spcBef>
                        <a:spcAft>
                          <a:spcPts val="0"/>
                        </a:spcAft>
                        <a:buClr>
                          <a:schemeClr val="dk2"/>
                        </a:buClr>
                        <a:buSzPts val="1300"/>
                        <a:buFont typeface="Noto Sans Symbols"/>
                        <a:buChar char="▪"/>
                      </a:pPr>
                      <a:r>
                        <a:rPr lang="en-US" sz="1600" u="none" strike="noStrike" cap="none">
                          <a:solidFill>
                            <a:schemeClr val="dk1"/>
                          </a:solidFill>
                          <a:latin typeface="Calibri"/>
                          <a:ea typeface="Calibri"/>
                          <a:cs typeface="Calibri"/>
                          <a:sym typeface="Calibri"/>
                        </a:rPr>
                        <a:t>For questionnaires, being aware of the type of communication with respondents whether it is Personal interviews using notes on paper (PAPI), on a computer (CAPI), through telephone (CATI) or through a web link (CAWI)</a:t>
                      </a:r>
                      <a:endParaRPr sz="1600" u="none" strike="noStrike" cap="none"/>
                    </a:p>
                  </a:txBody>
                  <a:tcPr marL="0" marR="0" marT="54000" marB="54000">
                    <a:lnT w="9525" cap="flat" cmpd="sng">
                      <a:solidFill>
                        <a:srgbClr val="7F7F7F"/>
                      </a:solidFill>
                      <a:prstDash val="dash"/>
                      <a:round/>
                      <a:headEnd type="none" w="sm" len="sm"/>
                      <a:tailEnd type="none" w="sm" len="sm"/>
                    </a:lnT>
                    <a:lnB w="9525" cap="flat" cmpd="sng">
                      <a:solidFill>
                        <a:srgbClr val="7F7F7F"/>
                      </a:solidFill>
                      <a:prstDash val="dash"/>
                      <a:round/>
                      <a:headEnd type="none" w="sm" len="sm"/>
                      <a:tailEnd type="none" w="sm" len="sm"/>
                    </a:lnB>
                  </a:tcPr>
                </a:tc>
                <a:extLst>
                  <a:ext uri="{0D108BD9-81ED-4DB2-BD59-A6C34878D82A}">
                    <a16:rowId xmlns:a16="http://schemas.microsoft.com/office/drawing/2014/main" val="10001"/>
                  </a:ext>
                </a:extLst>
              </a:tr>
              <a:tr h="428200">
                <a:tc>
                  <a:txBody>
                    <a:bodyPr/>
                    <a:lstStyle/>
                    <a:p>
                      <a:pPr marL="0" marR="0" lvl="0" indent="0" algn="l" rtl="0">
                        <a:lnSpc>
                          <a:spcPct val="100000"/>
                        </a:lnSpc>
                        <a:spcBef>
                          <a:spcPts val="0"/>
                        </a:spcBef>
                        <a:spcAft>
                          <a:spcPts val="0"/>
                        </a:spcAft>
                        <a:buClr>
                          <a:srgbClr val="000000"/>
                        </a:buClr>
                        <a:buSzPts val="1600"/>
                        <a:buFont typeface="Arial"/>
                        <a:buNone/>
                      </a:pPr>
                      <a:r>
                        <a:rPr lang="en-US" sz="1600" b="1" u="none" strike="noStrike" cap="none">
                          <a:solidFill>
                            <a:schemeClr val="accent1"/>
                          </a:solidFill>
                          <a:latin typeface="Calibri"/>
                          <a:ea typeface="Calibri"/>
                          <a:cs typeface="Calibri"/>
                          <a:sym typeface="Calibri"/>
                        </a:rPr>
                        <a:t>Translation Methodology</a:t>
                      </a:r>
                      <a:endParaRPr sz="1600" u="none" strike="noStrike" cap="none"/>
                    </a:p>
                  </a:txBody>
                  <a:tcPr marL="0" marR="0" marT="54000" marB="54000">
                    <a:lnT w="9525" cap="flat" cmpd="sng">
                      <a:solidFill>
                        <a:srgbClr val="7F7F7F"/>
                      </a:solidFill>
                      <a:prstDash val="dash"/>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174625" marR="0" lvl="0" indent="-174625" algn="l" rtl="0">
                        <a:lnSpc>
                          <a:spcPct val="100000"/>
                        </a:lnSpc>
                        <a:spcBef>
                          <a:spcPts val="0"/>
                        </a:spcBef>
                        <a:spcAft>
                          <a:spcPts val="0"/>
                        </a:spcAft>
                        <a:buClr>
                          <a:schemeClr val="dk2"/>
                        </a:buClr>
                        <a:buSzPts val="1300"/>
                        <a:buFont typeface="Noto Sans Symbols"/>
                        <a:buChar char="▪"/>
                      </a:pPr>
                      <a:r>
                        <a:rPr lang="en-US" sz="1600" u="none" strike="noStrike" cap="none">
                          <a:latin typeface="Calibri"/>
                          <a:ea typeface="Calibri"/>
                          <a:cs typeface="Calibri"/>
                          <a:sym typeface="Calibri"/>
                        </a:rPr>
                        <a:t>Restoring the interactive style of the text by employing best writing techniques and creativity in choosing words</a:t>
                      </a:r>
                      <a:endParaRPr sz="1600" u="none" strike="noStrike" cap="none"/>
                    </a:p>
                    <a:p>
                      <a:pPr marL="174625" marR="0" lvl="0" indent="-174625" algn="l" rtl="0">
                        <a:lnSpc>
                          <a:spcPct val="100000"/>
                        </a:lnSpc>
                        <a:spcBef>
                          <a:spcPts val="500"/>
                        </a:spcBef>
                        <a:spcAft>
                          <a:spcPts val="0"/>
                        </a:spcAft>
                        <a:buClr>
                          <a:schemeClr val="dk2"/>
                        </a:buClr>
                        <a:buSzPts val="1300"/>
                        <a:buFont typeface="Noto Sans Symbols"/>
                        <a:buChar char="▪"/>
                      </a:pPr>
                      <a:r>
                        <a:rPr lang="en-US" sz="1600" u="none" strike="noStrike" cap="none">
                          <a:latin typeface="Calibri"/>
                          <a:ea typeface="Calibri"/>
                          <a:cs typeface="Calibri"/>
                          <a:sym typeface="Calibri"/>
                        </a:rPr>
                        <a:t>Making sure to render the correct names of brands and products</a:t>
                      </a:r>
                      <a:endParaRPr sz="1600" u="none" strike="noStrike" cap="none"/>
                    </a:p>
                    <a:p>
                      <a:pPr marL="174625" marR="0" lvl="0" indent="-174625" algn="l" rtl="0">
                        <a:lnSpc>
                          <a:spcPct val="100000"/>
                        </a:lnSpc>
                        <a:spcBef>
                          <a:spcPts val="500"/>
                        </a:spcBef>
                        <a:spcAft>
                          <a:spcPts val="0"/>
                        </a:spcAft>
                        <a:buClr>
                          <a:schemeClr val="dk2"/>
                        </a:buClr>
                        <a:buSzPts val="1300"/>
                        <a:buFont typeface="Noto Sans Symbols"/>
                        <a:buChar char="▪"/>
                      </a:pPr>
                      <a:r>
                        <a:rPr lang="en-US" sz="1600" u="none" strike="noStrike" cap="none">
                          <a:latin typeface="Calibri"/>
                          <a:ea typeface="Calibri"/>
                          <a:cs typeface="Calibri"/>
                          <a:sym typeface="Calibri"/>
                        </a:rPr>
                        <a:t>Avoiding ambiguity in instructions translation and making it simpler. even if words have to be omitted from the source </a:t>
                      </a:r>
                      <a:endParaRPr sz="1600" u="none" strike="noStrike" cap="none"/>
                    </a:p>
                  </a:txBody>
                  <a:tcPr marL="0" marR="0" marT="54000" marB="54000">
                    <a:lnT w="9525" cap="flat" cmpd="sng">
                      <a:solidFill>
                        <a:srgbClr val="7F7F7F"/>
                      </a:solidFill>
                      <a:prstDash val="dash"/>
                      <a:round/>
                      <a:headEnd type="none" w="sm" len="sm"/>
                      <a:tailEnd type="none" w="sm" len="sm"/>
                    </a:lnT>
                    <a:lnB w="12700" cap="flat" cmpd="sng">
                      <a:solidFill>
                        <a:schemeClr val="accent1"/>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pic>
        <p:nvPicPr>
          <p:cNvPr id="2630" name="Google Shape;2630;p37"/>
          <p:cNvPicPr preferRelativeResize="0"/>
          <p:nvPr/>
        </p:nvPicPr>
        <p:blipFill rotWithShape="1">
          <a:blip r:embed="rId3">
            <a:alphaModFix/>
          </a:blip>
          <a:srcRect/>
          <a:stretch/>
        </p:blipFill>
        <p:spPr>
          <a:xfrm>
            <a:off x="7909560" y="0"/>
            <a:ext cx="4282440" cy="6858000"/>
          </a:xfrm>
          <a:prstGeom prst="rect">
            <a:avLst/>
          </a:prstGeom>
          <a:noFill/>
          <a:ln>
            <a:noFill/>
          </a:ln>
        </p:spPr>
      </p:pic>
      <p:sp>
        <p:nvSpPr>
          <p:cNvPr id="2631" name="Google Shape;2631;p37"/>
          <p:cNvSpPr/>
          <p:nvPr/>
        </p:nvSpPr>
        <p:spPr>
          <a:xfrm>
            <a:off x="7909560" y="-1"/>
            <a:ext cx="4282440" cy="6857999"/>
          </a:xfrm>
          <a:prstGeom prst="rect">
            <a:avLst/>
          </a:prstGeom>
          <a:solidFill>
            <a:srgbClr val="4C4C4C">
              <a:alpha val="6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nvGrpSpPr>
          <p:cNvPr id="2632" name="Google Shape;2632;p37"/>
          <p:cNvGrpSpPr/>
          <p:nvPr/>
        </p:nvGrpSpPr>
        <p:grpSpPr>
          <a:xfrm>
            <a:off x="10881886" y="135255"/>
            <a:ext cx="1141311" cy="468742"/>
            <a:chOff x="10881886" y="135255"/>
            <a:chExt cx="1141311" cy="468742"/>
          </a:xfrm>
        </p:grpSpPr>
        <p:grpSp>
          <p:nvGrpSpPr>
            <p:cNvPr id="2633" name="Google Shape;2633;p37"/>
            <p:cNvGrpSpPr/>
            <p:nvPr/>
          </p:nvGrpSpPr>
          <p:grpSpPr>
            <a:xfrm>
              <a:off x="10881886" y="135255"/>
              <a:ext cx="1141311" cy="468742"/>
              <a:chOff x="10881886" y="135255"/>
              <a:chExt cx="1141311" cy="468742"/>
            </a:xfrm>
          </p:grpSpPr>
          <p:sp>
            <p:nvSpPr>
              <p:cNvPr id="2634" name="Google Shape;2634;p37"/>
              <p:cNvSpPr txBox="1"/>
              <p:nvPr/>
            </p:nvSpPr>
            <p:spPr>
              <a:xfrm>
                <a:off x="10881886" y="230150"/>
                <a:ext cx="628378" cy="2769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lt1"/>
                    </a:solidFill>
                    <a:latin typeface="Franklin Gothic"/>
                    <a:ea typeface="Franklin Gothic"/>
                    <a:cs typeface="Franklin Gothic"/>
                    <a:sym typeface="Franklin Gothic"/>
                  </a:rPr>
                  <a:t>Business </a:t>
                </a:r>
                <a:endParaRPr sz="1400" b="0" i="0" u="none" strike="noStrike" cap="none">
                  <a:solidFill>
                    <a:srgbClr val="000000"/>
                  </a:solidFill>
                  <a:latin typeface="Arial"/>
                  <a:ea typeface="Arial"/>
                  <a:cs typeface="Arial"/>
                  <a:sym typeface="Arial"/>
                </a:endParaRPr>
              </a:p>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lt1"/>
                    </a:solidFill>
                    <a:latin typeface="Franklin Gothic"/>
                    <a:ea typeface="Franklin Gothic"/>
                    <a:cs typeface="Franklin Gothic"/>
                    <a:sym typeface="Franklin Gothic"/>
                  </a:rPr>
                  <a:t>Translation</a:t>
                </a:r>
                <a:endParaRPr sz="1400" b="0" i="0" u="none" strike="noStrike" cap="none">
                  <a:solidFill>
                    <a:srgbClr val="000000"/>
                  </a:solidFill>
                  <a:latin typeface="Arial"/>
                  <a:ea typeface="Arial"/>
                  <a:cs typeface="Arial"/>
                  <a:sym typeface="Arial"/>
                </a:endParaRPr>
              </a:p>
            </p:txBody>
          </p:sp>
          <p:sp>
            <p:nvSpPr>
              <p:cNvPr id="2635" name="Google Shape;2635;p37"/>
              <p:cNvSpPr/>
              <p:nvPr/>
            </p:nvSpPr>
            <p:spPr>
              <a:xfrm>
                <a:off x="11554453" y="135255"/>
                <a:ext cx="468744" cy="468742"/>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grpSp>
          <p:nvGrpSpPr>
            <p:cNvPr id="2636" name="Google Shape;2636;p37"/>
            <p:cNvGrpSpPr/>
            <p:nvPr/>
          </p:nvGrpSpPr>
          <p:grpSpPr>
            <a:xfrm>
              <a:off x="11701145" y="220980"/>
              <a:ext cx="175360" cy="295338"/>
              <a:chOff x="6689308" y="2024976"/>
              <a:chExt cx="325986" cy="549024"/>
            </a:xfrm>
          </p:grpSpPr>
          <p:sp>
            <p:nvSpPr>
              <p:cNvPr id="2637" name="Google Shape;2637;p37"/>
              <p:cNvSpPr/>
              <p:nvPr/>
            </p:nvSpPr>
            <p:spPr>
              <a:xfrm>
                <a:off x="6689308" y="2024976"/>
                <a:ext cx="325986" cy="549024"/>
              </a:xfrm>
              <a:custGeom>
                <a:avLst/>
                <a:gdLst/>
                <a:ahLst/>
                <a:cxnLst/>
                <a:rect l="l" t="t" r="r" b="b"/>
                <a:pathLst>
                  <a:path w="325986" h="549024" extrusionOk="0">
                    <a:moveTo>
                      <a:pt x="304900" y="0"/>
                    </a:moveTo>
                    <a:lnTo>
                      <a:pt x="24663" y="0"/>
                    </a:lnTo>
                    <a:cubicBezTo>
                      <a:pt x="11049" y="17"/>
                      <a:pt x="17" y="11049"/>
                      <a:pt x="0" y="24663"/>
                    </a:cubicBezTo>
                    <a:lnTo>
                      <a:pt x="0" y="524361"/>
                    </a:lnTo>
                    <a:cubicBezTo>
                      <a:pt x="17" y="537975"/>
                      <a:pt x="11049" y="549007"/>
                      <a:pt x="24663" y="549024"/>
                    </a:cubicBezTo>
                    <a:lnTo>
                      <a:pt x="304900" y="549024"/>
                    </a:lnTo>
                    <a:cubicBezTo>
                      <a:pt x="318516" y="549011"/>
                      <a:pt x="329551" y="537975"/>
                      <a:pt x="329563" y="524361"/>
                    </a:cubicBezTo>
                    <a:lnTo>
                      <a:pt x="329563" y="24663"/>
                    </a:lnTo>
                    <a:cubicBezTo>
                      <a:pt x="329551" y="11048"/>
                      <a:pt x="318516" y="14"/>
                      <a:pt x="304900" y="0"/>
                    </a:cubicBezTo>
                    <a:close/>
                    <a:moveTo>
                      <a:pt x="240852" y="15012"/>
                    </a:moveTo>
                    <a:lnTo>
                      <a:pt x="223313" y="32538"/>
                    </a:lnTo>
                    <a:cubicBezTo>
                      <a:pt x="216691" y="39189"/>
                      <a:pt x="207684" y="42917"/>
                      <a:pt x="198298" y="42893"/>
                    </a:cubicBezTo>
                    <a:lnTo>
                      <a:pt x="131265" y="42893"/>
                    </a:lnTo>
                    <a:cubicBezTo>
                      <a:pt x="121879" y="42917"/>
                      <a:pt x="112873" y="39189"/>
                      <a:pt x="106250" y="32538"/>
                    </a:cubicBezTo>
                    <a:lnTo>
                      <a:pt x="88711" y="15012"/>
                    </a:lnTo>
                    <a:close/>
                    <a:moveTo>
                      <a:pt x="314551" y="524361"/>
                    </a:moveTo>
                    <a:cubicBezTo>
                      <a:pt x="314544" y="529688"/>
                      <a:pt x="310227" y="534003"/>
                      <a:pt x="304900" y="534012"/>
                    </a:cubicBezTo>
                    <a:lnTo>
                      <a:pt x="24663" y="534012"/>
                    </a:lnTo>
                    <a:cubicBezTo>
                      <a:pt x="19336" y="534003"/>
                      <a:pt x="15020" y="529688"/>
                      <a:pt x="15013" y="524361"/>
                    </a:cubicBezTo>
                    <a:lnTo>
                      <a:pt x="15013" y="24663"/>
                    </a:lnTo>
                    <a:cubicBezTo>
                      <a:pt x="15020" y="19336"/>
                      <a:pt x="19336" y="15019"/>
                      <a:pt x="24663" y="15012"/>
                    </a:cubicBezTo>
                    <a:lnTo>
                      <a:pt x="67471" y="15012"/>
                    </a:lnTo>
                    <a:lnTo>
                      <a:pt x="95638" y="43163"/>
                    </a:lnTo>
                    <a:cubicBezTo>
                      <a:pt x="105072" y="52633"/>
                      <a:pt x="117898" y="57940"/>
                      <a:pt x="131265" y="57905"/>
                    </a:cubicBezTo>
                    <a:lnTo>
                      <a:pt x="198298" y="57905"/>
                    </a:lnTo>
                    <a:cubicBezTo>
                      <a:pt x="211665" y="57940"/>
                      <a:pt x="224492" y="52633"/>
                      <a:pt x="233925" y="43163"/>
                    </a:cubicBezTo>
                    <a:lnTo>
                      <a:pt x="262093" y="15012"/>
                    </a:lnTo>
                    <a:lnTo>
                      <a:pt x="304900" y="15012"/>
                    </a:lnTo>
                    <a:cubicBezTo>
                      <a:pt x="310227" y="15019"/>
                      <a:pt x="314544" y="19336"/>
                      <a:pt x="314551" y="2466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38" name="Google Shape;2638;p37"/>
              <p:cNvSpPr/>
              <p:nvPr/>
            </p:nvSpPr>
            <p:spPr>
              <a:xfrm>
                <a:off x="6732201" y="2110795"/>
                <a:ext cx="85786" cy="98653"/>
              </a:xfrm>
              <a:custGeom>
                <a:avLst/>
                <a:gdLst/>
                <a:ahLst/>
                <a:cxnLst/>
                <a:rect l="l" t="t" r="r" b="b"/>
                <a:pathLst>
                  <a:path w="85785" h="98652" extrusionOk="0">
                    <a:moveTo>
                      <a:pt x="5040" y="98734"/>
                    </a:moveTo>
                    <a:cubicBezTo>
                      <a:pt x="8946" y="100102"/>
                      <a:pt x="13221" y="98044"/>
                      <a:pt x="14588" y="94138"/>
                    </a:cubicBezTo>
                    <a:cubicBezTo>
                      <a:pt x="14591" y="94130"/>
                      <a:pt x="14594" y="94122"/>
                      <a:pt x="14597" y="94115"/>
                    </a:cubicBezTo>
                    <a:lnTo>
                      <a:pt x="27499" y="57081"/>
                    </a:lnTo>
                    <a:lnTo>
                      <a:pt x="62242" y="57081"/>
                    </a:lnTo>
                    <a:lnTo>
                      <a:pt x="75136" y="94115"/>
                    </a:lnTo>
                    <a:cubicBezTo>
                      <a:pt x="76715" y="97948"/>
                      <a:pt x="81102" y="99776"/>
                      <a:pt x="84935" y="98197"/>
                    </a:cubicBezTo>
                    <a:cubicBezTo>
                      <a:pt x="88471" y="96740"/>
                      <a:pt x="90347" y="92858"/>
                      <a:pt x="89290" y="89182"/>
                    </a:cubicBezTo>
                    <a:lnTo>
                      <a:pt x="59994" y="5040"/>
                    </a:lnTo>
                    <a:cubicBezTo>
                      <a:pt x="58944" y="2022"/>
                      <a:pt x="56099" y="0"/>
                      <a:pt x="52904" y="0"/>
                    </a:cubicBezTo>
                    <a:lnTo>
                      <a:pt x="36819" y="0"/>
                    </a:lnTo>
                    <a:cubicBezTo>
                      <a:pt x="33624" y="0"/>
                      <a:pt x="30779" y="2022"/>
                      <a:pt x="29729" y="5040"/>
                    </a:cubicBezTo>
                    <a:lnTo>
                      <a:pt x="420" y="89182"/>
                    </a:lnTo>
                    <a:cubicBezTo>
                      <a:pt x="-944" y="93092"/>
                      <a:pt x="1120" y="97367"/>
                      <a:pt x="5030" y="98731"/>
                    </a:cubicBezTo>
                    <a:cubicBezTo>
                      <a:pt x="5034" y="98732"/>
                      <a:pt x="5037" y="98733"/>
                      <a:pt x="5040" y="98734"/>
                    </a:cubicBezTo>
                    <a:close/>
                    <a:moveTo>
                      <a:pt x="42151" y="15012"/>
                    </a:moveTo>
                    <a:lnTo>
                      <a:pt x="47568" y="15012"/>
                    </a:lnTo>
                    <a:lnTo>
                      <a:pt x="57005" y="42069"/>
                    </a:lnTo>
                    <a:lnTo>
                      <a:pt x="32727" y="42069"/>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39" name="Google Shape;2639;p37"/>
              <p:cNvSpPr/>
              <p:nvPr/>
            </p:nvSpPr>
            <p:spPr>
              <a:xfrm>
                <a:off x="6886259" y="2110795"/>
                <a:ext cx="85786" cy="98653"/>
              </a:xfrm>
              <a:custGeom>
                <a:avLst/>
                <a:gdLst/>
                <a:ahLst/>
                <a:cxnLst/>
                <a:rect l="l" t="t" r="r" b="b"/>
                <a:pathLst>
                  <a:path w="85785" h="98652" extrusionOk="0">
                    <a:moveTo>
                      <a:pt x="82213" y="24629"/>
                    </a:moveTo>
                    <a:lnTo>
                      <a:pt x="52368" y="24629"/>
                    </a:lnTo>
                    <a:lnTo>
                      <a:pt x="52368" y="7506"/>
                    </a:lnTo>
                    <a:cubicBezTo>
                      <a:pt x="52368" y="3361"/>
                      <a:pt x="49007" y="0"/>
                      <a:pt x="44862" y="0"/>
                    </a:cubicBezTo>
                    <a:cubicBezTo>
                      <a:pt x="40716" y="0"/>
                      <a:pt x="37355" y="3361"/>
                      <a:pt x="37355" y="7506"/>
                    </a:cubicBezTo>
                    <a:lnTo>
                      <a:pt x="37355" y="24629"/>
                    </a:lnTo>
                    <a:lnTo>
                      <a:pt x="7506" y="24629"/>
                    </a:lnTo>
                    <a:cubicBezTo>
                      <a:pt x="3361" y="24629"/>
                      <a:pt x="0" y="27990"/>
                      <a:pt x="0" y="32135"/>
                    </a:cubicBezTo>
                    <a:cubicBezTo>
                      <a:pt x="0" y="36281"/>
                      <a:pt x="3361" y="39641"/>
                      <a:pt x="7506" y="39641"/>
                    </a:cubicBezTo>
                    <a:lnTo>
                      <a:pt x="17873" y="39641"/>
                    </a:lnTo>
                    <a:lnTo>
                      <a:pt x="17873" y="41027"/>
                    </a:lnTo>
                    <a:cubicBezTo>
                      <a:pt x="17867" y="52418"/>
                      <a:pt x="22457" y="63330"/>
                      <a:pt x="30604" y="71292"/>
                    </a:cubicBezTo>
                    <a:lnTo>
                      <a:pt x="4066" y="84974"/>
                    </a:lnTo>
                    <a:cubicBezTo>
                      <a:pt x="456" y="87016"/>
                      <a:pt x="-816" y="91599"/>
                      <a:pt x="1226" y="95209"/>
                    </a:cubicBezTo>
                    <a:cubicBezTo>
                      <a:pt x="3154" y="98618"/>
                      <a:pt x="7378" y="99973"/>
                      <a:pt x="10929" y="98322"/>
                    </a:cubicBezTo>
                    <a:lnTo>
                      <a:pt x="44845" y="80831"/>
                    </a:lnTo>
                    <a:lnTo>
                      <a:pt x="78756" y="98322"/>
                    </a:lnTo>
                    <a:cubicBezTo>
                      <a:pt x="82366" y="100365"/>
                      <a:pt x="86948" y="99093"/>
                      <a:pt x="88990" y="95483"/>
                    </a:cubicBezTo>
                    <a:cubicBezTo>
                      <a:pt x="91032" y="91872"/>
                      <a:pt x="89761" y="87290"/>
                      <a:pt x="86151" y="85248"/>
                    </a:cubicBezTo>
                    <a:cubicBezTo>
                      <a:pt x="85977" y="85150"/>
                      <a:pt x="85800" y="85058"/>
                      <a:pt x="85619" y="84974"/>
                    </a:cubicBezTo>
                    <a:lnTo>
                      <a:pt x="59085" y="71292"/>
                    </a:lnTo>
                    <a:cubicBezTo>
                      <a:pt x="67232" y="63329"/>
                      <a:pt x="71821" y="52415"/>
                      <a:pt x="71811" y="41022"/>
                    </a:cubicBezTo>
                    <a:lnTo>
                      <a:pt x="71811" y="39641"/>
                    </a:lnTo>
                    <a:lnTo>
                      <a:pt x="82179" y="39641"/>
                    </a:lnTo>
                    <a:cubicBezTo>
                      <a:pt x="86324" y="39641"/>
                      <a:pt x="89685" y="36281"/>
                      <a:pt x="89685" y="32135"/>
                    </a:cubicBezTo>
                    <a:cubicBezTo>
                      <a:pt x="89685" y="27990"/>
                      <a:pt x="86324" y="24629"/>
                      <a:pt x="82179" y="24629"/>
                    </a:cubicBezTo>
                    <a:close/>
                    <a:moveTo>
                      <a:pt x="56833" y="41022"/>
                    </a:moveTo>
                    <a:cubicBezTo>
                      <a:pt x="56848" y="50092"/>
                      <a:pt x="52363" y="58580"/>
                      <a:pt x="44862" y="63678"/>
                    </a:cubicBezTo>
                    <a:cubicBezTo>
                      <a:pt x="37360" y="58580"/>
                      <a:pt x="32874" y="50093"/>
                      <a:pt x="32886" y="41022"/>
                    </a:cubicBezTo>
                    <a:lnTo>
                      <a:pt x="32886" y="39641"/>
                    </a:lnTo>
                    <a:lnTo>
                      <a:pt x="56833" y="39641"/>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40" name="Google Shape;2640;p37"/>
              <p:cNvSpPr/>
              <p:nvPr/>
            </p:nvSpPr>
            <p:spPr>
              <a:xfrm>
                <a:off x="6832510" y="2152864"/>
                <a:ext cx="42893" cy="12868"/>
              </a:xfrm>
              <a:custGeom>
                <a:avLst/>
                <a:gdLst/>
                <a:ahLst/>
                <a:cxnLst/>
                <a:rect l="l" t="t" r="r" b="b"/>
                <a:pathLst>
                  <a:path w="42892" h="12867" extrusionOk="0">
                    <a:moveTo>
                      <a:pt x="7506" y="15012"/>
                    </a:moveTo>
                    <a:lnTo>
                      <a:pt x="35653" y="15012"/>
                    </a:lnTo>
                    <a:cubicBezTo>
                      <a:pt x="39798" y="15012"/>
                      <a:pt x="43159" y="11652"/>
                      <a:pt x="43159" y="7506"/>
                    </a:cubicBezTo>
                    <a:cubicBezTo>
                      <a:pt x="43159" y="3361"/>
                      <a:pt x="39798" y="0"/>
                      <a:pt x="35653"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41" name="Google Shape;2641;p37"/>
              <p:cNvSpPr/>
              <p:nvPr/>
            </p:nvSpPr>
            <p:spPr>
              <a:xfrm>
                <a:off x="6732201" y="223786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42" name="Google Shape;2642;p37"/>
              <p:cNvSpPr/>
              <p:nvPr/>
            </p:nvSpPr>
            <p:spPr>
              <a:xfrm>
                <a:off x="6756508" y="2288113"/>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43" name="Google Shape;2643;p37"/>
              <p:cNvSpPr/>
              <p:nvPr/>
            </p:nvSpPr>
            <p:spPr>
              <a:xfrm>
                <a:off x="6732201" y="2338361"/>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44" name="Google Shape;2644;p37"/>
              <p:cNvSpPr/>
              <p:nvPr/>
            </p:nvSpPr>
            <p:spPr>
              <a:xfrm>
                <a:off x="6756508" y="2388606"/>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45" name="Google Shape;2645;p37"/>
              <p:cNvSpPr/>
              <p:nvPr/>
            </p:nvSpPr>
            <p:spPr>
              <a:xfrm>
                <a:off x="6732201" y="243885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46" name="Google Shape;2646;p37"/>
              <p:cNvSpPr/>
              <p:nvPr/>
            </p:nvSpPr>
            <p:spPr>
              <a:xfrm>
                <a:off x="6756508" y="2491764"/>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2650"/>
        <p:cNvGrpSpPr/>
        <p:nvPr/>
      </p:nvGrpSpPr>
      <p:grpSpPr>
        <a:xfrm>
          <a:off x="0" y="0"/>
          <a:ext cx="0" cy="0"/>
          <a:chOff x="0" y="0"/>
          <a:chExt cx="0" cy="0"/>
        </a:xfrm>
      </p:grpSpPr>
      <p:sp>
        <p:nvSpPr>
          <p:cNvPr id="2651" name="Google Shape;2651;p38"/>
          <p:cNvSpPr txBox="1">
            <a:spLocks noGrp="1"/>
          </p:cNvSpPr>
          <p:nvPr>
            <p:ph type="title"/>
          </p:nvPr>
        </p:nvSpPr>
        <p:spPr>
          <a:xfrm>
            <a:off x="1375547" y="348339"/>
            <a:ext cx="2133600" cy="1255728"/>
          </a:xfrm>
          <a:prstGeom prst="rect">
            <a:avLst/>
          </a:prstGeom>
          <a:noFill/>
          <a:ln>
            <a:noFill/>
          </a:ln>
        </p:spPr>
        <p:txBody>
          <a:bodyPr spcFirstLastPara="1" wrap="square" lIns="0" tIns="0" rIns="0" bIns="0" anchor="t" anchorCtr="0">
            <a:spAutoFit/>
          </a:bodyPr>
          <a:lstStyle/>
          <a:p>
            <a:pPr marL="0" lvl="0" indent="0" algn="l" rtl="0">
              <a:lnSpc>
                <a:spcPct val="109375"/>
              </a:lnSpc>
              <a:spcBef>
                <a:spcPts val="0"/>
              </a:spcBef>
              <a:spcAft>
                <a:spcPts val="0"/>
              </a:spcAft>
              <a:buClr>
                <a:schemeClr val="dk2"/>
              </a:buClr>
              <a:buSzPts val="3200"/>
              <a:buFont typeface="Franklin Gothic"/>
              <a:buNone/>
            </a:pPr>
            <a:r>
              <a:rPr lang="en-US"/>
              <a:t>Case Example:</a:t>
            </a:r>
            <a:endParaRPr/>
          </a:p>
        </p:txBody>
      </p:sp>
      <p:pic>
        <p:nvPicPr>
          <p:cNvPr id="2652" name="Google Shape;2652;p38" descr="A screenshot of a cell phone&#10;&#10;Description automatically generated"/>
          <p:cNvPicPr preferRelativeResize="0"/>
          <p:nvPr/>
        </p:nvPicPr>
        <p:blipFill rotWithShape="1">
          <a:blip r:embed="rId3">
            <a:alphaModFix/>
          </a:blip>
          <a:srcRect/>
          <a:stretch/>
        </p:blipFill>
        <p:spPr>
          <a:xfrm>
            <a:off x="2373668" y="1775133"/>
            <a:ext cx="7452502" cy="2415102"/>
          </a:xfrm>
          <a:prstGeom prst="rect">
            <a:avLst/>
          </a:prstGeom>
          <a:noFill/>
          <a:ln>
            <a:noFill/>
          </a:ln>
        </p:spPr>
      </p:pic>
      <p:pic>
        <p:nvPicPr>
          <p:cNvPr id="2653" name="Google Shape;2653;p38" descr="A screenshot of a cell phone&#10;&#10;Description automatically generated"/>
          <p:cNvPicPr preferRelativeResize="0"/>
          <p:nvPr/>
        </p:nvPicPr>
        <p:blipFill rotWithShape="1">
          <a:blip r:embed="rId4">
            <a:alphaModFix/>
          </a:blip>
          <a:srcRect/>
          <a:stretch/>
        </p:blipFill>
        <p:spPr>
          <a:xfrm>
            <a:off x="2373669" y="4326308"/>
            <a:ext cx="7452502" cy="2373220"/>
          </a:xfrm>
          <a:prstGeom prst="rect">
            <a:avLst/>
          </a:prstGeom>
          <a:noFill/>
          <a:ln>
            <a:noFill/>
          </a:ln>
        </p:spPr>
      </p:pic>
      <p:cxnSp>
        <p:nvCxnSpPr>
          <p:cNvPr id="2654" name="Google Shape;2654;p38"/>
          <p:cNvCxnSpPr/>
          <p:nvPr/>
        </p:nvCxnSpPr>
        <p:spPr>
          <a:xfrm>
            <a:off x="2481943" y="4245920"/>
            <a:ext cx="7344227" cy="0"/>
          </a:xfrm>
          <a:prstGeom prst="straightConnector1">
            <a:avLst/>
          </a:prstGeom>
          <a:noFill/>
          <a:ln w="9525" cap="flat" cmpd="sng">
            <a:solidFill>
              <a:schemeClr val="accent2"/>
            </a:solidFill>
            <a:prstDash val="solid"/>
            <a:miter lim="800000"/>
            <a:headEnd type="none" w="sm" len="sm"/>
            <a:tailEnd type="none" w="sm" len="sm"/>
          </a:ln>
        </p:spPr>
      </p:cxnSp>
      <p:sp>
        <p:nvSpPr>
          <p:cNvPr id="2655" name="Google Shape;2655;p38"/>
          <p:cNvSpPr txBox="1"/>
          <p:nvPr/>
        </p:nvSpPr>
        <p:spPr>
          <a:xfrm>
            <a:off x="3644372" y="320152"/>
            <a:ext cx="6772843" cy="923330"/>
          </a:xfrm>
          <a:prstGeom prst="rect">
            <a:avLst/>
          </a:prstGeom>
          <a:noFill/>
          <a:ln>
            <a:noFill/>
          </a:ln>
        </p:spPr>
        <p:txBody>
          <a:bodyPr spcFirstLastPara="1" wrap="square" lIns="0" tIns="45700" rIns="0" bIns="45700" anchor="t" anchorCtr="0">
            <a:spAutoFit/>
          </a:bodyPr>
          <a:lstStyle/>
          <a:p>
            <a:pPr marL="0" marR="0" lvl="0" indent="0" algn="l" rtl="0">
              <a:lnSpc>
                <a:spcPct val="100000"/>
              </a:lnSpc>
              <a:spcBef>
                <a:spcPts val="0"/>
              </a:spcBef>
              <a:spcAft>
                <a:spcPts val="0"/>
              </a:spcAft>
              <a:buClr>
                <a:schemeClr val="dk1"/>
              </a:buClr>
              <a:buSzPts val="1800"/>
              <a:buFont typeface="Calibri"/>
              <a:buNone/>
            </a:pPr>
            <a:r>
              <a:rPr lang="en-US" sz="1800" b="0" i="0" u="none" strike="noStrike" cap="none">
                <a:solidFill>
                  <a:schemeClr val="dk1"/>
                </a:solidFill>
                <a:latin typeface="Calibri"/>
                <a:ea typeface="Calibri"/>
                <a:cs typeface="Calibri"/>
                <a:sym typeface="Calibri"/>
              </a:rPr>
              <a:t>We translate the most complex and wide-scale discussion guides and questionnaires for private and public sector clients, and on critical topics such as financial transactions</a:t>
            </a:r>
            <a:endParaRPr sz="1800" b="0" i="0" u="none" strike="noStrike" cap="none">
              <a:solidFill>
                <a:schemeClr val="dk1"/>
              </a:solidFill>
              <a:latin typeface="Calibri"/>
              <a:ea typeface="Calibri"/>
              <a:cs typeface="Calibri"/>
              <a:sym typeface="Calibri"/>
            </a:endParaRPr>
          </a:p>
        </p:txBody>
      </p:sp>
      <p:grpSp>
        <p:nvGrpSpPr>
          <p:cNvPr id="2656" name="Google Shape;2656;p38"/>
          <p:cNvGrpSpPr/>
          <p:nvPr/>
        </p:nvGrpSpPr>
        <p:grpSpPr>
          <a:xfrm>
            <a:off x="10881886" y="135255"/>
            <a:ext cx="1141311" cy="468742"/>
            <a:chOff x="10881886" y="135255"/>
            <a:chExt cx="1141311" cy="468742"/>
          </a:xfrm>
        </p:grpSpPr>
        <p:grpSp>
          <p:nvGrpSpPr>
            <p:cNvPr id="2657" name="Google Shape;2657;p38"/>
            <p:cNvGrpSpPr/>
            <p:nvPr/>
          </p:nvGrpSpPr>
          <p:grpSpPr>
            <a:xfrm>
              <a:off x="10881886" y="135255"/>
              <a:ext cx="1141311" cy="468742"/>
              <a:chOff x="10881886" y="135255"/>
              <a:chExt cx="1141311" cy="468742"/>
            </a:xfrm>
          </p:grpSpPr>
          <p:sp>
            <p:nvSpPr>
              <p:cNvPr id="2658" name="Google Shape;2658;p38"/>
              <p:cNvSpPr txBox="1"/>
              <p:nvPr/>
            </p:nvSpPr>
            <p:spPr>
              <a:xfrm>
                <a:off x="10881886" y="230150"/>
                <a:ext cx="628378" cy="2769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Business </a:t>
                </a:r>
                <a:endParaRPr sz="1400" b="0" i="0" u="none" strike="noStrike" cap="none">
                  <a:solidFill>
                    <a:srgbClr val="000000"/>
                  </a:solidFill>
                  <a:latin typeface="Arial"/>
                  <a:ea typeface="Arial"/>
                  <a:cs typeface="Arial"/>
                  <a:sym typeface="Arial"/>
                </a:endParaRPr>
              </a:p>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Translation</a:t>
                </a:r>
                <a:endParaRPr sz="1400" b="0" i="0" u="none" strike="noStrike" cap="none">
                  <a:solidFill>
                    <a:srgbClr val="000000"/>
                  </a:solidFill>
                  <a:latin typeface="Arial"/>
                  <a:ea typeface="Arial"/>
                  <a:cs typeface="Arial"/>
                  <a:sym typeface="Arial"/>
                </a:endParaRPr>
              </a:p>
            </p:txBody>
          </p:sp>
          <p:sp>
            <p:nvSpPr>
              <p:cNvPr id="2659" name="Google Shape;2659;p38"/>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grpSp>
          <p:nvGrpSpPr>
            <p:cNvPr id="2660" name="Google Shape;2660;p38"/>
            <p:cNvGrpSpPr/>
            <p:nvPr/>
          </p:nvGrpSpPr>
          <p:grpSpPr>
            <a:xfrm>
              <a:off x="11701145" y="220980"/>
              <a:ext cx="175360" cy="295338"/>
              <a:chOff x="6689308" y="2024976"/>
              <a:chExt cx="325986" cy="549024"/>
            </a:xfrm>
          </p:grpSpPr>
          <p:sp>
            <p:nvSpPr>
              <p:cNvPr id="2661" name="Google Shape;2661;p38"/>
              <p:cNvSpPr/>
              <p:nvPr/>
            </p:nvSpPr>
            <p:spPr>
              <a:xfrm>
                <a:off x="6689308" y="2024976"/>
                <a:ext cx="325986" cy="549024"/>
              </a:xfrm>
              <a:custGeom>
                <a:avLst/>
                <a:gdLst/>
                <a:ahLst/>
                <a:cxnLst/>
                <a:rect l="l" t="t" r="r" b="b"/>
                <a:pathLst>
                  <a:path w="325986" h="549024" extrusionOk="0">
                    <a:moveTo>
                      <a:pt x="304900" y="0"/>
                    </a:moveTo>
                    <a:lnTo>
                      <a:pt x="24663" y="0"/>
                    </a:lnTo>
                    <a:cubicBezTo>
                      <a:pt x="11049" y="17"/>
                      <a:pt x="17" y="11049"/>
                      <a:pt x="0" y="24663"/>
                    </a:cubicBezTo>
                    <a:lnTo>
                      <a:pt x="0" y="524361"/>
                    </a:lnTo>
                    <a:cubicBezTo>
                      <a:pt x="17" y="537975"/>
                      <a:pt x="11049" y="549007"/>
                      <a:pt x="24663" y="549024"/>
                    </a:cubicBezTo>
                    <a:lnTo>
                      <a:pt x="304900" y="549024"/>
                    </a:lnTo>
                    <a:cubicBezTo>
                      <a:pt x="318516" y="549011"/>
                      <a:pt x="329551" y="537975"/>
                      <a:pt x="329563" y="524361"/>
                    </a:cubicBezTo>
                    <a:lnTo>
                      <a:pt x="329563" y="24663"/>
                    </a:lnTo>
                    <a:cubicBezTo>
                      <a:pt x="329551" y="11048"/>
                      <a:pt x="318516" y="14"/>
                      <a:pt x="304900" y="0"/>
                    </a:cubicBezTo>
                    <a:close/>
                    <a:moveTo>
                      <a:pt x="240852" y="15012"/>
                    </a:moveTo>
                    <a:lnTo>
                      <a:pt x="223313" y="32538"/>
                    </a:lnTo>
                    <a:cubicBezTo>
                      <a:pt x="216691" y="39189"/>
                      <a:pt x="207684" y="42917"/>
                      <a:pt x="198298" y="42893"/>
                    </a:cubicBezTo>
                    <a:lnTo>
                      <a:pt x="131265" y="42893"/>
                    </a:lnTo>
                    <a:cubicBezTo>
                      <a:pt x="121879" y="42917"/>
                      <a:pt x="112873" y="39189"/>
                      <a:pt x="106250" y="32538"/>
                    </a:cubicBezTo>
                    <a:lnTo>
                      <a:pt x="88711" y="15012"/>
                    </a:lnTo>
                    <a:close/>
                    <a:moveTo>
                      <a:pt x="314551" y="524361"/>
                    </a:moveTo>
                    <a:cubicBezTo>
                      <a:pt x="314544" y="529688"/>
                      <a:pt x="310227" y="534003"/>
                      <a:pt x="304900" y="534012"/>
                    </a:cubicBezTo>
                    <a:lnTo>
                      <a:pt x="24663" y="534012"/>
                    </a:lnTo>
                    <a:cubicBezTo>
                      <a:pt x="19336" y="534003"/>
                      <a:pt x="15020" y="529688"/>
                      <a:pt x="15013" y="524361"/>
                    </a:cubicBezTo>
                    <a:lnTo>
                      <a:pt x="15013" y="24663"/>
                    </a:lnTo>
                    <a:cubicBezTo>
                      <a:pt x="15020" y="19336"/>
                      <a:pt x="19336" y="15019"/>
                      <a:pt x="24663" y="15012"/>
                    </a:cubicBezTo>
                    <a:lnTo>
                      <a:pt x="67471" y="15012"/>
                    </a:lnTo>
                    <a:lnTo>
                      <a:pt x="95638" y="43163"/>
                    </a:lnTo>
                    <a:cubicBezTo>
                      <a:pt x="105072" y="52633"/>
                      <a:pt x="117898" y="57940"/>
                      <a:pt x="131265" y="57905"/>
                    </a:cubicBezTo>
                    <a:lnTo>
                      <a:pt x="198298" y="57905"/>
                    </a:lnTo>
                    <a:cubicBezTo>
                      <a:pt x="211665" y="57940"/>
                      <a:pt x="224492" y="52633"/>
                      <a:pt x="233925" y="43163"/>
                    </a:cubicBezTo>
                    <a:lnTo>
                      <a:pt x="262093" y="15012"/>
                    </a:lnTo>
                    <a:lnTo>
                      <a:pt x="304900" y="15012"/>
                    </a:lnTo>
                    <a:cubicBezTo>
                      <a:pt x="310227" y="15019"/>
                      <a:pt x="314544" y="19336"/>
                      <a:pt x="314551" y="2466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62" name="Google Shape;2662;p38"/>
              <p:cNvSpPr/>
              <p:nvPr/>
            </p:nvSpPr>
            <p:spPr>
              <a:xfrm>
                <a:off x="6732201" y="2110795"/>
                <a:ext cx="85786" cy="98653"/>
              </a:xfrm>
              <a:custGeom>
                <a:avLst/>
                <a:gdLst/>
                <a:ahLst/>
                <a:cxnLst/>
                <a:rect l="l" t="t" r="r" b="b"/>
                <a:pathLst>
                  <a:path w="85785" h="98652" extrusionOk="0">
                    <a:moveTo>
                      <a:pt x="5040" y="98734"/>
                    </a:moveTo>
                    <a:cubicBezTo>
                      <a:pt x="8946" y="100102"/>
                      <a:pt x="13221" y="98044"/>
                      <a:pt x="14588" y="94138"/>
                    </a:cubicBezTo>
                    <a:cubicBezTo>
                      <a:pt x="14591" y="94130"/>
                      <a:pt x="14594" y="94122"/>
                      <a:pt x="14597" y="94115"/>
                    </a:cubicBezTo>
                    <a:lnTo>
                      <a:pt x="27499" y="57081"/>
                    </a:lnTo>
                    <a:lnTo>
                      <a:pt x="62242" y="57081"/>
                    </a:lnTo>
                    <a:lnTo>
                      <a:pt x="75136" y="94115"/>
                    </a:lnTo>
                    <a:cubicBezTo>
                      <a:pt x="76715" y="97948"/>
                      <a:pt x="81102" y="99776"/>
                      <a:pt x="84935" y="98197"/>
                    </a:cubicBezTo>
                    <a:cubicBezTo>
                      <a:pt x="88471" y="96740"/>
                      <a:pt x="90347" y="92858"/>
                      <a:pt x="89290" y="89182"/>
                    </a:cubicBezTo>
                    <a:lnTo>
                      <a:pt x="59994" y="5040"/>
                    </a:lnTo>
                    <a:cubicBezTo>
                      <a:pt x="58944" y="2022"/>
                      <a:pt x="56099" y="0"/>
                      <a:pt x="52904" y="0"/>
                    </a:cubicBezTo>
                    <a:lnTo>
                      <a:pt x="36819" y="0"/>
                    </a:lnTo>
                    <a:cubicBezTo>
                      <a:pt x="33624" y="0"/>
                      <a:pt x="30779" y="2022"/>
                      <a:pt x="29729" y="5040"/>
                    </a:cubicBezTo>
                    <a:lnTo>
                      <a:pt x="420" y="89182"/>
                    </a:lnTo>
                    <a:cubicBezTo>
                      <a:pt x="-944" y="93092"/>
                      <a:pt x="1120" y="97367"/>
                      <a:pt x="5030" y="98731"/>
                    </a:cubicBezTo>
                    <a:cubicBezTo>
                      <a:pt x="5034" y="98732"/>
                      <a:pt x="5037" y="98733"/>
                      <a:pt x="5040" y="98734"/>
                    </a:cubicBezTo>
                    <a:close/>
                    <a:moveTo>
                      <a:pt x="42151" y="15012"/>
                    </a:moveTo>
                    <a:lnTo>
                      <a:pt x="47568" y="15012"/>
                    </a:lnTo>
                    <a:lnTo>
                      <a:pt x="57005" y="42069"/>
                    </a:lnTo>
                    <a:lnTo>
                      <a:pt x="32727" y="4206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63" name="Google Shape;2663;p38"/>
              <p:cNvSpPr/>
              <p:nvPr/>
            </p:nvSpPr>
            <p:spPr>
              <a:xfrm>
                <a:off x="6886259" y="2110795"/>
                <a:ext cx="85786" cy="98653"/>
              </a:xfrm>
              <a:custGeom>
                <a:avLst/>
                <a:gdLst/>
                <a:ahLst/>
                <a:cxnLst/>
                <a:rect l="l" t="t" r="r" b="b"/>
                <a:pathLst>
                  <a:path w="85785" h="98652" extrusionOk="0">
                    <a:moveTo>
                      <a:pt x="82213" y="24629"/>
                    </a:moveTo>
                    <a:lnTo>
                      <a:pt x="52368" y="24629"/>
                    </a:lnTo>
                    <a:lnTo>
                      <a:pt x="52368" y="7506"/>
                    </a:lnTo>
                    <a:cubicBezTo>
                      <a:pt x="52368" y="3361"/>
                      <a:pt x="49007" y="0"/>
                      <a:pt x="44862" y="0"/>
                    </a:cubicBezTo>
                    <a:cubicBezTo>
                      <a:pt x="40716" y="0"/>
                      <a:pt x="37355" y="3361"/>
                      <a:pt x="37355" y="7506"/>
                    </a:cubicBezTo>
                    <a:lnTo>
                      <a:pt x="37355" y="24629"/>
                    </a:lnTo>
                    <a:lnTo>
                      <a:pt x="7506" y="24629"/>
                    </a:lnTo>
                    <a:cubicBezTo>
                      <a:pt x="3361" y="24629"/>
                      <a:pt x="0" y="27990"/>
                      <a:pt x="0" y="32135"/>
                    </a:cubicBezTo>
                    <a:cubicBezTo>
                      <a:pt x="0" y="36281"/>
                      <a:pt x="3361" y="39641"/>
                      <a:pt x="7506" y="39641"/>
                    </a:cubicBezTo>
                    <a:lnTo>
                      <a:pt x="17873" y="39641"/>
                    </a:lnTo>
                    <a:lnTo>
                      <a:pt x="17873" y="41027"/>
                    </a:lnTo>
                    <a:cubicBezTo>
                      <a:pt x="17867" y="52418"/>
                      <a:pt x="22457" y="63330"/>
                      <a:pt x="30604" y="71292"/>
                    </a:cubicBezTo>
                    <a:lnTo>
                      <a:pt x="4066" y="84974"/>
                    </a:lnTo>
                    <a:cubicBezTo>
                      <a:pt x="456" y="87016"/>
                      <a:pt x="-816" y="91599"/>
                      <a:pt x="1226" y="95209"/>
                    </a:cubicBezTo>
                    <a:cubicBezTo>
                      <a:pt x="3154" y="98618"/>
                      <a:pt x="7378" y="99973"/>
                      <a:pt x="10929" y="98322"/>
                    </a:cubicBezTo>
                    <a:lnTo>
                      <a:pt x="44845" y="80831"/>
                    </a:lnTo>
                    <a:lnTo>
                      <a:pt x="78756" y="98322"/>
                    </a:lnTo>
                    <a:cubicBezTo>
                      <a:pt x="82366" y="100365"/>
                      <a:pt x="86948" y="99093"/>
                      <a:pt x="88990" y="95483"/>
                    </a:cubicBezTo>
                    <a:cubicBezTo>
                      <a:pt x="91032" y="91872"/>
                      <a:pt x="89761" y="87290"/>
                      <a:pt x="86151" y="85248"/>
                    </a:cubicBezTo>
                    <a:cubicBezTo>
                      <a:pt x="85977" y="85150"/>
                      <a:pt x="85800" y="85058"/>
                      <a:pt x="85619" y="84974"/>
                    </a:cubicBezTo>
                    <a:lnTo>
                      <a:pt x="59085" y="71292"/>
                    </a:lnTo>
                    <a:cubicBezTo>
                      <a:pt x="67232" y="63329"/>
                      <a:pt x="71821" y="52415"/>
                      <a:pt x="71811" y="41022"/>
                    </a:cubicBezTo>
                    <a:lnTo>
                      <a:pt x="71811" y="39641"/>
                    </a:lnTo>
                    <a:lnTo>
                      <a:pt x="82179" y="39641"/>
                    </a:lnTo>
                    <a:cubicBezTo>
                      <a:pt x="86324" y="39641"/>
                      <a:pt x="89685" y="36281"/>
                      <a:pt x="89685" y="32135"/>
                    </a:cubicBezTo>
                    <a:cubicBezTo>
                      <a:pt x="89685" y="27990"/>
                      <a:pt x="86324" y="24629"/>
                      <a:pt x="82179" y="24629"/>
                    </a:cubicBezTo>
                    <a:close/>
                    <a:moveTo>
                      <a:pt x="56833" y="41022"/>
                    </a:moveTo>
                    <a:cubicBezTo>
                      <a:pt x="56848" y="50092"/>
                      <a:pt x="52363" y="58580"/>
                      <a:pt x="44862" y="63678"/>
                    </a:cubicBezTo>
                    <a:cubicBezTo>
                      <a:pt x="37360" y="58580"/>
                      <a:pt x="32874" y="50093"/>
                      <a:pt x="32886" y="41022"/>
                    </a:cubicBezTo>
                    <a:lnTo>
                      <a:pt x="32886" y="39641"/>
                    </a:lnTo>
                    <a:lnTo>
                      <a:pt x="56833" y="39641"/>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64" name="Google Shape;2664;p38"/>
              <p:cNvSpPr/>
              <p:nvPr/>
            </p:nvSpPr>
            <p:spPr>
              <a:xfrm>
                <a:off x="6832510" y="2152864"/>
                <a:ext cx="42893" cy="12868"/>
              </a:xfrm>
              <a:custGeom>
                <a:avLst/>
                <a:gdLst/>
                <a:ahLst/>
                <a:cxnLst/>
                <a:rect l="l" t="t" r="r" b="b"/>
                <a:pathLst>
                  <a:path w="42892" h="12867" extrusionOk="0">
                    <a:moveTo>
                      <a:pt x="7506" y="15012"/>
                    </a:moveTo>
                    <a:lnTo>
                      <a:pt x="35653" y="15012"/>
                    </a:lnTo>
                    <a:cubicBezTo>
                      <a:pt x="39798" y="15012"/>
                      <a:pt x="43159" y="11652"/>
                      <a:pt x="43159" y="7506"/>
                    </a:cubicBezTo>
                    <a:cubicBezTo>
                      <a:pt x="43159" y="3361"/>
                      <a:pt x="39798" y="0"/>
                      <a:pt x="35653"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65" name="Google Shape;2665;p38"/>
              <p:cNvSpPr/>
              <p:nvPr/>
            </p:nvSpPr>
            <p:spPr>
              <a:xfrm>
                <a:off x="6732201" y="223786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66" name="Google Shape;2666;p38"/>
              <p:cNvSpPr/>
              <p:nvPr/>
            </p:nvSpPr>
            <p:spPr>
              <a:xfrm>
                <a:off x="6756508" y="2288113"/>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67" name="Google Shape;2667;p38"/>
              <p:cNvSpPr/>
              <p:nvPr/>
            </p:nvSpPr>
            <p:spPr>
              <a:xfrm>
                <a:off x="6732201" y="2338361"/>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68" name="Google Shape;2668;p38"/>
              <p:cNvSpPr/>
              <p:nvPr/>
            </p:nvSpPr>
            <p:spPr>
              <a:xfrm>
                <a:off x="6756508" y="2388606"/>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69" name="Google Shape;2669;p38"/>
              <p:cNvSpPr/>
              <p:nvPr/>
            </p:nvSpPr>
            <p:spPr>
              <a:xfrm>
                <a:off x="6732201" y="243885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70" name="Google Shape;2670;p38"/>
              <p:cNvSpPr/>
              <p:nvPr/>
            </p:nvSpPr>
            <p:spPr>
              <a:xfrm>
                <a:off x="6756508" y="2491764"/>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2674"/>
        <p:cNvGrpSpPr/>
        <p:nvPr/>
      </p:nvGrpSpPr>
      <p:grpSpPr>
        <a:xfrm>
          <a:off x="0" y="0"/>
          <a:ext cx="0" cy="0"/>
          <a:chOff x="0" y="0"/>
          <a:chExt cx="0" cy="0"/>
        </a:xfrm>
      </p:grpSpPr>
      <p:pic>
        <p:nvPicPr>
          <p:cNvPr id="2675" name="Google Shape;2675;p39"/>
          <p:cNvPicPr preferRelativeResize="0"/>
          <p:nvPr/>
        </p:nvPicPr>
        <p:blipFill rotWithShape="1">
          <a:blip r:embed="rId3">
            <a:alphaModFix/>
          </a:blip>
          <a:srcRect/>
          <a:stretch/>
        </p:blipFill>
        <p:spPr>
          <a:xfrm>
            <a:off x="1" y="0"/>
            <a:ext cx="3449255" cy="6858000"/>
          </a:xfrm>
          <a:prstGeom prst="rect">
            <a:avLst/>
          </a:prstGeom>
          <a:noFill/>
          <a:ln>
            <a:noFill/>
          </a:ln>
        </p:spPr>
      </p:pic>
      <p:sp>
        <p:nvSpPr>
          <p:cNvPr id="2676" name="Google Shape;2676;p39"/>
          <p:cNvSpPr/>
          <p:nvPr/>
        </p:nvSpPr>
        <p:spPr>
          <a:xfrm>
            <a:off x="0" y="-1"/>
            <a:ext cx="3460830" cy="6857999"/>
          </a:xfrm>
          <a:prstGeom prst="rect">
            <a:avLst/>
          </a:prstGeom>
          <a:gradFill>
            <a:gsLst>
              <a:gs pos="0">
                <a:srgbClr val="062379"/>
              </a:gs>
              <a:gs pos="55000">
                <a:srgbClr val="0F47F2">
                  <a:alpha val="67843"/>
                </a:srgbClr>
              </a:gs>
              <a:gs pos="76000">
                <a:srgbClr val="0F47F2">
                  <a:alpha val="6784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cxnSp>
        <p:nvCxnSpPr>
          <p:cNvPr id="2677" name="Google Shape;2677;p39"/>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2678" name="Google Shape;2678;p39"/>
          <p:cNvSpPr txBox="1">
            <a:spLocks noGrp="1"/>
          </p:cNvSpPr>
          <p:nvPr>
            <p:ph type="title"/>
          </p:nvPr>
        </p:nvSpPr>
        <p:spPr>
          <a:xfrm>
            <a:off x="550863" y="560588"/>
            <a:ext cx="2639377" cy="886397"/>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lt1"/>
              </a:buClr>
              <a:buSzPts val="3200"/>
              <a:buFont typeface="Franklin Gothic"/>
              <a:buNone/>
            </a:pPr>
            <a:r>
              <a:rPr lang="en-US" sz="3200">
                <a:solidFill>
                  <a:schemeClr val="lt1"/>
                </a:solidFill>
              </a:rPr>
              <a:t>Why work</a:t>
            </a:r>
            <a:br>
              <a:rPr lang="en-US" sz="3200">
                <a:solidFill>
                  <a:schemeClr val="lt1"/>
                </a:solidFill>
              </a:rPr>
            </a:br>
            <a:r>
              <a:rPr lang="en-US" sz="3200">
                <a:solidFill>
                  <a:schemeClr val="lt1"/>
                </a:solidFill>
              </a:rPr>
              <a:t>with us</a:t>
            </a:r>
            <a:endParaRPr/>
          </a:p>
        </p:txBody>
      </p:sp>
      <p:grpSp>
        <p:nvGrpSpPr>
          <p:cNvPr id="2679" name="Google Shape;2679;p39"/>
          <p:cNvGrpSpPr/>
          <p:nvPr/>
        </p:nvGrpSpPr>
        <p:grpSpPr>
          <a:xfrm>
            <a:off x="10881886" y="135255"/>
            <a:ext cx="1141311" cy="468742"/>
            <a:chOff x="10881886" y="135255"/>
            <a:chExt cx="1141311" cy="468742"/>
          </a:xfrm>
        </p:grpSpPr>
        <p:grpSp>
          <p:nvGrpSpPr>
            <p:cNvPr id="2680" name="Google Shape;2680;p39"/>
            <p:cNvGrpSpPr/>
            <p:nvPr/>
          </p:nvGrpSpPr>
          <p:grpSpPr>
            <a:xfrm>
              <a:off x="10881886" y="135255"/>
              <a:ext cx="1141311" cy="468742"/>
              <a:chOff x="10881886" y="135255"/>
              <a:chExt cx="1141311" cy="468742"/>
            </a:xfrm>
          </p:grpSpPr>
          <p:sp>
            <p:nvSpPr>
              <p:cNvPr id="2681" name="Google Shape;2681;p39"/>
              <p:cNvSpPr txBox="1"/>
              <p:nvPr/>
            </p:nvSpPr>
            <p:spPr>
              <a:xfrm>
                <a:off x="10881886" y="230150"/>
                <a:ext cx="628378" cy="2769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Business </a:t>
                </a:r>
                <a:endParaRPr sz="1400" b="0" i="0" u="none" strike="noStrike" cap="none">
                  <a:solidFill>
                    <a:srgbClr val="000000"/>
                  </a:solidFill>
                  <a:latin typeface="Arial"/>
                  <a:ea typeface="Arial"/>
                  <a:cs typeface="Arial"/>
                  <a:sym typeface="Arial"/>
                </a:endParaRPr>
              </a:p>
              <a:p>
                <a:pPr marL="0" marR="0" lvl="0" indent="0" algn="r" rtl="0">
                  <a:lnSpc>
                    <a:spcPct val="9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Translation</a:t>
                </a:r>
                <a:endParaRPr sz="1400" b="0" i="0" u="none" strike="noStrike" cap="none">
                  <a:solidFill>
                    <a:srgbClr val="000000"/>
                  </a:solidFill>
                  <a:latin typeface="Arial"/>
                  <a:ea typeface="Arial"/>
                  <a:cs typeface="Arial"/>
                  <a:sym typeface="Arial"/>
                </a:endParaRPr>
              </a:p>
            </p:txBody>
          </p:sp>
          <p:sp>
            <p:nvSpPr>
              <p:cNvPr id="2682" name="Google Shape;2682;p39"/>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grpSp>
          <p:nvGrpSpPr>
            <p:cNvPr id="2683" name="Google Shape;2683;p39"/>
            <p:cNvGrpSpPr/>
            <p:nvPr/>
          </p:nvGrpSpPr>
          <p:grpSpPr>
            <a:xfrm>
              <a:off x="11701145" y="220980"/>
              <a:ext cx="175360" cy="295338"/>
              <a:chOff x="6689308" y="2024976"/>
              <a:chExt cx="325986" cy="549024"/>
            </a:xfrm>
          </p:grpSpPr>
          <p:sp>
            <p:nvSpPr>
              <p:cNvPr id="2684" name="Google Shape;2684;p39"/>
              <p:cNvSpPr/>
              <p:nvPr/>
            </p:nvSpPr>
            <p:spPr>
              <a:xfrm>
                <a:off x="6689308" y="2024976"/>
                <a:ext cx="325986" cy="549024"/>
              </a:xfrm>
              <a:custGeom>
                <a:avLst/>
                <a:gdLst/>
                <a:ahLst/>
                <a:cxnLst/>
                <a:rect l="l" t="t" r="r" b="b"/>
                <a:pathLst>
                  <a:path w="325986" h="549024" extrusionOk="0">
                    <a:moveTo>
                      <a:pt x="304900" y="0"/>
                    </a:moveTo>
                    <a:lnTo>
                      <a:pt x="24663" y="0"/>
                    </a:lnTo>
                    <a:cubicBezTo>
                      <a:pt x="11049" y="17"/>
                      <a:pt x="17" y="11049"/>
                      <a:pt x="0" y="24663"/>
                    </a:cubicBezTo>
                    <a:lnTo>
                      <a:pt x="0" y="524361"/>
                    </a:lnTo>
                    <a:cubicBezTo>
                      <a:pt x="17" y="537975"/>
                      <a:pt x="11049" y="549007"/>
                      <a:pt x="24663" y="549024"/>
                    </a:cubicBezTo>
                    <a:lnTo>
                      <a:pt x="304900" y="549024"/>
                    </a:lnTo>
                    <a:cubicBezTo>
                      <a:pt x="318516" y="549011"/>
                      <a:pt x="329551" y="537975"/>
                      <a:pt x="329563" y="524361"/>
                    </a:cubicBezTo>
                    <a:lnTo>
                      <a:pt x="329563" y="24663"/>
                    </a:lnTo>
                    <a:cubicBezTo>
                      <a:pt x="329551" y="11048"/>
                      <a:pt x="318516" y="14"/>
                      <a:pt x="304900" y="0"/>
                    </a:cubicBezTo>
                    <a:close/>
                    <a:moveTo>
                      <a:pt x="240852" y="15012"/>
                    </a:moveTo>
                    <a:lnTo>
                      <a:pt x="223313" y="32538"/>
                    </a:lnTo>
                    <a:cubicBezTo>
                      <a:pt x="216691" y="39189"/>
                      <a:pt x="207684" y="42917"/>
                      <a:pt x="198298" y="42893"/>
                    </a:cubicBezTo>
                    <a:lnTo>
                      <a:pt x="131265" y="42893"/>
                    </a:lnTo>
                    <a:cubicBezTo>
                      <a:pt x="121879" y="42917"/>
                      <a:pt x="112873" y="39189"/>
                      <a:pt x="106250" y="32538"/>
                    </a:cubicBezTo>
                    <a:lnTo>
                      <a:pt x="88711" y="15012"/>
                    </a:lnTo>
                    <a:close/>
                    <a:moveTo>
                      <a:pt x="314551" y="524361"/>
                    </a:moveTo>
                    <a:cubicBezTo>
                      <a:pt x="314544" y="529688"/>
                      <a:pt x="310227" y="534003"/>
                      <a:pt x="304900" y="534012"/>
                    </a:cubicBezTo>
                    <a:lnTo>
                      <a:pt x="24663" y="534012"/>
                    </a:lnTo>
                    <a:cubicBezTo>
                      <a:pt x="19336" y="534003"/>
                      <a:pt x="15020" y="529688"/>
                      <a:pt x="15013" y="524361"/>
                    </a:cubicBezTo>
                    <a:lnTo>
                      <a:pt x="15013" y="24663"/>
                    </a:lnTo>
                    <a:cubicBezTo>
                      <a:pt x="15020" y="19336"/>
                      <a:pt x="19336" y="15019"/>
                      <a:pt x="24663" y="15012"/>
                    </a:cubicBezTo>
                    <a:lnTo>
                      <a:pt x="67471" y="15012"/>
                    </a:lnTo>
                    <a:lnTo>
                      <a:pt x="95638" y="43163"/>
                    </a:lnTo>
                    <a:cubicBezTo>
                      <a:pt x="105072" y="52633"/>
                      <a:pt x="117898" y="57940"/>
                      <a:pt x="131265" y="57905"/>
                    </a:cubicBezTo>
                    <a:lnTo>
                      <a:pt x="198298" y="57905"/>
                    </a:lnTo>
                    <a:cubicBezTo>
                      <a:pt x="211665" y="57940"/>
                      <a:pt x="224492" y="52633"/>
                      <a:pt x="233925" y="43163"/>
                    </a:cubicBezTo>
                    <a:lnTo>
                      <a:pt x="262093" y="15012"/>
                    </a:lnTo>
                    <a:lnTo>
                      <a:pt x="304900" y="15012"/>
                    </a:lnTo>
                    <a:cubicBezTo>
                      <a:pt x="310227" y="15019"/>
                      <a:pt x="314544" y="19336"/>
                      <a:pt x="314551" y="2466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85" name="Google Shape;2685;p39"/>
              <p:cNvSpPr/>
              <p:nvPr/>
            </p:nvSpPr>
            <p:spPr>
              <a:xfrm>
                <a:off x="6732201" y="2110795"/>
                <a:ext cx="85786" cy="98653"/>
              </a:xfrm>
              <a:custGeom>
                <a:avLst/>
                <a:gdLst/>
                <a:ahLst/>
                <a:cxnLst/>
                <a:rect l="l" t="t" r="r" b="b"/>
                <a:pathLst>
                  <a:path w="85785" h="98652" extrusionOk="0">
                    <a:moveTo>
                      <a:pt x="5040" y="98734"/>
                    </a:moveTo>
                    <a:cubicBezTo>
                      <a:pt x="8946" y="100102"/>
                      <a:pt x="13221" y="98044"/>
                      <a:pt x="14588" y="94138"/>
                    </a:cubicBezTo>
                    <a:cubicBezTo>
                      <a:pt x="14591" y="94130"/>
                      <a:pt x="14594" y="94122"/>
                      <a:pt x="14597" y="94115"/>
                    </a:cubicBezTo>
                    <a:lnTo>
                      <a:pt x="27499" y="57081"/>
                    </a:lnTo>
                    <a:lnTo>
                      <a:pt x="62242" y="57081"/>
                    </a:lnTo>
                    <a:lnTo>
                      <a:pt x="75136" y="94115"/>
                    </a:lnTo>
                    <a:cubicBezTo>
                      <a:pt x="76715" y="97948"/>
                      <a:pt x="81102" y="99776"/>
                      <a:pt x="84935" y="98197"/>
                    </a:cubicBezTo>
                    <a:cubicBezTo>
                      <a:pt x="88471" y="96740"/>
                      <a:pt x="90347" y="92858"/>
                      <a:pt x="89290" y="89182"/>
                    </a:cubicBezTo>
                    <a:lnTo>
                      <a:pt x="59994" y="5040"/>
                    </a:lnTo>
                    <a:cubicBezTo>
                      <a:pt x="58944" y="2022"/>
                      <a:pt x="56099" y="0"/>
                      <a:pt x="52904" y="0"/>
                    </a:cubicBezTo>
                    <a:lnTo>
                      <a:pt x="36819" y="0"/>
                    </a:lnTo>
                    <a:cubicBezTo>
                      <a:pt x="33624" y="0"/>
                      <a:pt x="30779" y="2022"/>
                      <a:pt x="29729" y="5040"/>
                    </a:cubicBezTo>
                    <a:lnTo>
                      <a:pt x="420" y="89182"/>
                    </a:lnTo>
                    <a:cubicBezTo>
                      <a:pt x="-944" y="93092"/>
                      <a:pt x="1120" y="97367"/>
                      <a:pt x="5030" y="98731"/>
                    </a:cubicBezTo>
                    <a:cubicBezTo>
                      <a:pt x="5034" y="98732"/>
                      <a:pt x="5037" y="98733"/>
                      <a:pt x="5040" y="98734"/>
                    </a:cubicBezTo>
                    <a:close/>
                    <a:moveTo>
                      <a:pt x="42151" y="15012"/>
                    </a:moveTo>
                    <a:lnTo>
                      <a:pt x="47568" y="15012"/>
                    </a:lnTo>
                    <a:lnTo>
                      <a:pt x="57005" y="42069"/>
                    </a:lnTo>
                    <a:lnTo>
                      <a:pt x="32727" y="4206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86" name="Google Shape;2686;p39"/>
              <p:cNvSpPr/>
              <p:nvPr/>
            </p:nvSpPr>
            <p:spPr>
              <a:xfrm>
                <a:off x="6886259" y="2110795"/>
                <a:ext cx="85786" cy="98653"/>
              </a:xfrm>
              <a:custGeom>
                <a:avLst/>
                <a:gdLst/>
                <a:ahLst/>
                <a:cxnLst/>
                <a:rect l="l" t="t" r="r" b="b"/>
                <a:pathLst>
                  <a:path w="85785" h="98652" extrusionOk="0">
                    <a:moveTo>
                      <a:pt x="82213" y="24629"/>
                    </a:moveTo>
                    <a:lnTo>
                      <a:pt x="52368" y="24629"/>
                    </a:lnTo>
                    <a:lnTo>
                      <a:pt x="52368" y="7506"/>
                    </a:lnTo>
                    <a:cubicBezTo>
                      <a:pt x="52368" y="3361"/>
                      <a:pt x="49007" y="0"/>
                      <a:pt x="44862" y="0"/>
                    </a:cubicBezTo>
                    <a:cubicBezTo>
                      <a:pt x="40716" y="0"/>
                      <a:pt x="37355" y="3361"/>
                      <a:pt x="37355" y="7506"/>
                    </a:cubicBezTo>
                    <a:lnTo>
                      <a:pt x="37355" y="24629"/>
                    </a:lnTo>
                    <a:lnTo>
                      <a:pt x="7506" y="24629"/>
                    </a:lnTo>
                    <a:cubicBezTo>
                      <a:pt x="3361" y="24629"/>
                      <a:pt x="0" y="27990"/>
                      <a:pt x="0" y="32135"/>
                    </a:cubicBezTo>
                    <a:cubicBezTo>
                      <a:pt x="0" y="36281"/>
                      <a:pt x="3361" y="39641"/>
                      <a:pt x="7506" y="39641"/>
                    </a:cubicBezTo>
                    <a:lnTo>
                      <a:pt x="17873" y="39641"/>
                    </a:lnTo>
                    <a:lnTo>
                      <a:pt x="17873" y="41027"/>
                    </a:lnTo>
                    <a:cubicBezTo>
                      <a:pt x="17867" y="52418"/>
                      <a:pt x="22457" y="63330"/>
                      <a:pt x="30604" y="71292"/>
                    </a:cubicBezTo>
                    <a:lnTo>
                      <a:pt x="4066" y="84974"/>
                    </a:lnTo>
                    <a:cubicBezTo>
                      <a:pt x="456" y="87016"/>
                      <a:pt x="-816" y="91599"/>
                      <a:pt x="1226" y="95209"/>
                    </a:cubicBezTo>
                    <a:cubicBezTo>
                      <a:pt x="3154" y="98618"/>
                      <a:pt x="7378" y="99973"/>
                      <a:pt x="10929" y="98322"/>
                    </a:cubicBezTo>
                    <a:lnTo>
                      <a:pt x="44845" y="80831"/>
                    </a:lnTo>
                    <a:lnTo>
                      <a:pt x="78756" y="98322"/>
                    </a:lnTo>
                    <a:cubicBezTo>
                      <a:pt x="82366" y="100365"/>
                      <a:pt x="86948" y="99093"/>
                      <a:pt x="88990" y="95483"/>
                    </a:cubicBezTo>
                    <a:cubicBezTo>
                      <a:pt x="91032" y="91872"/>
                      <a:pt x="89761" y="87290"/>
                      <a:pt x="86151" y="85248"/>
                    </a:cubicBezTo>
                    <a:cubicBezTo>
                      <a:pt x="85977" y="85150"/>
                      <a:pt x="85800" y="85058"/>
                      <a:pt x="85619" y="84974"/>
                    </a:cubicBezTo>
                    <a:lnTo>
                      <a:pt x="59085" y="71292"/>
                    </a:lnTo>
                    <a:cubicBezTo>
                      <a:pt x="67232" y="63329"/>
                      <a:pt x="71821" y="52415"/>
                      <a:pt x="71811" y="41022"/>
                    </a:cubicBezTo>
                    <a:lnTo>
                      <a:pt x="71811" y="39641"/>
                    </a:lnTo>
                    <a:lnTo>
                      <a:pt x="82179" y="39641"/>
                    </a:lnTo>
                    <a:cubicBezTo>
                      <a:pt x="86324" y="39641"/>
                      <a:pt x="89685" y="36281"/>
                      <a:pt x="89685" y="32135"/>
                    </a:cubicBezTo>
                    <a:cubicBezTo>
                      <a:pt x="89685" y="27990"/>
                      <a:pt x="86324" y="24629"/>
                      <a:pt x="82179" y="24629"/>
                    </a:cubicBezTo>
                    <a:close/>
                    <a:moveTo>
                      <a:pt x="56833" y="41022"/>
                    </a:moveTo>
                    <a:cubicBezTo>
                      <a:pt x="56848" y="50092"/>
                      <a:pt x="52363" y="58580"/>
                      <a:pt x="44862" y="63678"/>
                    </a:cubicBezTo>
                    <a:cubicBezTo>
                      <a:pt x="37360" y="58580"/>
                      <a:pt x="32874" y="50093"/>
                      <a:pt x="32886" y="41022"/>
                    </a:cubicBezTo>
                    <a:lnTo>
                      <a:pt x="32886" y="39641"/>
                    </a:lnTo>
                    <a:lnTo>
                      <a:pt x="56833" y="39641"/>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87" name="Google Shape;2687;p39"/>
              <p:cNvSpPr/>
              <p:nvPr/>
            </p:nvSpPr>
            <p:spPr>
              <a:xfrm>
                <a:off x="6832510" y="2152864"/>
                <a:ext cx="42893" cy="12868"/>
              </a:xfrm>
              <a:custGeom>
                <a:avLst/>
                <a:gdLst/>
                <a:ahLst/>
                <a:cxnLst/>
                <a:rect l="l" t="t" r="r" b="b"/>
                <a:pathLst>
                  <a:path w="42892" h="12867" extrusionOk="0">
                    <a:moveTo>
                      <a:pt x="7506" y="15012"/>
                    </a:moveTo>
                    <a:lnTo>
                      <a:pt x="35653" y="15012"/>
                    </a:lnTo>
                    <a:cubicBezTo>
                      <a:pt x="39798" y="15012"/>
                      <a:pt x="43159" y="11652"/>
                      <a:pt x="43159" y="7506"/>
                    </a:cubicBezTo>
                    <a:cubicBezTo>
                      <a:pt x="43159" y="3361"/>
                      <a:pt x="39798" y="0"/>
                      <a:pt x="35653"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88" name="Google Shape;2688;p39"/>
              <p:cNvSpPr/>
              <p:nvPr/>
            </p:nvSpPr>
            <p:spPr>
              <a:xfrm>
                <a:off x="6732201" y="223786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89" name="Google Shape;2689;p39"/>
              <p:cNvSpPr/>
              <p:nvPr/>
            </p:nvSpPr>
            <p:spPr>
              <a:xfrm>
                <a:off x="6756508" y="2288113"/>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90" name="Google Shape;2690;p39"/>
              <p:cNvSpPr/>
              <p:nvPr/>
            </p:nvSpPr>
            <p:spPr>
              <a:xfrm>
                <a:off x="6732201" y="2338361"/>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91" name="Google Shape;2691;p39"/>
              <p:cNvSpPr/>
              <p:nvPr/>
            </p:nvSpPr>
            <p:spPr>
              <a:xfrm>
                <a:off x="6756508" y="2388606"/>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92" name="Google Shape;2692;p39"/>
              <p:cNvSpPr/>
              <p:nvPr/>
            </p:nvSpPr>
            <p:spPr>
              <a:xfrm>
                <a:off x="6732201" y="243885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93" name="Google Shape;2693;p39"/>
              <p:cNvSpPr/>
              <p:nvPr/>
            </p:nvSpPr>
            <p:spPr>
              <a:xfrm>
                <a:off x="6756508" y="2491764"/>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grpSp>
        <p:nvGrpSpPr>
          <p:cNvPr id="2694" name="Google Shape;2694;p39"/>
          <p:cNvGrpSpPr/>
          <p:nvPr/>
        </p:nvGrpSpPr>
        <p:grpSpPr>
          <a:xfrm>
            <a:off x="10825316" y="1532238"/>
            <a:ext cx="815819" cy="807943"/>
            <a:chOff x="373784" y="6837540"/>
            <a:chExt cx="578798" cy="581782"/>
          </a:xfrm>
        </p:grpSpPr>
        <p:sp>
          <p:nvSpPr>
            <p:cNvPr id="2695" name="Google Shape;2695;p39"/>
            <p:cNvSpPr/>
            <p:nvPr/>
          </p:nvSpPr>
          <p:spPr>
            <a:xfrm>
              <a:off x="378969" y="6843587"/>
              <a:ext cx="571141" cy="572050"/>
            </a:xfrm>
            <a:custGeom>
              <a:avLst/>
              <a:gdLst/>
              <a:ahLst/>
              <a:cxnLst/>
              <a:rect l="l" t="t" r="r" b="b"/>
              <a:pathLst>
                <a:path w="571141" h="572050" extrusionOk="0">
                  <a:moveTo>
                    <a:pt x="946" y="262566"/>
                  </a:moveTo>
                  <a:lnTo>
                    <a:pt x="3737" y="239629"/>
                  </a:lnTo>
                  <a:lnTo>
                    <a:pt x="8299" y="217289"/>
                  </a:lnTo>
                  <a:lnTo>
                    <a:pt x="14558" y="195618"/>
                  </a:lnTo>
                  <a:lnTo>
                    <a:pt x="22441" y="174690"/>
                  </a:lnTo>
                  <a:lnTo>
                    <a:pt x="31874" y="154579"/>
                  </a:lnTo>
                  <a:lnTo>
                    <a:pt x="42785" y="135359"/>
                  </a:lnTo>
                  <a:lnTo>
                    <a:pt x="55098" y="117102"/>
                  </a:lnTo>
                  <a:lnTo>
                    <a:pt x="68742" y="99882"/>
                  </a:lnTo>
                  <a:lnTo>
                    <a:pt x="83641" y="83774"/>
                  </a:lnTo>
                  <a:lnTo>
                    <a:pt x="99724" y="68851"/>
                  </a:lnTo>
                  <a:lnTo>
                    <a:pt x="116916" y="55186"/>
                  </a:lnTo>
                  <a:lnTo>
                    <a:pt x="135144" y="42852"/>
                  </a:lnTo>
                  <a:lnTo>
                    <a:pt x="154334" y="31925"/>
                  </a:lnTo>
                  <a:lnTo>
                    <a:pt x="174413" y="22477"/>
                  </a:lnTo>
                  <a:lnTo>
                    <a:pt x="195308" y="14581"/>
                  </a:lnTo>
                  <a:lnTo>
                    <a:pt x="216945" y="8312"/>
                  </a:lnTo>
                  <a:lnTo>
                    <a:pt x="239249" y="3743"/>
                  </a:lnTo>
                  <a:lnTo>
                    <a:pt x="262149" y="948"/>
                  </a:lnTo>
                  <a:lnTo>
                    <a:pt x="285570" y="0"/>
                  </a:lnTo>
                  <a:lnTo>
                    <a:pt x="308992" y="948"/>
                  </a:lnTo>
                  <a:lnTo>
                    <a:pt x="331892" y="3743"/>
                  </a:lnTo>
                  <a:lnTo>
                    <a:pt x="354197" y="8312"/>
                  </a:lnTo>
                  <a:lnTo>
                    <a:pt x="375833" y="14581"/>
                  </a:lnTo>
                  <a:lnTo>
                    <a:pt x="396728" y="22477"/>
                  </a:lnTo>
                  <a:lnTo>
                    <a:pt x="416807" y="31925"/>
                  </a:lnTo>
                  <a:lnTo>
                    <a:pt x="435997" y="42853"/>
                  </a:lnTo>
                  <a:lnTo>
                    <a:pt x="454225" y="55186"/>
                  </a:lnTo>
                  <a:lnTo>
                    <a:pt x="471417" y="68851"/>
                  </a:lnTo>
                  <a:lnTo>
                    <a:pt x="487500" y="83774"/>
                  </a:lnTo>
                  <a:lnTo>
                    <a:pt x="502400" y="99882"/>
                  </a:lnTo>
                  <a:lnTo>
                    <a:pt x="516043" y="117102"/>
                  </a:lnTo>
                  <a:lnTo>
                    <a:pt x="528356" y="135359"/>
                  </a:lnTo>
                  <a:lnTo>
                    <a:pt x="539267" y="154579"/>
                  </a:lnTo>
                  <a:lnTo>
                    <a:pt x="548700" y="174691"/>
                  </a:lnTo>
                  <a:lnTo>
                    <a:pt x="556583" y="195618"/>
                  </a:lnTo>
                  <a:lnTo>
                    <a:pt x="562842" y="217289"/>
                  </a:lnTo>
                  <a:lnTo>
                    <a:pt x="567404" y="239630"/>
                  </a:lnTo>
                  <a:lnTo>
                    <a:pt x="570195" y="262566"/>
                  </a:lnTo>
                  <a:lnTo>
                    <a:pt x="571141" y="286024"/>
                  </a:lnTo>
                  <a:lnTo>
                    <a:pt x="570195" y="309483"/>
                  </a:lnTo>
                  <a:lnTo>
                    <a:pt x="567404" y="332420"/>
                  </a:lnTo>
                  <a:lnTo>
                    <a:pt x="562842" y="354760"/>
                  </a:lnTo>
                  <a:lnTo>
                    <a:pt x="556583" y="376431"/>
                  </a:lnTo>
                  <a:lnTo>
                    <a:pt x="548700" y="397359"/>
                  </a:lnTo>
                  <a:lnTo>
                    <a:pt x="539267" y="417470"/>
                  </a:lnTo>
                  <a:lnTo>
                    <a:pt x="528356" y="436690"/>
                  </a:lnTo>
                  <a:lnTo>
                    <a:pt x="516043" y="454947"/>
                  </a:lnTo>
                  <a:lnTo>
                    <a:pt x="502399" y="472167"/>
                  </a:lnTo>
                  <a:lnTo>
                    <a:pt x="487500" y="488275"/>
                  </a:lnTo>
                  <a:lnTo>
                    <a:pt x="471417" y="503198"/>
                  </a:lnTo>
                  <a:lnTo>
                    <a:pt x="454225" y="516863"/>
                  </a:lnTo>
                  <a:lnTo>
                    <a:pt x="435997" y="529197"/>
                  </a:lnTo>
                  <a:lnTo>
                    <a:pt x="416807" y="540124"/>
                  </a:lnTo>
                  <a:lnTo>
                    <a:pt x="396728" y="549572"/>
                  </a:lnTo>
                  <a:lnTo>
                    <a:pt x="375833" y="557468"/>
                  </a:lnTo>
                  <a:lnTo>
                    <a:pt x="354197" y="563737"/>
                  </a:lnTo>
                  <a:lnTo>
                    <a:pt x="331892" y="568306"/>
                  </a:lnTo>
                  <a:lnTo>
                    <a:pt x="308992" y="571101"/>
                  </a:lnTo>
                  <a:lnTo>
                    <a:pt x="285571" y="572050"/>
                  </a:lnTo>
                  <a:lnTo>
                    <a:pt x="262149" y="571101"/>
                  </a:lnTo>
                  <a:lnTo>
                    <a:pt x="239249" y="568306"/>
                  </a:lnTo>
                  <a:lnTo>
                    <a:pt x="216945" y="563737"/>
                  </a:lnTo>
                  <a:lnTo>
                    <a:pt x="195308" y="557468"/>
                  </a:lnTo>
                  <a:lnTo>
                    <a:pt x="174413" y="549572"/>
                  </a:lnTo>
                  <a:lnTo>
                    <a:pt x="154334" y="540124"/>
                  </a:lnTo>
                  <a:lnTo>
                    <a:pt x="135144" y="529197"/>
                  </a:lnTo>
                  <a:lnTo>
                    <a:pt x="116916" y="516863"/>
                  </a:lnTo>
                  <a:lnTo>
                    <a:pt x="99724" y="503198"/>
                  </a:lnTo>
                  <a:lnTo>
                    <a:pt x="83641" y="488275"/>
                  </a:lnTo>
                  <a:lnTo>
                    <a:pt x="68742" y="472167"/>
                  </a:lnTo>
                  <a:lnTo>
                    <a:pt x="55098" y="454947"/>
                  </a:lnTo>
                  <a:lnTo>
                    <a:pt x="42785" y="436690"/>
                  </a:lnTo>
                  <a:lnTo>
                    <a:pt x="31875" y="417470"/>
                  </a:lnTo>
                  <a:lnTo>
                    <a:pt x="22441" y="397359"/>
                  </a:lnTo>
                  <a:lnTo>
                    <a:pt x="14558" y="376431"/>
                  </a:lnTo>
                  <a:lnTo>
                    <a:pt x="8299" y="354760"/>
                  </a:lnTo>
                  <a:lnTo>
                    <a:pt x="3737" y="332420"/>
                  </a:lnTo>
                  <a:lnTo>
                    <a:pt x="946" y="309483"/>
                  </a:lnTo>
                  <a:lnTo>
                    <a:pt x="0" y="286025"/>
                  </a:lnTo>
                  <a:lnTo>
                    <a:pt x="946" y="262566"/>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96" name="Google Shape;2696;p39"/>
            <p:cNvSpPr/>
            <p:nvPr/>
          </p:nvSpPr>
          <p:spPr>
            <a:xfrm>
              <a:off x="458665" y="6923414"/>
              <a:ext cx="409337" cy="409995"/>
            </a:xfrm>
            <a:custGeom>
              <a:avLst/>
              <a:gdLst/>
              <a:ahLst/>
              <a:cxnLst/>
              <a:rect l="l" t="t" r="r" b="b"/>
              <a:pathLst>
                <a:path w="409337" h="409995" extrusionOk="0">
                  <a:moveTo>
                    <a:pt x="5955" y="155688"/>
                  </a:moveTo>
                  <a:lnTo>
                    <a:pt x="10445" y="140178"/>
                  </a:lnTo>
                  <a:lnTo>
                    <a:pt x="16099" y="125197"/>
                  </a:lnTo>
                  <a:lnTo>
                    <a:pt x="14958" y="204853"/>
                  </a:lnTo>
                  <a:lnTo>
                    <a:pt x="15588" y="220429"/>
                  </a:lnTo>
                  <a:lnTo>
                    <a:pt x="17446" y="235662"/>
                  </a:lnTo>
                  <a:lnTo>
                    <a:pt x="20483" y="250503"/>
                  </a:lnTo>
                  <a:lnTo>
                    <a:pt x="24648" y="264902"/>
                  </a:lnTo>
                  <a:lnTo>
                    <a:pt x="29893" y="278810"/>
                  </a:lnTo>
                  <a:lnTo>
                    <a:pt x="36169" y="292178"/>
                  </a:lnTo>
                  <a:lnTo>
                    <a:pt x="43425" y="304956"/>
                  </a:lnTo>
                  <a:lnTo>
                    <a:pt x="51612" y="317096"/>
                  </a:lnTo>
                  <a:lnTo>
                    <a:pt x="60682" y="328547"/>
                  </a:lnTo>
                  <a:lnTo>
                    <a:pt x="70584" y="339261"/>
                  </a:lnTo>
                  <a:lnTo>
                    <a:pt x="81269" y="349189"/>
                  </a:lnTo>
                  <a:lnTo>
                    <a:pt x="92688" y="358281"/>
                  </a:lnTo>
                  <a:lnTo>
                    <a:pt x="104791" y="366487"/>
                  </a:lnTo>
                  <a:lnTo>
                    <a:pt x="117529" y="373760"/>
                  </a:lnTo>
                  <a:lnTo>
                    <a:pt x="130852" y="380048"/>
                  </a:lnTo>
                  <a:lnTo>
                    <a:pt x="144712" y="385304"/>
                  </a:lnTo>
                  <a:lnTo>
                    <a:pt x="159059" y="389478"/>
                  </a:lnTo>
                  <a:lnTo>
                    <a:pt x="173842" y="392520"/>
                  </a:lnTo>
                  <a:lnTo>
                    <a:pt x="189014" y="394381"/>
                  </a:lnTo>
                  <a:lnTo>
                    <a:pt x="204524" y="395013"/>
                  </a:lnTo>
                  <a:lnTo>
                    <a:pt x="220076" y="394381"/>
                  </a:lnTo>
                  <a:lnTo>
                    <a:pt x="235284" y="392520"/>
                  </a:lnTo>
                  <a:lnTo>
                    <a:pt x="250101" y="389478"/>
                  </a:lnTo>
                  <a:lnTo>
                    <a:pt x="264477" y="385304"/>
                  </a:lnTo>
                  <a:lnTo>
                    <a:pt x="278363" y="380048"/>
                  </a:lnTo>
                  <a:lnTo>
                    <a:pt x="291709" y="373760"/>
                  </a:lnTo>
                  <a:lnTo>
                    <a:pt x="304467" y="366487"/>
                  </a:lnTo>
                  <a:lnTo>
                    <a:pt x="316587" y="358281"/>
                  </a:lnTo>
                  <a:lnTo>
                    <a:pt x="328020" y="349189"/>
                  </a:lnTo>
                  <a:lnTo>
                    <a:pt x="338717" y="339261"/>
                  </a:lnTo>
                  <a:lnTo>
                    <a:pt x="348628" y="328547"/>
                  </a:lnTo>
                  <a:lnTo>
                    <a:pt x="357706" y="317096"/>
                  </a:lnTo>
                  <a:lnTo>
                    <a:pt x="365899" y="304956"/>
                  </a:lnTo>
                  <a:lnTo>
                    <a:pt x="373160" y="292178"/>
                  </a:lnTo>
                  <a:lnTo>
                    <a:pt x="379438" y="278810"/>
                  </a:lnTo>
                  <a:lnTo>
                    <a:pt x="384686" y="264902"/>
                  </a:lnTo>
                  <a:lnTo>
                    <a:pt x="388853" y="250503"/>
                  </a:lnTo>
                  <a:lnTo>
                    <a:pt x="391890" y="235662"/>
                  </a:lnTo>
                  <a:lnTo>
                    <a:pt x="393748" y="220429"/>
                  </a:lnTo>
                  <a:lnTo>
                    <a:pt x="394379" y="204853"/>
                  </a:lnTo>
                  <a:lnTo>
                    <a:pt x="393748" y="189318"/>
                  </a:lnTo>
                  <a:lnTo>
                    <a:pt x="391890" y="174122"/>
                  </a:lnTo>
                  <a:lnTo>
                    <a:pt x="388853" y="159314"/>
                  </a:lnTo>
                  <a:lnTo>
                    <a:pt x="384686" y="144945"/>
                  </a:lnTo>
                  <a:lnTo>
                    <a:pt x="379438" y="131063"/>
                  </a:lnTo>
                  <a:lnTo>
                    <a:pt x="373160" y="117718"/>
                  </a:lnTo>
                  <a:lnTo>
                    <a:pt x="365899" y="104959"/>
                  </a:lnTo>
                  <a:lnTo>
                    <a:pt x="357706" y="92837"/>
                  </a:lnTo>
                  <a:lnTo>
                    <a:pt x="348628" y="81399"/>
                  </a:lnTo>
                  <a:lnTo>
                    <a:pt x="338717" y="70697"/>
                  </a:lnTo>
                  <a:lnTo>
                    <a:pt x="328020" y="60779"/>
                  </a:lnTo>
                  <a:lnTo>
                    <a:pt x="316587" y="51695"/>
                  </a:lnTo>
                  <a:lnTo>
                    <a:pt x="304467" y="43495"/>
                  </a:lnTo>
                  <a:lnTo>
                    <a:pt x="291709" y="36227"/>
                  </a:lnTo>
                  <a:lnTo>
                    <a:pt x="278363" y="29942"/>
                  </a:lnTo>
                  <a:lnTo>
                    <a:pt x="264477" y="24688"/>
                  </a:lnTo>
                  <a:lnTo>
                    <a:pt x="250101" y="20516"/>
                  </a:lnTo>
                  <a:lnTo>
                    <a:pt x="235284" y="17474"/>
                  </a:lnTo>
                  <a:lnTo>
                    <a:pt x="220076" y="15613"/>
                  </a:lnTo>
                  <a:lnTo>
                    <a:pt x="204524" y="14982"/>
                  </a:lnTo>
                  <a:lnTo>
                    <a:pt x="189014" y="15613"/>
                  </a:lnTo>
                  <a:lnTo>
                    <a:pt x="173842" y="17474"/>
                  </a:lnTo>
                  <a:lnTo>
                    <a:pt x="159059" y="20516"/>
                  </a:lnTo>
                  <a:lnTo>
                    <a:pt x="144712" y="24688"/>
                  </a:lnTo>
                  <a:lnTo>
                    <a:pt x="130852" y="29942"/>
                  </a:lnTo>
                  <a:lnTo>
                    <a:pt x="117529" y="36227"/>
                  </a:lnTo>
                  <a:lnTo>
                    <a:pt x="104791" y="43495"/>
                  </a:lnTo>
                  <a:lnTo>
                    <a:pt x="92688" y="51695"/>
                  </a:lnTo>
                  <a:lnTo>
                    <a:pt x="81269" y="60779"/>
                  </a:lnTo>
                  <a:lnTo>
                    <a:pt x="70584" y="70697"/>
                  </a:lnTo>
                  <a:lnTo>
                    <a:pt x="60682" y="81399"/>
                  </a:lnTo>
                  <a:lnTo>
                    <a:pt x="51612" y="92837"/>
                  </a:lnTo>
                  <a:lnTo>
                    <a:pt x="43425" y="104959"/>
                  </a:lnTo>
                  <a:lnTo>
                    <a:pt x="36169" y="117718"/>
                  </a:lnTo>
                  <a:lnTo>
                    <a:pt x="29893" y="131063"/>
                  </a:lnTo>
                  <a:lnTo>
                    <a:pt x="24648" y="144945"/>
                  </a:lnTo>
                  <a:lnTo>
                    <a:pt x="30688" y="97031"/>
                  </a:lnTo>
                  <a:lnTo>
                    <a:pt x="39517" y="83953"/>
                  </a:lnTo>
                  <a:lnTo>
                    <a:pt x="49297" y="71616"/>
                  </a:lnTo>
                  <a:lnTo>
                    <a:pt x="59976" y="60073"/>
                  </a:lnTo>
                  <a:lnTo>
                    <a:pt x="71501" y="49376"/>
                  </a:lnTo>
                  <a:lnTo>
                    <a:pt x="83818" y="39580"/>
                  </a:lnTo>
                  <a:lnTo>
                    <a:pt x="96875" y="30738"/>
                  </a:lnTo>
                  <a:lnTo>
                    <a:pt x="110619" y="22902"/>
                  </a:lnTo>
                  <a:lnTo>
                    <a:pt x="124996" y="16125"/>
                  </a:lnTo>
                  <a:lnTo>
                    <a:pt x="139953" y="10462"/>
                  </a:lnTo>
                  <a:lnTo>
                    <a:pt x="155438" y="5964"/>
                  </a:lnTo>
                  <a:lnTo>
                    <a:pt x="171396" y="2686"/>
                  </a:lnTo>
                  <a:lnTo>
                    <a:pt x="187776" y="680"/>
                  </a:lnTo>
                  <a:lnTo>
                    <a:pt x="204524" y="0"/>
                  </a:lnTo>
                  <a:lnTo>
                    <a:pt x="221313" y="680"/>
                  </a:lnTo>
                  <a:lnTo>
                    <a:pt x="237730" y="2686"/>
                  </a:lnTo>
                  <a:lnTo>
                    <a:pt x="253722" y="5964"/>
                  </a:lnTo>
                  <a:lnTo>
                    <a:pt x="269236" y="10462"/>
                  </a:lnTo>
                  <a:lnTo>
                    <a:pt x="284219" y="16125"/>
                  </a:lnTo>
                  <a:lnTo>
                    <a:pt x="298619" y="22902"/>
                  </a:lnTo>
                  <a:lnTo>
                    <a:pt x="312382" y="30738"/>
                  </a:lnTo>
                  <a:lnTo>
                    <a:pt x="325456" y="39580"/>
                  </a:lnTo>
                  <a:lnTo>
                    <a:pt x="337787" y="49376"/>
                  </a:lnTo>
                  <a:lnTo>
                    <a:pt x="349324" y="60073"/>
                  </a:lnTo>
                  <a:lnTo>
                    <a:pt x="360013" y="71616"/>
                  </a:lnTo>
                  <a:lnTo>
                    <a:pt x="369801" y="83953"/>
                  </a:lnTo>
                  <a:lnTo>
                    <a:pt x="378636" y="97031"/>
                  </a:lnTo>
                  <a:lnTo>
                    <a:pt x="386464" y="110797"/>
                  </a:lnTo>
                  <a:lnTo>
                    <a:pt x="393232" y="125197"/>
                  </a:lnTo>
                  <a:lnTo>
                    <a:pt x="398889" y="140178"/>
                  </a:lnTo>
                  <a:lnTo>
                    <a:pt x="403381" y="155688"/>
                  </a:lnTo>
                  <a:lnTo>
                    <a:pt x="406654" y="171672"/>
                  </a:lnTo>
                  <a:lnTo>
                    <a:pt x="408657" y="188078"/>
                  </a:lnTo>
                  <a:lnTo>
                    <a:pt x="409337" y="204853"/>
                  </a:lnTo>
                  <a:lnTo>
                    <a:pt x="408657" y="221669"/>
                  </a:lnTo>
                  <a:lnTo>
                    <a:pt x="406654" y="238112"/>
                  </a:lnTo>
                  <a:lnTo>
                    <a:pt x="403381" y="254130"/>
                  </a:lnTo>
                  <a:lnTo>
                    <a:pt x="398889" y="269669"/>
                  </a:lnTo>
                  <a:lnTo>
                    <a:pt x="393232" y="284676"/>
                  </a:lnTo>
                  <a:lnTo>
                    <a:pt x="386464" y="299099"/>
                  </a:lnTo>
                  <a:lnTo>
                    <a:pt x="378636" y="312884"/>
                  </a:lnTo>
                  <a:lnTo>
                    <a:pt x="369801" y="325979"/>
                  </a:lnTo>
                  <a:lnTo>
                    <a:pt x="360013" y="338331"/>
                  </a:lnTo>
                  <a:lnTo>
                    <a:pt x="349324" y="349886"/>
                  </a:lnTo>
                  <a:lnTo>
                    <a:pt x="337787" y="360592"/>
                  </a:lnTo>
                  <a:lnTo>
                    <a:pt x="325456" y="370396"/>
                  </a:lnTo>
                  <a:lnTo>
                    <a:pt x="312382" y="379244"/>
                  </a:lnTo>
                  <a:lnTo>
                    <a:pt x="298619" y="387085"/>
                  </a:lnTo>
                  <a:lnTo>
                    <a:pt x="284219" y="393865"/>
                  </a:lnTo>
                  <a:lnTo>
                    <a:pt x="269236" y="399530"/>
                  </a:lnTo>
                  <a:lnTo>
                    <a:pt x="253722" y="404029"/>
                  </a:lnTo>
                  <a:lnTo>
                    <a:pt x="237730" y="407308"/>
                  </a:lnTo>
                  <a:lnTo>
                    <a:pt x="221313" y="409314"/>
                  </a:lnTo>
                  <a:lnTo>
                    <a:pt x="204524" y="409995"/>
                  </a:lnTo>
                  <a:lnTo>
                    <a:pt x="187776" y="409314"/>
                  </a:lnTo>
                  <a:lnTo>
                    <a:pt x="171396" y="407308"/>
                  </a:lnTo>
                  <a:lnTo>
                    <a:pt x="155438" y="404029"/>
                  </a:lnTo>
                  <a:lnTo>
                    <a:pt x="139953" y="399530"/>
                  </a:lnTo>
                  <a:lnTo>
                    <a:pt x="124996" y="393865"/>
                  </a:lnTo>
                  <a:lnTo>
                    <a:pt x="110619" y="387085"/>
                  </a:lnTo>
                  <a:lnTo>
                    <a:pt x="96875" y="379244"/>
                  </a:lnTo>
                  <a:lnTo>
                    <a:pt x="83818" y="370396"/>
                  </a:lnTo>
                  <a:lnTo>
                    <a:pt x="71501" y="360592"/>
                  </a:lnTo>
                  <a:lnTo>
                    <a:pt x="59976" y="349886"/>
                  </a:lnTo>
                  <a:lnTo>
                    <a:pt x="49297" y="338331"/>
                  </a:lnTo>
                  <a:lnTo>
                    <a:pt x="39517" y="325979"/>
                  </a:lnTo>
                  <a:lnTo>
                    <a:pt x="30688" y="312884"/>
                  </a:lnTo>
                  <a:lnTo>
                    <a:pt x="22865" y="299099"/>
                  </a:lnTo>
                  <a:lnTo>
                    <a:pt x="16099" y="284676"/>
                  </a:lnTo>
                  <a:lnTo>
                    <a:pt x="10445" y="269669"/>
                  </a:lnTo>
                  <a:lnTo>
                    <a:pt x="5955" y="254130"/>
                  </a:lnTo>
                  <a:lnTo>
                    <a:pt x="2682" y="238112"/>
                  </a:lnTo>
                  <a:lnTo>
                    <a:pt x="679" y="221669"/>
                  </a:lnTo>
                  <a:lnTo>
                    <a:pt x="0" y="204853"/>
                  </a:lnTo>
                  <a:lnTo>
                    <a:pt x="679" y="188078"/>
                  </a:lnTo>
                  <a:lnTo>
                    <a:pt x="2682" y="171672"/>
                  </a:lnTo>
                  <a:lnTo>
                    <a:pt x="5955" y="155688"/>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97" name="Google Shape;2697;p39"/>
            <p:cNvSpPr/>
            <p:nvPr/>
          </p:nvSpPr>
          <p:spPr>
            <a:xfrm>
              <a:off x="473623" y="7020446"/>
              <a:ext cx="15730" cy="107822"/>
            </a:xfrm>
            <a:custGeom>
              <a:avLst/>
              <a:gdLst/>
              <a:ahLst/>
              <a:cxnLst/>
              <a:rect l="l" t="t" r="r" b="b"/>
              <a:pathLst>
                <a:path w="15730" h="107822" extrusionOk="0">
                  <a:moveTo>
                    <a:pt x="7907" y="13765"/>
                  </a:moveTo>
                  <a:lnTo>
                    <a:pt x="15730" y="0"/>
                  </a:lnTo>
                  <a:lnTo>
                    <a:pt x="9690" y="47913"/>
                  </a:lnTo>
                  <a:lnTo>
                    <a:pt x="5525" y="62283"/>
                  </a:lnTo>
                  <a:lnTo>
                    <a:pt x="2488" y="77090"/>
                  </a:lnTo>
                  <a:lnTo>
                    <a:pt x="630" y="92286"/>
                  </a:lnTo>
                  <a:lnTo>
                    <a:pt x="0" y="107822"/>
                  </a:lnTo>
                  <a:lnTo>
                    <a:pt x="1141" y="28165"/>
                  </a:lnTo>
                  <a:lnTo>
                    <a:pt x="7907" y="1376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98" name="Google Shape;2698;p39"/>
            <p:cNvSpPr/>
            <p:nvPr/>
          </p:nvSpPr>
          <p:spPr>
            <a:xfrm>
              <a:off x="465894" y="6930670"/>
              <a:ext cx="394858" cy="394272"/>
            </a:xfrm>
            <a:custGeom>
              <a:avLst/>
              <a:gdLst/>
              <a:ahLst/>
              <a:cxnLst/>
              <a:rect l="l" t="t" r="r" b="b"/>
              <a:pathLst>
                <a:path w="394858" h="394272" extrusionOk="0">
                  <a:moveTo>
                    <a:pt x="654" y="180967"/>
                  </a:moveTo>
                  <a:lnTo>
                    <a:pt x="2584" y="165159"/>
                  </a:lnTo>
                  <a:lnTo>
                    <a:pt x="5737" y="149761"/>
                  </a:lnTo>
                  <a:lnTo>
                    <a:pt x="10065" y="134825"/>
                  </a:lnTo>
                  <a:lnTo>
                    <a:pt x="15514" y="120401"/>
                  </a:lnTo>
                  <a:lnTo>
                    <a:pt x="22036" y="106540"/>
                  </a:lnTo>
                  <a:lnTo>
                    <a:pt x="29579" y="93293"/>
                  </a:lnTo>
                  <a:lnTo>
                    <a:pt x="38092" y="80709"/>
                  </a:lnTo>
                  <a:lnTo>
                    <a:pt x="47524" y="68841"/>
                  </a:lnTo>
                  <a:lnTo>
                    <a:pt x="57825" y="57739"/>
                  </a:lnTo>
                  <a:lnTo>
                    <a:pt x="68944" y="47454"/>
                  </a:lnTo>
                  <a:lnTo>
                    <a:pt x="80830" y="38035"/>
                  </a:lnTo>
                  <a:lnTo>
                    <a:pt x="93431" y="29535"/>
                  </a:lnTo>
                  <a:lnTo>
                    <a:pt x="106699" y="22003"/>
                  </a:lnTo>
                  <a:lnTo>
                    <a:pt x="120580" y="15491"/>
                  </a:lnTo>
                  <a:lnTo>
                    <a:pt x="135026" y="10050"/>
                  </a:lnTo>
                  <a:lnTo>
                    <a:pt x="149984" y="5729"/>
                  </a:lnTo>
                  <a:lnTo>
                    <a:pt x="165405" y="2580"/>
                  </a:lnTo>
                  <a:lnTo>
                    <a:pt x="181236" y="653"/>
                  </a:lnTo>
                  <a:lnTo>
                    <a:pt x="197429" y="0"/>
                  </a:lnTo>
                  <a:lnTo>
                    <a:pt x="213621" y="653"/>
                  </a:lnTo>
                  <a:lnTo>
                    <a:pt x="229453" y="2580"/>
                  </a:lnTo>
                  <a:lnTo>
                    <a:pt x="244873" y="5729"/>
                  </a:lnTo>
                  <a:lnTo>
                    <a:pt x="259832" y="10050"/>
                  </a:lnTo>
                  <a:lnTo>
                    <a:pt x="274277" y="15491"/>
                  </a:lnTo>
                  <a:lnTo>
                    <a:pt x="288159" y="22003"/>
                  </a:lnTo>
                  <a:lnTo>
                    <a:pt x="301426" y="29535"/>
                  </a:lnTo>
                  <a:lnTo>
                    <a:pt x="314028" y="38035"/>
                  </a:lnTo>
                  <a:lnTo>
                    <a:pt x="325913" y="47454"/>
                  </a:lnTo>
                  <a:lnTo>
                    <a:pt x="337032" y="57739"/>
                  </a:lnTo>
                  <a:lnTo>
                    <a:pt x="347333" y="68842"/>
                  </a:lnTo>
                  <a:lnTo>
                    <a:pt x="356765" y="80710"/>
                  </a:lnTo>
                  <a:lnTo>
                    <a:pt x="365278" y="93293"/>
                  </a:lnTo>
                  <a:lnTo>
                    <a:pt x="372821" y="106540"/>
                  </a:lnTo>
                  <a:lnTo>
                    <a:pt x="379343" y="120401"/>
                  </a:lnTo>
                  <a:lnTo>
                    <a:pt x="384793" y="134825"/>
                  </a:lnTo>
                  <a:lnTo>
                    <a:pt x="389120" y="149761"/>
                  </a:lnTo>
                  <a:lnTo>
                    <a:pt x="392274" y="165159"/>
                  </a:lnTo>
                  <a:lnTo>
                    <a:pt x="394203" y="180967"/>
                  </a:lnTo>
                  <a:lnTo>
                    <a:pt x="394858" y="197136"/>
                  </a:lnTo>
                  <a:lnTo>
                    <a:pt x="394203" y="213304"/>
                  </a:lnTo>
                  <a:lnTo>
                    <a:pt x="392274" y="229112"/>
                  </a:lnTo>
                  <a:lnTo>
                    <a:pt x="389120" y="244510"/>
                  </a:lnTo>
                  <a:lnTo>
                    <a:pt x="384793" y="259446"/>
                  </a:lnTo>
                  <a:lnTo>
                    <a:pt x="379343" y="273870"/>
                  </a:lnTo>
                  <a:lnTo>
                    <a:pt x="372821" y="287731"/>
                  </a:lnTo>
                  <a:lnTo>
                    <a:pt x="365278" y="300979"/>
                  </a:lnTo>
                  <a:lnTo>
                    <a:pt x="356765" y="313562"/>
                  </a:lnTo>
                  <a:lnTo>
                    <a:pt x="347333" y="325430"/>
                  </a:lnTo>
                  <a:lnTo>
                    <a:pt x="337032" y="336532"/>
                  </a:lnTo>
                  <a:lnTo>
                    <a:pt x="325913" y="346818"/>
                  </a:lnTo>
                  <a:lnTo>
                    <a:pt x="314028" y="356236"/>
                  </a:lnTo>
                  <a:lnTo>
                    <a:pt x="301426" y="364737"/>
                  </a:lnTo>
                  <a:lnTo>
                    <a:pt x="288159" y="372268"/>
                  </a:lnTo>
                  <a:lnTo>
                    <a:pt x="274277" y="378780"/>
                  </a:lnTo>
                  <a:lnTo>
                    <a:pt x="259832" y="384222"/>
                  </a:lnTo>
                  <a:lnTo>
                    <a:pt x="244873" y="388543"/>
                  </a:lnTo>
                  <a:lnTo>
                    <a:pt x="229453" y="391692"/>
                  </a:lnTo>
                  <a:lnTo>
                    <a:pt x="213621" y="393619"/>
                  </a:lnTo>
                  <a:lnTo>
                    <a:pt x="197429" y="394272"/>
                  </a:lnTo>
                  <a:lnTo>
                    <a:pt x="181236" y="393619"/>
                  </a:lnTo>
                  <a:lnTo>
                    <a:pt x="165405" y="391692"/>
                  </a:lnTo>
                  <a:lnTo>
                    <a:pt x="149984" y="388543"/>
                  </a:lnTo>
                  <a:lnTo>
                    <a:pt x="135026" y="384222"/>
                  </a:lnTo>
                  <a:lnTo>
                    <a:pt x="120580" y="378780"/>
                  </a:lnTo>
                  <a:lnTo>
                    <a:pt x="106699" y="372268"/>
                  </a:lnTo>
                  <a:lnTo>
                    <a:pt x="93431" y="364737"/>
                  </a:lnTo>
                  <a:lnTo>
                    <a:pt x="80830" y="356236"/>
                  </a:lnTo>
                  <a:lnTo>
                    <a:pt x="68944" y="346818"/>
                  </a:lnTo>
                  <a:lnTo>
                    <a:pt x="57825" y="336532"/>
                  </a:lnTo>
                  <a:lnTo>
                    <a:pt x="47524" y="325430"/>
                  </a:lnTo>
                  <a:lnTo>
                    <a:pt x="38092" y="313562"/>
                  </a:lnTo>
                  <a:lnTo>
                    <a:pt x="29579" y="300979"/>
                  </a:lnTo>
                  <a:lnTo>
                    <a:pt x="22036" y="287731"/>
                  </a:lnTo>
                  <a:lnTo>
                    <a:pt x="15515" y="273870"/>
                  </a:lnTo>
                  <a:lnTo>
                    <a:pt x="10065" y="259446"/>
                  </a:lnTo>
                  <a:lnTo>
                    <a:pt x="5737" y="244510"/>
                  </a:lnTo>
                  <a:lnTo>
                    <a:pt x="2584" y="229113"/>
                  </a:lnTo>
                  <a:lnTo>
                    <a:pt x="654" y="213304"/>
                  </a:lnTo>
                  <a:lnTo>
                    <a:pt x="0" y="197136"/>
                  </a:lnTo>
                  <a:lnTo>
                    <a:pt x="654" y="180967"/>
                  </a:lnTo>
                  <a:close/>
                </a:path>
              </a:pathLst>
            </a:custGeom>
            <a:solidFill>
              <a:srgbClr val="CECFC8"/>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99" name="Google Shape;2699;p39"/>
            <p:cNvSpPr/>
            <p:nvPr/>
          </p:nvSpPr>
          <p:spPr>
            <a:xfrm>
              <a:off x="373784" y="6837540"/>
              <a:ext cx="578798" cy="581782"/>
            </a:xfrm>
            <a:custGeom>
              <a:avLst/>
              <a:gdLst/>
              <a:ahLst/>
              <a:cxnLst/>
              <a:rect l="l" t="t" r="r" b="b"/>
              <a:pathLst>
                <a:path w="578798" h="581782" extrusionOk="0">
                  <a:moveTo>
                    <a:pt x="312805" y="580950"/>
                  </a:moveTo>
                  <a:lnTo>
                    <a:pt x="335838" y="578244"/>
                  </a:lnTo>
                  <a:lnTo>
                    <a:pt x="358281" y="573741"/>
                  </a:lnTo>
                  <a:lnTo>
                    <a:pt x="380061" y="567517"/>
                  </a:lnTo>
                  <a:lnTo>
                    <a:pt x="401106" y="559648"/>
                  </a:lnTo>
                  <a:lnTo>
                    <a:pt x="421341" y="550210"/>
                  </a:lnTo>
                  <a:lnTo>
                    <a:pt x="440694" y="539279"/>
                  </a:lnTo>
                  <a:lnTo>
                    <a:pt x="459093" y="526931"/>
                  </a:lnTo>
                  <a:lnTo>
                    <a:pt x="476463" y="513243"/>
                  </a:lnTo>
                  <a:lnTo>
                    <a:pt x="492732" y="498289"/>
                  </a:lnTo>
                  <a:lnTo>
                    <a:pt x="507827" y="482148"/>
                  </a:lnTo>
                  <a:lnTo>
                    <a:pt x="521675" y="464893"/>
                  </a:lnTo>
                  <a:lnTo>
                    <a:pt x="534203" y="446602"/>
                  </a:lnTo>
                  <a:lnTo>
                    <a:pt x="545338" y="427351"/>
                  </a:lnTo>
                  <a:lnTo>
                    <a:pt x="555006" y="407215"/>
                  </a:lnTo>
                  <a:lnTo>
                    <a:pt x="563135" y="386271"/>
                  </a:lnTo>
                  <a:lnTo>
                    <a:pt x="569652" y="364595"/>
                  </a:lnTo>
                  <a:lnTo>
                    <a:pt x="574483" y="342262"/>
                  </a:lnTo>
                  <a:lnTo>
                    <a:pt x="577557" y="319350"/>
                  </a:lnTo>
                  <a:lnTo>
                    <a:pt x="578727" y="297270"/>
                  </a:lnTo>
                  <a:lnTo>
                    <a:pt x="578727" y="283601"/>
                  </a:lnTo>
                  <a:lnTo>
                    <a:pt x="577155" y="258101"/>
                  </a:lnTo>
                  <a:lnTo>
                    <a:pt x="573349" y="232358"/>
                  </a:lnTo>
                  <a:lnTo>
                    <a:pt x="567353" y="207471"/>
                  </a:lnTo>
                  <a:lnTo>
                    <a:pt x="559165" y="183453"/>
                  </a:lnTo>
                  <a:lnTo>
                    <a:pt x="548787" y="160315"/>
                  </a:lnTo>
                  <a:lnTo>
                    <a:pt x="536217" y="138070"/>
                  </a:lnTo>
                  <a:lnTo>
                    <a:pt x="521458" y="116731"/>
                  </a:lnTo>
                  <a:lnTo>
                    <a:pt x="504507" y="96309"/>
                  </a:lnTo>
                  <a:lnTo>
                    <a:pt x="489695" y="80985"/>
                  </a:lnTo>
                  <a:lnTo>
                    <a:pt x="469619" y="63122"/>
                  </a:lnTo>
                  <a:lnTo>
                    <a:pt x="448594" y="47465"/>
                  </a:lnTo>
                  <a:lnTo>
                    <a:pt x="426633" y="34023"/>
                  </a:lnTo>
                  <a:lnTo>
                    <a:pt x="403744" y="22801"/>
                  </a:lnTo>
                  <a:lnTo>
                    <a:pt x="379938" y="13809"/>
                  </a:lnTo>
                  <a:lnTo>
                    <a:pt x="355225" y="7053"/>
                  </a:lnTo>
                  <a:lnTo>
                    <a:pt x="329616" y="2542"/>
                  </a:lnTo>
                  <a:lnTo>
                    <a:pt x="303120" y="282"/>
                  </a:lnTo>
                  <a:lnTo>
                    <a:pt x="289542" y="0"/>
                  </a:lnTo>
                  <a:lnTo>
                    <a:pt x="288387" y="2"/>
                  </a:lnTo>
                  <a:lnTo>
                    <a:pt x="261590" y="1221"/>
                  </a:lnTo>
                  <a:lnTo>
                    <a:pt x="235619" y="4686"/>
                  </a:lnTo>
                  <a:lnTo>
                    <a:pt x="210496" y="10391"/>
                  </a:lnTo>
                  <a:lnTo>
                    <a:pt x="186244" y="18329"/>
                  </a:lnTo>
                  <a:lnTo>
                    <a:pt x="162884" y="28496"/>
                  </a:lnTo>
                  <a:lnTo>
                    <a:pt x="140438" y="40885"/>
                  </a:lnTo>
                  <a:lnTo>
                    <a:pt x="118930" y="55492"/>
                  </a:lnTo>
                  <a:lnTo>
                    <a:pt x="98380" y="72310"/>
                  </a:lnTo>
                  <a:lnTo>
                    <a:pt x="79986" y="90113"/>
                  </a:lnTo>
                  <a:lnTo>
                    <a:pt x="62381" y="110184"/>
                  </a:lnTo>
                  <a:lnTo>
                    <a:pt x="46955" y="131228"/>
                  </a:lnTo>
                  <a:lnTo>
                    <a:pt x="33712" y="153232"/>
                  </a:lnTo>
                  <a:lnTo>
                    <a:pt x="22655" y="176180"/>
                  </a:lnTo>
                  <a:lnTo>
                    <a:pt x="29523" y="180559"/>
                  </a:lnTo>
                  <a:lnTo>
                    <a:pt x="38901" y="160578"/>
                  </a:lnTo>
                  <a:lnTo>
                    <a:pt x="49740" y="141488"/>
                  </a:lnTo>
                  <a:lnTo>
                    <a:pt x="61964" y="123364"/>
                  </a:lnTo>
                  <a:lnTo>
                    <a:pt x="75498" y="106277"/>
                  </a:lnTo>
                  <a:lnTo>
                    <a:pt x="90266" y="90300"/>
                  </a:lnTo>
                  <a:lnTo>
                    <a:pt x="106194" y="75505"/>
                  </a:lnTo>
                  <a:lnTo>
                    <a:pt x="123205" y="61964"/>
                  </a:lnTo>
                  <a:lnTo>
                    <a:pt x="141224" y="49751"/>
                  </a:lnTo>
                  <a:lnTo>
                    <a:pt x="160176" y="38936"/>
                  </a:lnTo>
                  <a:lnTo>
                    <a:pt x="179985" y="29594"/>
                  </a:lnTo>
                  <a:lnTo>
                    <a:pt x="200577" y="21795"/>
                  </a:lnTo>
                  <a:lnTo>
                    <a:pt x="221875" y="15614"/>
                  </a:lnTo>
                  <a:lnTo>
                    <a:pt x="243804" y="11121"/>
                  </a:lnTo>
                  <a:lnTo>
                    <a:pt x="266290" y="8389"/>
                  </a:lnTo>
                  <a:lnTo>
                    <a:pt x="289255" y="7492"/>
                  </a:lnTo>
                  <a:lnTo>
                    <a:pt x="312254" y="8383"/>
                  </a:lnTo>
                  <a:lnTo>
                    <a:pt x="334753" y="11095"/>
                  </a:lnTo>
                  <a:lnTo>
                    <a:pt x="356680" y="15555"/>
                  </a:lnTo>
                  <a:lnTo>
                    <a:pt x="377963" y="21692"/>
                  </a:lnTo>
                  <a:lnTo>
                    <a:pt x="398529" y="29432"/>
                  </a:lnTo>
                  <a:lnTo>
                    <a:pt x="418306" y="38703"/>
                  </a:lnTo>
                  <a:lnTo>
                    <a:pt x="437220" y="49433"/>
                  </a:lnTo>
                  <a:lnTo>
                    <a:pt x="455200" y="61549"/>
                  </a:lnTo>
                  <a:lnTo>
                    <a:pt x="472172" y="74979"/>
                  </a:lnTo>
                  <a:lnTo>
                    <a:pt x="488065" y="89651"/>
                  </a:lnTo>
                  <a:lnTo>
                    <a:pt x="502804" y="105492"/>
                  </a:lnTo>
                  <a:lnTo>
                    <a:pt x="516319" y="122430"/>
                  </a:lnTo>
                  <a:lnTo>
                    <a:pt x="528536" y="140393"/>
                  </a:lnTo>
                  <a:lnTo>
                    <a:pt x="539382" y="159307"/>
                  </a:lnTo>
                  <a:lnTo>
                    <a:pt x="548786" y="179101"/>
                  </a:lnTo>
                  <a:lnTo>
                    <a:pt x="556673" y="199702"/>
                  </a:lnTo>
                  <a:lnTo>
                    <a:pt x="562973" y="221037"/>
                  </a:lnTo>
                  <a:lnTo>
                    <a:pt x="567612" y="243036"/>
                  </a:lnTo>
                  <a:lnTo>
                    <a:pt x="570518" y="265624"/>
                  </a:lnTo>
                  <a:lnTo>
                    <a:pt x="571617" y="288730"/>
                  </a:lnTo>
                  <a:lnTo>
                    <a:pt x="570838" y="312392"/>
                  </a:lnTo>
                  <a:lnTo>
                    <a:pt x="568207" y="335447"/>
                  </a:lnTo>
                  <a:lnTo>
                    <a:pt x="563806" y="357832"/>
                  </a:lnTo>
                  <a:lnTo>
                    <a:pt x="557714" y="379482"/>
                  </a:lnTo>
                  <a:lnTo>
                    <a:pt x="550011" y="400335"/>
                  </a:lnTo>
                  <a:lnTo>
                    <a:pt x="540776" y="420328"/>
                  </a:lnTo>
                  <a:lnTo>
                    <a:pt x="530088" y="439398"/>
                  </a:lnTo>
                  <a:lnTo>
                    <a:pt x="518029" y="457482"/>
                  </a:lnTo>
                  <a:lnTo>
                    <a:pt x="504676" y="474516"/>
                  </a:lnTo>
                  <a:lnTo>
                    <a:pt x="490111" y="490437"/>
                  </a:lnTo>
                  <a:lnTo>
                    <a:pt x="474413" y="505183"/>
                  </a:lnTo>
                  <a:lnTo>
                    <a:pt x="457661" y="518690"/>
                  </a:lnTo>
                  <a:lnTo>
                    <a:pt x="439936" y="530895"/>
                  </a:lnTo>
                  <a:lnTo>
                    <a:pt x="421316" y="541736"/>
                  </a:lnTo>
                  <a:lnTo>
                    <a:pt x="401882" y="551148"/>
                  </a:lnTo>
                  <a:lnTo>
                    <a:pt x="381714" y="559069"/>
                  </a:lnTo>
                  <a:lnTo>
                    <a:pt x="360890" y="565435"/>
                  </a:lnTo>
                  <a:lnTo>
                    <a:pt x="339491" y="570184"/>
                  </a:lnTo>
                  <a:lnTo>
                    <a:pt x="317597" y="573253"/>
                  </a:lnTo>
                  <a:lnTo>
                    <a:pt x="295287" y="574578"/>
                  </a:lnTo>
                  <a:lnTo>
                    <a:pt x="271578" y="574071"/>
                  </a:lnTo>
                  <a:lnTo>
                    <a:pt x="248411" y="571650"/>
                  </a:lnTo>
                  <a:lnTo>
                    <a:pt x="225860" y="567395"/>
                  </a:lnTo>
                  <a:lnTo>
                    <a:pt x="203996" y="561385"/>
                  </a:lnTo>
                  <a:lnTo>
                    <a:pt x="182894" y="553701"/>
                  </a:lnTo>
                  <a:lnTo>
                    <a:pt x="162625" y="544420"/>
                  </a:lnTo>
                  <a:lnTo>
                    <a:pt x="143263" y="533622"/>
                  </a:lnTo>
                  <a:lnTo>
                    <a:pt x="124880" y="521387"/>
                  </a:lnTo>
                  <a:lnTo>
                    <a:pt x="107549" y="507794"/>
                  </a:lnTo>
                  <a:lnTo>
                    <a:pt x="91343" y="492923"/>
                  </a:lnTo>
                  <a:lnTo>
                    <a:pt x="76336" y="476851"/>
                  </a:lnTo>
                  <a:lnTo>
                    <a:pt x="62598" y="459660"/>
                  </a:lnTo>
                  <a:lnTo>
                    <a:pt x="50204" y="441428"/>
                  </a:lnTo>
                  <a:lnTo>
                    <a:pt x="39227" y="422234"/>
                  </a:lnTo>
                  <a:lnTo>
                    <a:pt x="29738" y="402159"/>
                  </a:lnTo>
                  <a:lnTo>
                    <a:pt x="21812" y="381280"/>
                  </a:lnTo>
                  <a:lnTo>
                    <a:pt x="15520" y="359678"/>
                  </a:lnTo>
                  <a:lnTo>
                    <a:pt x="10936" y="337431"/>
                  </a:lnTo>
                  <a:lnTo>
                    <a:pt x="8132" y="314620"/>
                  </a:lnTo>
                  <a:lnTo>
                    <a:pt x="7181" y="291323"/>
                  </a:lnTo>
                  <a:lnTo>
                    <a:pt x="8125" y="267964"/>
                  </a:lnTo>
                  <a:lnTo>
                    <a:pt x="10170" y="212341"/>
                  </a:lnTo>
                  <a:lnTo>
                    <a:pt x="7104" y="224852"/>
                  </a:lnTo>
                  <a:lnTo>
                    <a:pt x="4586" y="237587"/>
                  </a:lnTo>
                  <a:lnTo>
                    <a:pt x="2616" y="250547"/>
                  </a:lnTo>
                  <a:lnTo>
                    <a:pt x="1195" y="263727"/>
                  </a:lnTo>
                  <a:lnTo>
                    <a:pt x="322" y="277128"/>
                  </a:lnTo>
                  <a:lnTo>
                    <a:pt x="0" y="290747"/>
                  </a:lnTo>
                  <a:lnTo>
                    <a:pt x="852" y="314710"/>
                  </a:lnTo>
                  <a:lnTo>
                    <a:pt x="3616" y="338139"/>
                  </a:lnTo>
                  <a:lnTo>
                    <a:pt x="8211" y="360957"/>
                  </a:lnTo>
                  <a:lnTo>
                    <a:pt x="14557" y="383090"/>
                  </a:lnTo>
                  <a:lnTo>
                    <a:pt x="22575" y="404459"/>
                  </a:lnTo>
                  <a:lnTo>
                    <a:pt x="32185" y="424991"/>
                  </a:lnTo>
                  <a:lnTo>
                    <a:pt x="43308" y="444607"/>
                  </a:lnTo>
                  <a:lnTo>
                    <a:pt x="55863" y="463233"/>
                  </a:lnTo>
                  <a:lnTo>
                    <a:pt x="69771" y="480793"/>
                  </a:lnTo>
                  <a:lnTo>
                    <a:pt x="84952" y="497209"/>
                  </a:lnTo>
                  <a:lnTo>
                    <a:pt x="101327" y="512406"/>
                  </a:lnTo>
                  <a:lnTo>
                    <a:pt x="118816" y="526309"/>
                  </a:lnTo>
                  <a:lnTo>
                    <a:pt x="137338" y="538841"/>
                  </a:lnTo>
                  <a:lnTo>
                    <a:pt x="156815" y="549925"/>
                  </a:lnTo>
                  <a:lnTo>
                    <a:pt x="177167" y="559486"/>
                  </a:lnTo>
                  <a:lnTo>
                    <a:pt x="198313" y="567448"/>
                  </a:lnTo>
                  <a:lnTo>
                    <a:pt x="220175" y="573735"/>
                  </a:lnTo>
                  <a:lnTo>
                    <a:pt x="242673" y="578270"/>
                  </a:lnTo>
                  <a:lnTo>
                    <a:pt x="265726" y="580978"/>
                  </a:lnTo>
                  <a:lnTo>
                    <a:pt x="287513" y="581723"/>
                  </a:lnTo>
                  <a:lnTo>
                    <a:pt x="290940" y="581723"/>
                  </a:lnTo>
                  <a:lnTo>
                    <a:pt x="312805" y="580950"/>
                  </a:lnTo>
                  <a:close/>
                </a:path>
                <a:path w="578798" h="581782" extrusionOk="0">
                  <a:moveTo>
                    <a:pt x="10906" y="245136"/>
                  </a:moveTo>
                  <a:lnTo>
                    <a:pt x="15450" y="222911"/>
                  </a:lnTo>
                  <a:lnTo>
                    <a:pt x="21681" y="201361"/>
                  </a:lnTo>
                  <a:lnTo>
                    <a:pt x="29523" y="180559"/>
                  </a:lnTo>
                  <a:lnTo>
                    <a:pt x="22655" y="176180"/>
                  </a:lnTo>
                  <a:lnTo>
                    <a:pt x="17946" y="188003"/>
                  </a:lnTo>
                  <a:lnTo>
                    <a:pt x="13784" y="200058"/>
                  </a:lnTo>
                  <a:lnTo>
                    <a:pt x="10170" y="212341"/>
                  </a:lnTo>
                  <a:lnTo>
                    <a:pt x="8125" y="267964"/>
                  </a:lnTo>
                  <a:lnTo>
                    <a:pt x="10906" y="24513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00" name="Google Shape;2700;p39"/>
            <p:cNvSpPr/>
            <p:nvPr/>
          </p:nvSpPr>
          <p:spPr>
            <a:xfrm>
              <a:off x="584244" y="6885923"/>
              <a:ext cx="13282" cy="27816"/>
            </a:xfrm>
            <a:custGeom>
              <a:avLst/>
              <a:gdLst/>
              <a:ahLst/>
              <a:cxnLst/>
              <a:rect l="l" t="t" r="r" b="b"/>
              <a:pathLst>
                <a:path w="13282" h="27816" extrusionOk="0">
                  <a:moveTo>
                    <a:pt x="7379" y="2367"/>
                  </a:moveTo>
                  <a:lnTo>
                    <a:pt x="8559" y="1479"/>
                  </a:lnTo>
                  <a:lnTo>
                    <a:pt x="11216" y="0"/>
                  </a:lnTo>
                  <a:lnTo>
                    <a:pt x="12101" y="295"/>
                  </a:lnTo>
                  <a:lnTo>
                    <a:pt x="12987" y="3255"/>
                  </a:lnTo>
                  <a:lnTo>
                    <a:pt x="13282" y="4734"/>
                  </a:lnTo>
                  <a:lnTo>
                    <a:pt x="12987" y="5622"/>
                  </a:lnTo>
                  <a:lnTo>
                    <a:pt x="11511" y="6214"/>
                  </a:lnTo>
                  <a:lnTo>
                    <a:pt x="8559" y="7398"/>
                  </a:lnTo>
                  <a:lnTo>
                    <a:pt x="7083" y="10061"/>
                  </a:lnTo>
                  <a:lnTo>
                    <a:pt x="7969" y="13612"/>
                  </a:lnTo>
                  <a:lnTo>
                    <a:pt x="8854" y="16867"/>
                  </a:lnTo>
                  <a:lnTo>
                    <a:pt x="10035" y="20418"/>
                  </a:lnTo>
                  <a:lnTo>
                    <a:pt x="11216" y="23969"/>
                  </a:lnTo>
                  <a:lnTo>
                    <a:pt x="11511" y="25449"/>
                  </a:lnTo>
                  <a:lnTo>
                    <a:pt x="11216" y="26337"/>
                  </a:lnTo>
                  <a:lnTo>
                    <a:pt x="9445" y="26633"/>
                  </a:lnTo>
                  <a:lnTo>
                    <a:pt x="7969" y="27225"/>
                  </a:lnTo>
                  <a:lnTo>
                    <a:pt x="6493" y="27816"/>
                  </a:lnTo>
                  <a:lnTo>
                    <a:pt x="5903" y="25449"/>
                  </a:lnTo>
                  <a:lnTo>
                    <a:pt x="4132" y="19235"/>
                  </a:lnTo>
                  <a:lnTo>
                    <a:pt x="2066" y="13020"/>
                  </a:lnTo>
                  <a:lnTo>
                    <a:pt x="295" y="6806"/>
                  </a:lnTo>
                  <a:lnTo>
                    <a:pt x="0" y="6214"/>
                  </a:lnTo>
                  <a:lnTo>
                    <a:pt x="295" y="4734"/>
                  </a:lnTo>
                  <a:lnTo>
                    <a:pt x="885" y="4438"/>
                  </a:lnTo>
                  <a:lnTo>
                    <a:pt x="2361" y="4142"/>
                  </a:lnTo>
                  <a:lnTo>
                    <a:pt x="5608" y="4142"/>
                  </a:lnTo>
                  <a:lnTo>
                    <a:pt x="6493" y="3255"/>
                  </a:lnTo>
                  <a:lnTo>
                    <a:pt x="7379" y="2367"/>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01" name="Google Shape;2701;p39"/>
            <p:cNvSpPr/>
            <p:nvPr/>
          </p:nvSpPr>
          <p:spPr>
            <a:xfrm>
              <a:off x="570946" y="7332195"/>
              <a:ext cx="32603" cy="37491"/>
            </a:xfrm>
            <a:custGeom>
              <a:avLst/>
              <a:gdLst/>
              <a:ahLst/>
              <a:cxnLst/>
              <a:rect l="l" t="t" r="r" b="b"/>
              <a:pathLst>
                <a:path w="32603" h="37491" extrusionOk="0">
                  <a:moveTo>
                    <a:pt x="12647" y="10172"/>
                  </a:moveTo>
                  <a:lnTo>
                    <a:pt x="9275" y="13369"/>
                  </a:lnTo>
                  <a:lnTo>
                    <a:pt x="7588" y="17728"/>
                  </a:lnTo>
                  <a:lnTo>
                    <a:pt x="7869" y="22378"/>
                  </a:lnTo>
                  <a:lnTo>
                    <a:pt x="8150" y="25866"/>
                  </a:lnTo>
                  <a:lnTo>
                    <a:pt x="10118" y="28191"/>
                  </a:lnTo>
                  <a:lnTo>
                    <a:pt x="13490" y="29354"/>
                  </a:lnTo>
                  <a:lnTo>
                    <a:pt x="16301" y="30226"/>
                  </a:lnTo>
                  <a:lnTo>
                    <a:pt x="19112" y="29354"/>
                  </a:lnTo>
                  <a:lnTo>
                    <a:pt x="21079" y="26738"/>
                  </a:lnTo>
                  <a:lnTo>
                    <a:pt x="22484" y="24994"/>
                  </a:lnTo>
                  <a:lnTo>
                    <a:pt x="27825" y="25866"/>
                  </a:lnTo>
                  <a:lnTo>
                    <a:pt x="28387" y="27900"/>
                  </a:lnTo>
                  <a:lnTo>
                    <a:pt x="28668" y="28482"/>
                  </a:lnTo>
                  <a:lnTo>
                    <a:pt x="28387" y="29644"/>
                  </a:lnTo>
                  <a:lnTo>
                    <a:pt x="27825" y="30516"/>
                  </a:lnTo>
                  <a:lnTo>
                    <a:pt x="25014" y="34876"/>
                  </a:lnTo>
                  <a:lnTo>
                    <a:pt x="20798" y="37491"/>
                  </a:lnTo>
                  <a:lnTo>
                    <a:pt x="15458" y="36910"/>
                  </a:lnTo>
                  <a:lnTo>
                    <a:pt x="9275" y="36038"/>
                  </a:lnTo>
                  <a:lnTo>
                    <a:pt x="4215" y="33132"/>
                  </a:lnTo>
                  <a:lnTo>
                    <a:pt x="1405" y="27029"/>
                  </a:lnTo>
                  <a:lnTo>
                    <a:pt x="562" y="24994"/>
                  </a:lnTo>
                  <a:lnTo>
                    <a:pt x="562" y="22669"/>
                  </a:lnTo>
                  <a:lnTo>
                    <a:pt x="0" y="21216"/>
                  </a:lnTo>
                  <a:lnTo>
                    <a:pt x="843" y="13659"/>
                  </a:lnTo>
                  <a:lnTo>
                    <a:pt x="2810" y="7556"/>
                  </a:lnTo>
                  <a:lnTo>
                    <a:pt x="8712" y="3487"/>
                  </a:lnTo>
                  <a:lnTo>
                    <a:pt x="14053" y="0"/>
                  </a:lnTo>
                  <a:lnTo>
                    <a:pt x="19674" y="290"/>
                  </a:lnTo>
                  <a:lnTo>
                    <a:pt x="25014" y="3196"/>
                  </a:lnTo>
                  <a:lnTo>
                    <a:pt x="30073" y="5812"/>
                  </a:lnTo>
                  <a:lnTo>
                    <a:pt x="32603" y="9881"/>
                  </a:lnTo>
                  <a:lnTo>
                    <a:pt x="32603" y="19181"/>
                  </a:lnTo>
                  <a:lnTo>
                    <a:pt x="32041" y="19472"/>
                  </a:lnTo>
                  <a:lnTo>
                    <a:pt x="28949" y="18310"/>
                  </a:lnTo>
                  <a:lnTo>
                    <a:pt x="26419" y="17438"/>
                  </a:lnTo>
                  <a:lnTo>
                    <a:pt x="25295" y="16275"/>
                  </a:lnTo>
                  <a:lnTo>
                    <a:pt x="24733" y="13659"/>
                  </a:lnTo>
                  <a:lnTo>
                    <a:pt x="23890" y="8137"/>
                  </a:lnTo>
                  <a:lnTo>
                    <a:pt x="16582" y="6103"/>
                  </a:lnTo>
                  <a:lnTo>
                    <a:pt x="12647" y="1017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02" name="Google Shape;2702;p39"/>
            <p:cNvSpPr/>
            <p:nvPr/>
          </p:nvSpPr>
          <p:spPr>
            <a:xfrm>
              <a:off x="746202" y="7330972"/>
              <a:ext cx="5515" cy="16751"/>
            </a:xfrm>
            <a:custGeom>
              <a:avLst/>
              <a:gdLst/>
              <a:ahLst/>
              <a:cxnLst/>
              <a:rect l="l" t="t" r="r" b="b"/>
              <a:pathLst>
                <a:path w="5515" h="16751" extrusionOk="0">
                  <a:moveTo>
                    <a:pt x="290" y="1444"/>
                  </a:moveTo>
                  <a:lnTo>
                    <a:pt x="2612" y="866"/>
                  </a:lnTo>
                  <a:lnTo>
                    <a:pt x="3483" y="577"/>
                  </a:lnTo>
                  <a:lnTo>
                    <a:pt x="4354" y="0"/>
                  </a:lnTo>
                  <a:lnTo>
                    <a:pt x="5515" y="16751"/>
                  </a:lnTo>
                  <a:lnTo>
                    <a:pt x="2322" y="16751"/>
                  </a:lnTo>
                  <a:lnTo>
                    <a:pt x="1161" y="12130"/>
                  </a:lnTo>
                  <a:lnTo>
                    <a:pt x="3773" y="11841"/>
                  </a:lnTo>
                  <a:lnTo>
                    <a:pt x="2902" y="9530"/>
                  </a:lnTo>
                  <a:lnTo>
                    <a:pt x="2031" y="6931"/>
                  </a:lnTo>
                  <a:lnTo>
                    <a:pt x="870" y="4620"/>
                  </a:lnTo>
                  <a:lnTo>
                    <a:pt x="0" y="2888"/>
                  </a:lnTo>
                  <a:lnTo>
                    <a:pt x="290" y="144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03" name="Google Shape;2703;p39"/>
            <p:cNvSpPr/>
            <p:nvPr/>
          </p:nvSpPr>
          <p:spPr>
            <a:xfrm>
              <a:off x="735172" y="7330972"/>
              <a:ext cx="30187" cy="38700"/>
            </a:xfrm>
            <a:custGeom>
              <a:avLst/>
              <a:gdLst/>
              <a:ahLst/>
              <a:cxnLst/>
              <a:rect l="l" t="t" r="r" b="b"/>
              <a:pathLst>
                <a:path w="30187" h="38700" extrusionOk="0">
                  <a:moveTo>
                    <a:pt x="15384" y="0"/>
                  </a:moveTo>
                  <a:lnTo>
                    <a:pt x="16835" y="0"/>
                  </a:lnTo>
                  <a:lnTo>
                    <a:pt x="18286" y="577"/>
                  </a:lnTo>
                  <a:lnTo>
                    <a:pt x="18577" y="1155"/>
                  </a:lnTo>
                  <a:lnTo>
                    <a:pt x="23330" y="12872"/>
                  </a:lnTo>
                  <a:lnTo>
                    <a:pt x="27953" y="24719"/>
                  </a:lnTo>
                  <a:lnTo>
                    <a:pt x="29607" y="29169"/>
                  </a:lnTo>
                  <a:lnTo>
                    <a:pt x="30187" y="30614"/>
                  </a:lnTo>
                  <a:lnTo>
                    <a:pt x="29897" y="31480"/>
                  </a:lnTo>
                  <a:lnTo>
                    <a:pt x="28446" y="31769"/>
                  </a:lnTo>
                  <a:lnTo>
                    <a:pt x="26704" y="32058"/>
                  </a:lnTo>
                  <a:lnTo>
                    <a:pt x="24962" y="32346"/>
                  </a:lnTo>
                  <a:lnTo>
                    <a:pt x="23221" y="32635"/>
                  </a:lnTo>
                  <a:lnTo>
                    <a:pt x="22931" y="32924"/>
                  </a:lnTo>
                  <a:lnTo>
                    <a:pt x="22350" y="32924"/>
                  </a:lnTo>
                  <a:lnTo>
                    <a:pt x="22060" y="33213"/>
                  </a:lnTo>
                  <a:lnTo>
                    <a:pt x="18867" y="36967"/>
                  </a:lnTo>
                  <a:lnTo>
                    <a:pt x="15093" y="38700"/>
                  </a:lnTo>
                  <a:lnTo>
                    <a:pt x="10159" y="36967"/>
                  </a:lnTo>
                  <a:lnTo>
                    <a:pt x="4934" y="35235"/>
                  </a:lnTo>
                  <a:lnTo>
                    <a:pt x="2322" y="30902"/>
                  </a:lnTo>
                  <a:lnTo>
                    <a:pt x="1451" y="25704"/>
                  </a:lnTo>
                  <a:lnTo>
                    <a:pt x="0" y="19639"/>
                  </a:lnTo>
                  <a:lnTo>
                    <a:pt x="2612" y="14151"/>
                  </a:lnTo>
                  <a:lnTo>
                    <a:pt x="7546" y="12707"/>
                  </a:lnTo>
                  <a:lnTo>
                    <a:pt x="9869" y="11841"/>
                  </a:lnTo>
                  <a:lnTo>
                    <a:pt x="12191" y="12130"/>
                  </a:lnTo>
                  <a:lnTo>
                    <a:pt x="13352" y="16751"/>
                  </a:lnTo>
                  <a:lnTo>
                    <a:pt x="10449" y="16751"/>
                  </a:lnTo>
                  <a:lnTo>
                    <a:pt x="8417" y="19061"/>
                  </a:lnTo>
                  <a:lnTo>
                    <a:pt x="8417" y="27148"/>
                  </a:lnTo>
                  <a:lnTo>
                    <a:pt x="11900" y="31191"/>
                  </a:lnTo>
                  <a:lnTo>
                    <a:pt x="18286" y="31191"/>
                  </a:lnTo>
                  <a:lnTo>
                    <a:pt x="20028" y="28881"/>
                  </a:lnTo>
                  <a:lnTo>
                    <a:pt x="20028" y="21660"/>
                  </a:lnTo>
                  <a:lnTo>
                    <a:pt x="16545" y="16751"/>
                  </a:lnTo>
                  <a:lnTo>
                    <a:pt x="15384" y="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04" name="Google Shape;2704;p39"/>
            <p:cNvSpPr/>
            <p:nvPr/>
          </p:nvSpPr>
          <p:spPr>
            <a:xfrm>
              <a:off x="711026" y="7349116"/>
              <a:ext cx="26564" cy="27816"/>
            </a:xfrm>
            <a:custGeom>
              <a:avLst/>
              <a:gdLst/>
              <a:ahLst/>
              <a:cxnLst/>
              <a:rect l="l" t="t" r="r" b="b"/>
              <a:pathLst>
                <a:path w="26564" h="27816" extrusionOk="0">
                  <a:moveTo>
                    <a:pt x="8854" y="16919"/>
                  </a:moveTo>
                  <a:lnTo>
                    <a:pt x="11140" y="21794"/>
                  </a:lnTo>
                  <a:lnTo>
                    <a:pt x="15710" y="22367"/>
                  </a:lnTo>
                  <a:lnTo>
                    <a:pt x="18566" y="18353"/>
                  </a:lnTo>
                  <a:lnTo>
                    <a:pt x="19995" y="16632"/>
                  </a:lnTo>
                  <a:lnTo>
                    <a:pt x="21708" y="16058"/>
                  </a:lnTo>
                  <a:lnTo>
                    <a:pt x="23422" y="15485"/>
                  </a:lnTo>
                  <a:lnTo>
                    <a:pt x="25136" y="15198"/>
                  </a:lnTo>
                  <a:lnTo>
                    <a:pt x="25993" y="16058"/>
                  </a:lnTo>
                  <a:lnTo>
                    <a:pt x="25422" y="17492"/>
                  </a:lnTo>
                  <a:lnTo>
                    <a:pt x="24279" y="19500"/>
                  </a:lnTo>
                  <a:lnTo>
                    <a:pt x="23422" y="22080"/>
                  </a:lnTo>
                  <a:lnTo>
                    <a:pt x="21708" y="23514"/>
                  </a:lnTo>
                  <a:lnTo>
                    <a:pt x="17995" y="27242"/>
                  </a:lnTo>
                  <a:lnTo>
                    <a:pt x="11140" y="27816"/>
                  </a:lnTo>
                  <a:lnTo>
                    <a:pt x="7141" y="25522"/>
                  </a:lnTo>
                  <a:lnTo>
                    <a:pt x="2856" y="22941"/>
                  </a:lnTo>
                  <a:lnTo>
                    <a:pt x="0" y="16632"/>
                  </a:lnTo>
                  <a:lnTo>
                    <a:pt x="856" y="11183"/>
                  </a:lnTo>
                  <a:lnTo>
                    <a:pt x="1713" y="6308"/>
                  </a:lnTo>
                  <a:lnTo>
                    <a:pt x="4570" y="2867"/>
                  </a:lnTo>
                  <a:lnTo>
                    <a:pt x="7426" y="9176"/>
                  </a:lnTo>
                  <a:lnTo>
                    <a:pt x="7998" y="12044"/>
                  </a:lnTo>
                  <a:lnTo>
                    <a:pt x="10854" y="11470"/>
                  </a:lnTo>
                  <a:lnTo>
                    <a:pt x="13425" y="10610"/>
                  </a:lnTo>
                  <a:lnTo>
                    <a:pt x="16567" y="9749"/>
                  </a:lnTo>
                  <a:lnTo>
                    <a:pt x="15139" y="6882"/>
                  </a:lnTo>
                  <a:lnTo>
                    <a:pt x="13710" y="6022"/>
                  </a:lnTo>
                  <a:lnTo>
                    <a:pt x="13996" y="0"/>
                  </a:lnTo>
                  <a:lnTo>
                    <a:pt x="18281" y="860"/>
                  </a:lnTo>
                  <a:lnTo>
                    <a:pt x="21708" y="4588"/>
                  </a:lnTo>
                  <a:lnTo>
                    <a:pt x="21994" y="4875"/>
                  </a:lnTo>
                  <a:lnTo>
                    <a:pt x="22280" y="5161"/>
                  </a:lnTo>
                  <a:lnTo>
                    <a:pt x="22565" y="5735"/>
                  </a:lnTo>
                  <a:lnTo>
                    <a:pt x="26564" y="11757"/>
                  </a:lnTo>
                  <a:lnTo>
                    <a:pt x="25993" y="12617"/>
                  </a:lnTo>
                  <a:lnTo>
                    <a:pt x="19423" y="14338"/>
                  </a:lnTo>
                  <a:lnTo>
                    <a:pt x="15996" y="15198"/>
                  </a:lnTo>
                  <a:lnTo>
                    <a:pt x="12568" y="16058"/>
                  </a:lnTo>
                  <a:lnTo>
                    <a:pt x="8854" y="16919"/>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05" name="Google Shape;2705;p39"/>
            <p:cNvSpPr/>
            <p:nvPr/>
          </p:nvSpPr>
          <p:spPr>
            <a:xfrm>
              <a:off x="715597" y="7349116"/>
              <a:ext cx="9426" cy="9176"/>
            </a:xfrm>
            <a:custGeom>
              <a:avLst/>
              <a:gdLst/>
              <a:ahLst/>
              <a:cxnLst/>
              <a:rect l="l" t="t" r="r" b="b"/>
              <a:pathLst>
                <a:path w="9426" h="9176" extrusionOk="0">
                  <a:moveTo>
                    <a:pt x="6855" y="6595"/>
                  </a:moveTo>
                  <a:lnTo>
                    <a:pt x="4284" y="7455"/>
                  </a:lnTo>
                  <a:lnTo>
                    <a:pt x="2856" y="9176"/>
                  </a:lnTo>
                  <a:lnTo>
                    <a:pt x="0" y="2867"/>
                  </a:lnTo>
                  <a:lnTo>
                    <a:pt x="4855" y="1433"/>
                  </a:lnTo>
                  <a:lnTo>
                    <a:pt x="9426" y="0"/>
                  </a:lnTo>
                  <a:lnTo>
                    <a:pt x="9140" y="6022"/>
                  </a:lnTo>
                  <a:lnTo>
                    <a:pt x="6855" y="659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06" name="Google Shape;2706;p39"/>
            <p:cNvSpPr/>
            <p:nvPr/>
          </p:nvSpPr>
          <p:spPr>
            <a:xfrm>
              <a:off x="602348" y="7350335"/>
              <a:ext cx="25357" cy="29026"/>
            </a:xfrm>
            <a:custGeom>
              <a:avLst/>
              <a:gdLst/>
              <a:ahLst/>
              <a:cxnLst/>
              <a:rect l="l" t="t" r="r" b="b"/>
              <a:pathLst>
                <a:path w="25357" h="29026" extrusionOk="0">
                  <a:moveTo>
                    <a:pt x="20229" y="27248"/>
                  </a:moveTo>
                  <a:lnTo>
                    <a:pt x="14245" y="29026"/>
                  </a:lnTo>
                  <a:lnTo>
                    <a:pt x="7692" y="26656"/>
                  </a:lnTo>
                  <a:lnTo>
                    <a:pt x="2849" y="24583"/>
                  </a:lnTo>
                  <a:lnTo>
                    <a:pt x="0" y="20140"/>
                  </a:lnTo>
                  <a:lnTo>
                    <a:pt x="569" y="14216"/>
                  </a:lnTo>
                  <a:lnTo>
                    <a:pt x="854" y="7404"/>
                  </a:lnTo>
                  <a:lnTo>
                    <a:pt x="4273" y="2665"/>
                  </a:lnTo>
                  <a:lnTo>
                    <a:pt x="9972" y="1184"/>
                  </a:lnTo>
                  <a:lnTo>
                    <a:pt x="15100" y="0"/>
                  </a:lnTo>
                  <a:lnTo>
                    <a:pt x="20798" y="2073"/>
                  </a:lnTo>
                  <a:lnTo>
                    <a:pt x="23363" y="6516"/>
                  </a:lnTo>
                  <a:lnTo>
                    <a:pt x="25357" y="9774"/>
                  </a:lnTo>
                  <a:lnTo>
                    <a:pt x="25072" y="13328"/>
                  </a:lnTo>
                  <a:lnTo>
                    <a:pt x="24502" y="16882"/>
                  </a:lnTo>
                  <a:lnTo>
                    <a:pt x="24502" y="18659"/>
                  </a:lnTo>
                  <a:lnTo>
                    <a:pt x="23363" y="18955"/>
                  </a:lnTo>
                  <a:lnTo>
                    <a:pt x="21653" y="18659"/>
                  </a:lnTo>
                  <a:lnTo>
                    <a:pt x="17949" y="17474"/>
                  </a:lnTo>
                  <a:lnTo>
                    <a:pt x="17949" y="10070"/>
                  </a:lnTo>
                  <a:lnTo>
                    <a:pt x="16525" y="8885"/>
                  </a:lnTo>
                  <a:lnTo>
                    <a:pt x="15100" y="7108"/>
                  </a:lnTo>
                  <a:lnTo>
                    <a:pt x="13391" y="6812"/>
                  </a:lnTo>
                  <a:lnTo>
                    <a:pt x="11681" y="6219"/>
                  </a:lnTo>
                  <a:lnTo>
                    <a:pt x="9687" y="7404"/>
                  </a:lnTo>
                  <a:lnTo>
                    <a:pt x="9117" y="10070"/>
                  </a:lnTo>
                  <a:lnTo>
                    <a:pt x="11681" y="10662"/>
                  </a:lnTo>
                  <a:lnTo>
                    <a:pt x="13960" y="16586"/>
                  </a:lnTo>
                  <a:lnTo>
                    <a:pt x="9972" y="15697"/>
                  </a:lnTo>
                  <a:lnTo>
                    <a:pt x="9402" y="15401"/>
                  </a:lnTo>
                  <a:lnTo>
                    <a:pt x="7977" y="15401"/>
                  </a:lnTo>
                  <a:lnTo>
                    <a:pt x="7692" y="15993"/>
                  </a:lnTo>
                  <a:lnTo>
                    <a:pt x="7407" y="16586"/>
                  </a:lnTo>
                  <a:lnTo>
                    <a:pt x="7407" y="17771"/>
                  </a:lnTo>
                  <a:lnTo>
                    <a:pt x="7692" y="18659"/>
                  </a:lnTo>
                  <a:lnTo>
                    <a:pt x="8832" y="21325"/>
                  </a:lnTo>
                  <a:lnTo>
                    <a:pt x="12536" y="22806"/>
                  </a:lnTo>
                  <a:lnTo>
                    <a:pt x="15385" y="21029"/>
                  </a:lnTo>
                  <a:lnTo>
                    <a:pt x="17949" y="19548"/>
                  </a:lnTo>
                  <a:lnTo>
                    <a:pt x="20229" y="20436"/>
                  </a:lnTo>
                  <a:lnTo>
                    <a:pt x="22793" y="21621"/>
                  </a:lnTo>
                  <a:lnTo>
                    <a:pt x="20229" y="27248"/>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07" name="Google Shape;2707;p39"/>
            <p:cNvSpPr/>
            <p:nvPr/>
          </p:nvSpPr>
          <p:spPr>
            <a:xfrm>
              <a:off x="614030" y="7360405"/>
              <a:ext cx="6268" cy="7404"/>
            </a:xfrm>
            <a:custGeom>
              <a:avLst/>
              <a:gdLst/>
              <a:ahLst/>
              <a:cxnLst/>
              <a:rect l="l" t="t" r="r" b="b"/>
              <a:pathLst>
                <a:path w="6268" h="7404" extrusionOk="0">
                  <a:moveTo>
                    <a:pt x="6268" y="7404"/>
                  </a:moveTo>
                  <a:lnTo>
                    <a:pt x="2279" y="6516"/>
                  </a:lnTo>
                  <a:lnTo>
                    <a:pt x="0" y="592"/>
                  </a:lnTo>
                  <a:lnTo>
                    <a:pt x="2279" y="1480"/>
                  </a:lnTo>
                  <a:lnTo>
                    <a:pt x="4843" y="1777"/>
                  </a:lnTo>
                  <a:lnTo>
                    <a:pt x="5128" y="1777"/>
                  </a:lnTo>
                  <a:lnTo>
                    <a:pt x="5698" y="592"/>
                  </a:lnTo>
                  <a:lnTo>
                    <a:pt x="6268" y="0"/>
                  </a:lnTo>
                  <a:lnTo>
                    <a:pt x="6268" y="740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08" name="Google Shape;2708;p39"/>
            <p:cNvSpPr/>
            <p:nvPr/>
          </p:nvSpPr>
          <p:spPr>
            <a:xfrm>
              <a:off x="679636" y="7346700"/>
              <a:ext cx="15697" cy="36282"/>
            </a:xfrm>
            <a:custGeom>
              <a:avLst/>
              <a:gdLst/>
              <a:ahLst/>
              <a:cxnLst/>
              <a:rect l="l" t="t" r="r" b="b"/>
              <a:pathLst>
                <a:path w="15697" h="36282" extrusionOk="0">
                  <a:moveTo>
                    <a:pt x="13984" y="6335"/>
                  </a:moveTo>
                  <a:lnTo>
                    <a:pt x="13414" y="6622"/>
                  </a:lnTo>
                  <a:lnTo>
                    <a:pt x="12843" y="7198"/>
                  </a:lnTo>
                  <a:lnTo>
                    <a:pt x="11986" y="7198"/>
                  </a:lnTo>
                  <a:lnTo>
                    <a:pt x="11416" y="7486"/>
                  </a:lnTo>
                  <a:lnTo>
                    <a:pt x="10845" y="8062"/>
                  </a:lnTo>
                  <a:lnTo>
                    <a:pt x="10559" y="8926"/>
                  </a:lnTo>
                  <a:lnTo>
                    <a:pt x="10845" y="9502"/>
                  </a:lnTo>
                  <a:lnTo>
                    <a:pt x="10845" y="9790"/>
                  </a:lnTo>
                  <a:lnTo>
                    <a:pt x="11701" y="10366"/>
                  </a:lnTo>
                  <a:lnTo>
                    <a:pt x="12272" y="10366"/>
                  </a:lnTo>
                  <a:lnTo>
                    <a:pt x="13699" y="10654"/>
                  </a:lnTo>
                  <a:lnTo>
                    <a:pt x="15126" y="9790"/>
                  </a:lnTo>
                  <a:lnTo>
                    <a:pt x="15411" y="12094"/>
                  </a:lnTo>
                  <a:lnTo>
                    <a:pt x="15697" y="14109"/>
                  </a:lnTo>
                  <a:lnTo>
                    <a:pt x="15126" y="15261"/>
                  </a:lnTo>
                  <a:lnTo>
                    <a:pt x="12843" y="15837"/>
                  </a:lnTo>
                  <a:lnTo>
                    <a:pt x="12272" y="15837"/>
                  </a:lnTo>
                  <a:lnTo>
                    <a:pt x="11416" y="16989"/>
                  </a:lnTo>
                  <a:lnTo>
                    <a:pt x="11416" y="17853"/>
                  </a:lnTo>
                  <a:lnTo>
                    <a:pt x="11701" y="22172"/>
                  </a:lnTo>
                  <a:lnTo>
                    <a:pt x="11986" y="26491"/>
                  </a:lnTo>
                  <a:lnTo>
                    <a:pt x="12557" y="30811"/>
                  </a:lnTo>
                  <a:lnTo>
                    <a:pt x="13128" y="34842"/>
                  </a:lnTo>
                  <a:lnTo>
                    <a:pt x="12843" y="35418"/>
                  </a:lnTo>
                  <a:lnTo>
                    <a:pt x="8562" y="35706"/>
                  </a:lnTo>
                  <a:lnTo>
                    <a:pt x="6278" y="36282"/>
                  </a:lnTo>
                  <a:lnTo>
                    <a:pt x="5422" y="35130"/>
                  </a:lnTo>
                  <a:lnTo>
                    <a:pt x="5422" y="32538"/>
                  </a:lnTo>
                  <a:lnTo>
                    <a:pt x="5137" y="28219"/>
                  </a:lnTo>
                  <a:lnTo>
                    <a:pt x="4851" y="23900"/>
                  </a:lnTo>
                  <a:lnTo>
                    <a:pt x="4281" y="19292"/>
                  </a:lnTo>
                  <a:lnTo>
                    <a:pt x="4281" y="17853"/>
                  </a:lnTo>
                  <a:lnTo>
                    <a:pt x="3995" y="16125"/>
                  </a:lnTo>
                  <a:lnTo>
                    <a:pt x="1427" y="16413"/>
                  </a:lnTo>
                  <a:lnTo>
                    <a:pt x="1141" y="16413"/>
                  </a:lnTo>
                  <a:lnTo>
                    <a:pt x="0" y="14973"/>
                  </a:lnTo>
                  <a:lnTo>
                    <a:pt x="0" y="13533"/>
                  </a:lnTo>
                  <a:lnTo>
                    <a:pt x="570" y="11806"/>
                  </a:lnTo>
                  <a:lnTo>
                    <a:pt x="1141" y="11806"/>
                  </a:lnTo>
                  <a:lnTo>
                    <a:pt x="2854" y="11230"/>
                  </a:lnTo>
                  <a:lnTo>
                    <a:pt x="3139" y="10078"/>
                  </a:lnTo>
                  <a:lnTo>
                    <a:pt x="3424" y="8350"/>
                  </a:lnTo>
                  <a:lnTo>
                    <a:pt x="3995" y="3455"/>
                  </a:lnTo>
                  <a:lnTo>
                    <a:pt x="8847" y="0"/>
                  </a:lnTo>
                  <a:lnTo>
                    <a:pt x="13128" y="1439"/>
                  </a:lnTo>
                  <a:lnTo>
                    <a:pt x="13984" y="1727"/>
                  </a:lnTo>
                  <a:lnTo>
                    <a:pt x="14555" y="3743"/>
                  </a:lnTo>
                  <a:lnTo>
                    <a:pt x="14841" y="4895"/>
                  </a:lnTo>
                  <a:lnTo>
                    <a:pt x="15126" y="5471"/>
                  </a:lnTo>
                  <a:lnTo>
                    <a:pt x="13984" y="633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09" name="Google Shape;2709;p39"/>
            <p:cNvSpPr/>
            <p:nvPr/>
          </p:nvSpPr>
          <p:spPr>
            <a:xfrm>
              <a:off x="649439" y="7350331"/>
              <a:ext cx="16905" cy="32654"/>
            </a:xfrm>
            <a:custGeom>
              <a:avLst/>
              <a:gdLst/>
              <a:ahLst/>
              <a:cxnLst/>
              <a:rect l="l" t="t" r="r" b="b"/>
              <a:pathLst>
                <a:path w="16905" h="32654" extrusionOk="0">
                  <a:moveTo>
                    <a:pt x="14864" y="12536"/>
                  </a:moveTo>
                  <a:lnTo>
                    <a:pt x="14281" y="12536"/>
                  </a:lnTo>
                  <a:lnTo>
                    <a:pt x="11658" y="12245"/>
                  </a:lnTo>
                  <a:lnTo>
                    <a:pt x="11075" y="13702"/>
                  </a:lnTo>
                  <a:lnTo>
                    <a:pt x="11075" y="18367"/>
                  </a:lnTo>
                  <a:lnTo>
                    <a:pt x="10784" y="20991"/>
                  </a:lnTo>
                  <a:lnTo>
                    <a:pt x="10784" y="23324"/>
                  </a:lnTo>
                  <a:lnTo>
                    <a:pt x="10492" y="25656"/>
                  </a:lnTo>
                  <a:lnTo>
                    <a:pt x="11075" y="26822"/>
                  </a:lnTo>
                  <a:lnTo>
                    <a:pt x="13407" y="27114"/>
                  </a:lnTo>
                  <a:lnTo>
                    <a:pt x="14281" y="27406"/>
                  </a:lnTo>
                  <a:lnTo>
                    <a:pt x="15447" y="28572"/>
                  </a:lnTo>
                  <a:lnTo>
                    <a:pt x="15447" y="29446"/>
                  </a:lnTo>
                  <a:lnTo>
                    <a:pt x="15739" y="30904"/>
                  </a:lnTo>
                  <a:lnTo>
                    <a:pt x="15447" y="32362"/>
                  </a:lnTo>
                  <a:lnTo>
                    <a:pt x="13407" y="32654"/>
                  </a:lnTo>
                  <a:lnTo>
                    <a:pt x="4954" y="32654"/>
                  </a:lnTo>
                  <a:lnTo>
                    <a:pt x="3206" y="30613"/>
                  </a:lnTo>
                  <a:lnTo>
                    <a:pt x="3789" y="25365"/>
                  </a:lnTo>
                  <a:lnTo>
                    <a:pt x="3789" y="13411"/>
                  </a:lnTo>
                  <a:lnTo>
                    <a:pt x="3497" y="12245"/>
                  </a:lnTo>
                  <a:lnTo>
                    <a:pt x="1748" y="11953"/>
                  </a:lnTo>
                  <a:lnTo>
                    <a:pt x="874" y="11662"/>
                  </a:lnTo>
                  <a:lnTo>
                    <a:pt x="0" y="10495"/>
                  </a:lnTo>
                  <a:lnTo>
                    <a:pt x="0" y="8746"/>
                  </a:lnTo>
                  <a:lnTo>
                    <a:pt x="874" y="7288"/>
                  </a:lnTo>
                  <a:lnTo>
                    <a:pt x="1457" y="7288"/>
                  </a:lnTo>
                  <a:lnTo>
                    <a:pt x="4371" y="6997"/>
                  </a:lnTo>
                  <a:lnTo>
                    <a:pt x="4371" y="2040"/>
                  </a:lnTo>
                  <a:lnTo>
                    <a:pt x="3789" y="0"/>
                  </a:lnTo>
                  <a:lnTo>
                    <a:pt x="6412" y="0"/>
                  </a:lnTo>
                  <a:lnTo>
                    <a:pt x="11367" y="291"/>
                  </a:lnTo>
                  <a:lnTo>
                    <a:pt x="11658" y="291"/>
                  </a:lnTo>
                  <a:lnTo>
                    <a:pt x="11658" y="7580"/>
                  </a:lnTo>
                  <a:lnTo>
                    <a:pt x="14864" y="7580"/>
                  </a:lnTo>
                  <a:lnTo>
                    <a:pt x="16905" y="7871"/>
                  </a:lnTo>
                  <a:lnTo>
                    <a:pt x="16322" y="9912"/>
                  </a:lnTo>
                  <a:lnTo>
                    <a:pt x="16030" y="11079"/>
                  </a:lnTo>
                  <a:lnTo>
                    <a:pt x="16030" y="11662"/>
                  </a:lnTo>
                  <a:lnTo>
                    <a:pt x="14864" y="1253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10" name="Google Shape;2710;p39"/>
            <p:cNvSpPr/>
            <p:nvPr/>
          </p:nvSpPr>
          <p:spPr>
            <a:xfrm>
              <a:off x="628924" y="7355170"/>
              <a:ext cx="19319" cy="25397"/>
            </a:xfrm>
            <a:custGeom>
              <a:avLst/>
              <a:gdLst/>
              <a:ahLst/>
              <a:cxnLst/>
              <a:rect l="l" t="t" r="r" b="b"/>
              <a:pathLst>
                <a:path w="19319" h="25397" extrusionOk="0">
                  <a:moveTo>
                    <a:pt x="1463" y="15802"/>
                  </a:moveTo>
                  <a:lnTo>
                    <a:pt x="2049" y="9594"/>
                  </a:lnTo>
                  <a:lnTo>
                    <a:pt x="2927" y="3668"/>
                  </a:lnTo>
                  <a:lnTo>
                    <a:pt x="3219" y="2539"/>
                  </a:lnTo>
                  <a:lnTo>
                    <a:pt x="4098" y="846"/>
                  </a:lnTo>
                  <a:lnTo>
                    <a:pt x="6439" y="846"/>
                  </a:lnTo>
                  <a:lnTo>
                    <a:pt x="9074" y="0"/>
                  </a:lnTo>
                  <a:lnTo>
                    <a:pt x="10245" y="2821"/>
                  </a:lnTo>
                  <a:lnTo>
                    <a:pt x="10245" y="3104"/>
                  </a:lnTo>
                  <a:lnTo>
                    <a:pt x="10537" y="3104"/>
                  </a:lnTo>
                  <a:lnTo>
                    <a:pt x="10537" y="3386"/>
                  </a:lnTo>
                  <a:lnTo>
                    <a:pt x="12294" y="2821"/>
                  </a:lnTo>
                  <a:lnTo>
                    <a:pt x="14050" y="1975"/>
                  </a:lnTo>
                  <a:lnTo>
                    <a:pt x="15806" y="1693"/>
                  </a:lnTo>
                  <a:lnTo>
                    <a:pt x="16977" y="1410"/>
                  </a:lnTo>
                  <a:lnTo>
                    <a:pt x="19026" y="1975"/>
                  </a:lnTo>
                  <a:lnTo>
                    <a:pt x="19026" y="2539"/>
                  </a:lnTo>
                  <a:lnTo>
                    <a:pt x="19319" y="3950"/>
                  </a:lnTo>
                  <a:lnTo>
                    <a:pt x="19026" y="5926"/>
                  </a:lnTo>
                  <a:lnTo>
                    <a:pt x="18734" y="7337"/>
                  </a:lnTo>
                  <a:lnTo>
                    <a:pt x="18734" y="7901"/>
                  </a:lnTo>
                  <a:lnTo>
                    <a:pt x="16977" y="8183"/>
                  </a:lnTo>
                  <a:lnTo>
                    <a:pt x="16099" y="8183"/>
                  </a:lnTo>
                  <a:lnTo>
                    <a:pt x="12587" y="7901"/>
                  </a:lnTo>
                  <a:lnTo>
                    <a:pt x="9952" y="9594"/>
                  </a:lnTo>
                  <a:lnTo>
                    <a:pt x="9367" y="13545"/>
                  </a:lnTo>
                  <a:lnTo>
                    <a:pt x="8488" y="16367"/>
                  </a:lnTo>
                  <a:lnTo>
                    <a:pt x="8196" y="19753"/>
                  </a:lnTo>
                  <a:lnTo>
                    <a:pt x="7903" y="22857"/>
                  </a:lnTo>
                  <a:lnTo>
                    <a:pt x="7610" y="25115"/>
                  </a:lnTo>
                  <a:lnTo>
                    <a:pt x="6439" y="25397"/>
                  </a:lnTo>
                  <a:lnTo>
                    <a:pt x="4390" y="25115"/>
                  </a:lnTo>
                  <a:lnTo>
                    <a:pt x="2634" y="24551"/>
                  </a:lnTo>
                  <a:lnTo>
                    <a:pt x="0" y="25115"/>
                  </a:lnTo>
                  <a:lnTo>
                    <a:pt x="585" y="22011"/>
                  </a:lnTo>
                  <a:lnTo>
                    <a:pt x="1463" y="1580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11" name="Google Shape;2711;p39"/>
            <p:cNvSpPr/>
            <p:nvPr/>
          </p:nvSpPr>
          <p:spPr>
            <a:xfrm>
              <a:off x="698945" y="7355165"/>
              <a:ext cx="10867" cy="25397"/>
            </a:xfrm>
            <a:custGeom>
              <a:avLst/>
              <a:gdLst/>
              <a:ahLst/>
              <a:cxnLst/>
              <a:rect l="l" t="t" r="r" b="b"/>
              <a:pathLst>
                <a:path w="10867" h="25397" extrusionOk="0">
                  <a:moveTo>
                    <a:pt x="285" y="1167"/>
                  </a:moveTo>
                  <a:lnTo>
                    <a:pt x="571" y="1167"/>
                  </a:lnTo>
                  <a:lnTo>
                    <a:pt x="2287" y="583"/>
                  </a:lnTo>
                  <a:lnTo>
                    <a:pt x="4003" y="0"/>
                  </a:lnTo>
                  <a:lnTo>
                    <a:pt x="5719" y="0"/>
                  </a:lnTo>
                  <a:lnTo>
                    <a:pt x="6577" y="291"/>
                  </a:lnTo>
                  <a:lnTo>
                    <a:pt x="7149" y="2335"/>
                  </a:lnTo>
                  <a:lnTo>
                    <a:pt x="7435" y="3503"/>
                  </a:lnTo>
                  <a:lnTo>
                    <a:pt x="8293" y="8757"/>
                  </a:lnTo>
                  <a:lnTo>
                    <a:pt x="9151" y="14304"/>
                  </a:lnTo>
                  <a:lnTo>
                    <a:pt x="10009" y="19850"/>
                  </a:lnTo>
                  <a:lnTo>
                    <a:pt x="10867" y="24521"/>
                  </a:lnTo>
                  <a:lnTo>
                    <a:pt x="10295" y="25105"/>
                  </a:lnTo>
                  <a:lnTo>
                    <a:pt x="4861" y="25397"/>
                  </a:lnTo>
                  <a:lnTo>
                    <a:pt x="4575" y="25105"/>
                  </a:lnTo>
                  <a:lnTo>
                    <a:pt x="3717" y="24521"/>
                  </a:lnTo>
                  <a:lnTo>
                    <a:pt x="3431" y="23645"/>
                  </a:lnTo>
                  <a:lnTo>
                    <a:pt x="2287" y="16931"/>
                  </a:lnTo>
                  <a:lnTo>
                    <a:pt x="1143" y="9925"/>
                  </a:lnTo>
                  <a:lnTo>
                    <a:pt x="0" y="2919"/>
                  </a:lnTo>
                  <a:lnTo>
                    <a:pt x="0" y="2335"/>
                  </a:lnTo>
                  <a:lnTo>
                    <a:pt x="285" y="1167"/>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12" name="Google Shape;2712;p39"/>
            <p:cNvSpPr/>
            <p:nvPr/>
          </p:nvSpPr>
          <p:spPr>
            <a:xfrm>
              <a:off x="668766" y="7357586"/>
              <a:ext cx="8452" cy="25397"/>
            </a:xfrm>
            <a:custGeom>
              <a:avLst/>
              <a:gdLst/>
              <a:ahLst/>
              <a:cxnLst/>
              <a:rect l="l" t="t" r="r" b="b"/>
              <a:pathLst>
                <a:path w="8452" h="25397" extrusionOk="0">
                  <a:moveTo>
                    <a:pt x="3924" y="0"/>
                  </a:moveTo>
                  <a:lnTo>
                    <a:pt x="7546" y="0"/>
                  </a:lnTo>
                  <a:lnTo>
                    <a:pt x="7848" y="3543"/>
                  </a:lnTo>
                  <a:lnTo>
                    <a:pt x="7848" y="9745"/>
                  </a:lnTo>
                  <a:lnTo>
                    <a:pt x="8150" y="15651"/>
                  </a:lnTo>
                  <a:lnTo>
                    <a:pt x="8452" y="21853"/>
                  </a:lnTo>
                  <a:lnTo>
                    <a:pt x="8452" y="24216"/>
                  </a:lnTo>
                  <a:lnTo>
                    <a:pt x="8150" y="25397"/>
                  </a:lnTo>
                  <a:lnTo>
                    <a:pt x="905" y="25397"/>
                  </a:lnTo>
                  <a:lnTo>
                    <a:pt x="603" y="22149"/>
                  </a:lnTo>
                  <a:lnTo>
                    <a:pt x="603" y="15947"/>
                  </a:lnTo>
                  <a:lnTo>
                    <a:pt x="301" y="9745"/>
                  </a:lnTo>
                  <a:lnTo>
                    <a:pt x="301" y="3543"/>
                  </a:lnTo>
                  <a:lnTo>
                    <a:pt x="0" y="295"/>
                  </a:lnTo>
                  <a:lnTo>
                    <a:pt x="603" y="0"/>
                  </a:lnTo>
                  <a:lnTo>
                    <a:pt x="3924" y="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13" name="Google Shape;2713;p39"/>
            <p:cNvSpPr/>
            <p:nvPr/>
          </p:nvSpPr>
          <p:spPr>
            <a:xfrm>
              <a:off x="697739" y="7345484"/>
              <a:ext cx="7245" cy="7256"/>
            </a:xfrm>
            <a:custGeom>
              <a:avLst/>
              <a:gdLst/>
              <a:ahLst/>
              <a:cxnLst/>
              <a:rect l="l" t="t" r="r" b="b"/>
              <a:pathLst>
                <a:path w="7245" h="7256" extrusionOk="0">
                  <a:moveTo>
                    <a:pt x="2069" y="6977"/>
                  </a:moveTo>
                  <a:lnTo>
                    <a:pt x="0" y="6977"/>
                  </a:lnTo>
                  <a:lnTo>
                    <a:pt x="517" y="4465"/>
                  </a:lnTo>
                  <a:lnTo>
                    <a:pt x="517" y="0"/>
                  </a:lnTo>
                  <a:lnTo>
                    <a:pt x="3104" y="1116"/>
                  </a:lnTo>
                  <a:lnTo>
                    <a:pt x="4657" y="837"/>
                  </a:lnTo>
                  <a:lnTo>
                    <a:pt x="7245" y="279"/>
                  </a:lnTo>
                  <a:lnTo>
                    <a:pt x="6986" y="2790"/>
                  </a:lnTo>
                  <a:lnTo>
                    <a:pt x="7245" y="4465"/>
                  </a:lnTo>
                  <a:lnTo>
                    <a:pt x="7245" y="6140"/>
                  </a:lnTo>
                  <a:lnTo>
                    <a:pt x="5692" y="7256"/>
                  </a:lnTo>
                  <a:lnTo>
                    <a:pt x="2069" y="6977"/>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14" name="Google Shape;2714;p39"/>
            <p:cNvSpPr/>
            <p:nvPr/>
          </p:nvSpPr>
          <p:spPr>
            <a:xfrm>
              <a:off x="668767" y="7349115"/>
              <a:ext cx="7244" cy="6047"/>
            </a:xfrm>
            <a:custGeom>
              <a:avLst/>
              <a:gdLst/>
              <a:ahLst/>
              <a:cxnLst/>
              <a:rect l="l" t="t" r="r" b="b"/>
              <a:pathLst>
                <a:path w="7244" h="6047" extrusionOk="0">
                  <a:moveTo>
                    <a:pt x="2897" y="5784"/>
                  </a:moveTo>
                  <a:lnTo>
                    <a:pt x="1159" y="6047"/>
                  </a:lnTo>
                  <a:lnTo>
                    <a:pt x="0" y="6047"/>
                  </a:lnTo>
                  <a:lnTo>
                    <a:pt x="0" y="788"/>
                  </a:lnTo>
                  <a:lnTo>
                    <a:pt x="289" y="525"/>
                  </a:lnTo>
                  <a:lnTo>
                    <a:pt x="4636" y="0"/>
                  </a:lnTo>
                  <a:lnTo>
                    <a:pt x="6665" y="0"/>
                  </a:lnTo>
                  <a:lnTo>
                    <a:pt x="7244" y="788"/>
                  </a:lnTo>
                  <a:lnTo>
                    <a:pt x="7244" y="5521"/>
                  </a:lnTo>
                  <a:lnTo>
                    <a:pt x="2897" y="578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15" name="Google Shape;2715;p39"/>
            <p:cNvSpPr/>
            <p:nvPr/>
          </p:nvSpPr>
          <p:spPr>
            <a:xfrm>
              <a:off x="654264" y="6868984"/>
              <a:ext cx="31395" cy="32653"/>
            </a:xfrm>
            <a:custGeom>
              <a:avLst/>
              <a:gdLst/>
              <a:ahLst/>
              <a:cxnLst/>
              <a:rect l="l" t="t" r="r" b="b"/>
              <a:pathLst>
                <a:path w="31395" h="32653" extrusionOk="0">
                  <a:moveTo>
                    <a:pt x="8064" y="844"/>
                  </a:moveTo>
                  <a:lnTo>
                    <a:pt x="8352" y="844"/>
                  </a:lnTo>
                  <a:lnTo>
                    <a:pt x="9793" y="5630"/>
                  </a:lnTo>
                  <a:lnTo>
                    <a:pt x="11521" y="11541"/>
                  </a:lnTo>
                  <a:lnTo>
                    <a:pt x="13537" y="17171"/>
                  </a:lnTo>
                  <a:lnTo>
                    <a:pt x="15265" y="23082"/>
                  </a:lnTo>
                  <a:lnTo>
                    <a:pt x="16129" y="23082"/>
                  </a:lnTo>
                  <a:lnTo>
                    <a:pt x="16993" y="20831"/>
                  </a:lnTo>
                  <a:lnTo>
                    <a:pt x="17569" y="18860"/>
                  </a:lnTo>
                  <a:lnTo>
                    <a:pt x="18434" y="16608"/>
                  </a:lnTo>
                  <a:lnTo>
                    <a:pt x="19874" y="12667"/>
                  </a:lnTo>
                  <a:lnTo>
                    <a:pt x="21026" y="8445"/>
                  </a:lnTo>
                  <a:lnTo>
                    <a:pt x="22466" y="4504"/>
                  </a:lnTo>
                  <a:lnTo>
                    <a:pt x="23618" y="1407"/>
                  </a:lnTo>
                  <a:lnTo>
                    <a:pt x="27363" y="0"/>
                  </a:lnTo>
                  <a:lnTo>
                    <a:pt x="30243" y="1970"/>
                  </a:lnTo>
                  <a:lnTo>
                    <a:pt x="31107" y="2252"/>
                  </a:lnTo>
                  <a:lnTo>
                    <a:pt x="31395" y="3659"/>
                  </a:lnTo>
                  <a:lnTo>
                    <a:pt x="31395" y="12949"/>
                  </a:lnTo>
                  <a:lnTo>
                    <a:pt x="31107" y="21112"/>
                  </a:lnTo>
                  <a:lnTo>
                    <a:pt x="31107" y="29557"/>
                  </a:lnTo>
                  <a:lnTo>
                    <a:pt x="30819" y="31246"/>
                  </a:lnTo>
                  <a:lnTo>
                    <a:pt x="30819" y="32653"/>
                  </a:lnTo>
                  <a:lnTo>
                    <a:pt x="25923" y="32653"/>
                  </a:lnTo>
                  <a:lnTo>
                    <a:pt x="25346" y="31528"/>
                  </a:lnTo>
                  <a:lnTo>
                    <a:pt x="25346" y="11541"/>
                  </a:lnTo>
                  <a:lnTo>
                    <a:pt x="23330" y="17452"/>
                  </a:lnTo>
                  <a:lnTo>
                    <a:pt x="21026" y="23364"/>
                  </a:lnTo>
                  <a:lnTo>
                    <a:pt x="19010" y="29275"/>
                  </a:lnTo>
                  <a:lnTo>
                    <a:pt x="18434" y="30964"/>
                  </a:lnTo>
                  <a:lnTo>
                    <a:pt x="17858" y="32653"/>
                  </a:lnTo>
                  <a:lnTo>
                    <a:pt x="12961" y="32653"/>
                  </a:lnTo>
                  <a:lnTo>
                    <a:pt x="12673" y="30964"/>
                  </a:lnTo>
                  <a:lnTo>
                    <a:pt x="12097" y="29275"/>
                  </a:lnTo>
                  <a:lnTo>
                    <a:pt x="10081" y="23646"/>
                  </a:lnTo>
                  <a:lnTo>
                    <a:pt x="8352" y="18015"/>
                  </a:lnTo>
                  <a:lnTo>
                    <a:pt x="5760" y="12386"/>
                  </a:lnTo>
                  <a:lnTo>
                    <a:pt x="5760" y="13230"/>
                  </a:lnTo>
                  <a:lnTo>
                    <a:pt x="5472" y="14074"/>
                  </a:lnTo>
                  <a:lnTo>
                    <a:pt x="5472" y="31246"/>
                  </a:lnTo>
                  <a:lnTo>
                    <a:pt x="4608" y="32090"/>
                  </a:lnTo>
                  <a:lnTo>
                    <a:pt x="576" y="32090"/>
                  </a:lnTo>
                  <a:lnTo>
                    <a:pt x="0" y="30964"/>
                  </a:lnTo>
                  <a:lnTo>
                    <a:pt x="0" y="29275"/>
                  </a:lnTo>
                  <a:lnTo>
                    <a:pt x="286" y="16473"/>
                  </a:lnTo>
                  <a:lnTo>
                    <a:pt x="568" y="3879"/>
                  </a:lnTo>
                  <a:lnTo>
                    <a:pt x="576" y="3659"/>
                  </a:lnTo>
                  <a:lnTo>
                    <a:pt x="576" y="1970"/>
                  </a:lnTo>
                  <a:lnTo>
                    <a:pt x="1152" y="1126"/>
                  </a:lnTo>
                  <a:lnTo>
                    <a:pt x="2880" y="1126"/>
                  </a:lnTo>
                  <a:lnTo>
                    <a:pt x="8064" y="84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16" name="Google Shape;2716;p39"/>
            <p:cNvSpPr/>
            <p:nvPr/>
          </p:nvSpPr>
          <p:spPr>
            <a:xfrm>
              <a:off x="795543" y="6924609"/>
              <a:ext cx="37433" cy="37490"/>
            </a:xfrm>
            <a:custGeom>
              <a:avLst/>
              <a:gdLst/>
              <a:ahLst/>
              <a:cxnLst/>
              <a:rect l="l" t="t" r="r" b="b"/>
              <a:pathLst>
                <a:path w="37433" h="37490" extrusionOk="0">
                  <a:moveTo>
                    <a:pt x="580" y="16856"/>
                  </a:moveTo>
                  <a:lnTo>
                    <a:pt x="2031" y="15403"/>
                  </a:lnTo>
                  <a:lnTo>
                    <a:pt x="5513" y="11043"/>
                  </a:lnTo>
                  <a:lnTo>
                    <a:pt x="8705" y="6393"/>
                  </a:lnTo>
                  <a:lnTo>
                    <a:pt x="12187" y="2325"/>
                  </a:lnTo>
                  <a:lnTo>
                    <a:pt x="13058" y="1453"/>
                  </a:lnTo>
                  <a:lnTo>
                    <a:pt x="14509" y="0"/>
                  </a:lnTo>
                  <a:lnTo>
                    <a:pt x="15089" y="290"/>
                  </a:lnTo>
                  <a:lnTo>
                    <a:pt x="16540" y="871"/>
                  </a:lnTo>
                  <a:lnTo>
                    <a:pt x="17410" y="2325"/>
                  </a:lnTo>
                  <a:lnTo>
                    <a:pt x="18571" y="3487"/>
                  </a:lnTo>
                  <a:lnTo>
                    <a:pt x="18281" y="3778"/>
                  </a:lnTo>
                  <a:lnTo>
                    <a:pt x="18281" y="4068"/>
                  </a:lnTo>
                  <a:lnTo>
                    <a:pt x="17991" y="4359"/>
                  </a:lnTo>
                  <a:lnTo>
                    <a:pt x="22634" y="4359"/>
                  </a:lnTo>
                  <a:lnTo>
                    <a:pt x="25535" y="6103"/>
                  </a:lnTo>
                  <a:lnTo>
                    <a:pt x="26696" y="10753"/>
                  </a:lnTo>
                  <a:lnTo>
                    <a:pt x="26986" y="11334"/>
                  </a:lnTo>
                  <a:lnTo>
                    <a:pt x="28437" y="12206"/>
                  </a:lnTo>
                  <a:lnTo>
                    <a:pt x="32500" y="12206"/>
                  </a:lnTo>
                  <a:lnTo>
                    <a:pt x="34821" y="13950"/>
                  </a:lnTo>
                  <a:lnTo>
                    <a:pt x="35982" y="16565"/>
                  </a:lnTo>
                  <a:lnTo>
                    <a:pt x="37433" y="19472"/>
                  </a:lnTo>
                  <a:lnTo>
                    <a:pt x="36562" y="22087"/>
                  </a:lnTo>
                  <a:lnTo>
                    <a:pt x="34821" y="24703"/>
                  </a:lnTo>
                  <a:lnTo>
                    <a:pt x="31919" y="28190"/>
                  </a:lnTo>
                  <a:lnTo>
                    <a:pt x="29018" y="31678"/>
                  </a:lnTo>
                  <a:lnTo>
                    <a:pt x="26406" y="35456"/>
                  </a:lnTo>
                  <a:lnTo>
                    <a:pt x="24955" y="37490"/>
                  </a:lnTo>
                  <a:lnTo>
                    <a:pt x="23794" y="36618"/>
                  </a:lnTo>
                  <a:lnTo>
                    <a:pt x="22343" y="35456"/>
                  </a:lnTo>
                  <a:lnTo>
                    <a:pt x="20602" y="34293"/>
                  </a:lnTo>
                  <a:lnTo>
                    <a:pt x="20893" y="33422"/>
                  </a:lnTo>
                  <a:lnTo>
                    <a:pt x="22053" y="31968"/>
                  </a:lnTo>
                  <a:lnTo>
                    <a:pt x="24665" y="28772"/>
                  </a:lnTo>
                  <a:lnTo>
                    <a:pt x="26986" y="25575"/>
                  </a:lnTo>
                  <a:lnTo>
                    <a:pt x="29598" y="22378"/>
                  </a:lnTo>
                  <a:lnTo>
                    <a:pt x="31049" y="20634"/>
                  </a:lnTo>
                  <a:lnTo>
                    <a:pt x="31919" y="18600"/>
                  </a:lnTo>
                  <a:lnTo>
                    <a:pt x="29598" y="16856"/>
                  </a:lnTo>
                  <a:lnTo>
                    <a:pt x="27857" y="15112"/>
                  </a:lnTo>
                  <a:lnTo>
                    <a:pt x="25826" y="15403"/>
                  </a:lnTo>
                  <a:lnTo>
                    <a:pt x="23794" y="17728"/>
                  </a:lnTo>
                  <a:lnTo>
                    <a:pt x="21183" y="20634"/>
                  </a:lnTo>
                  <a:lnTo>
                    <a:pt x="18571" y="23831"/>
                  </a:lnTo>
                  <a:lnTo>
                    <a:pt x="16250" y="27318"/>
                  </a:lnTo>
                  <a:lnTo>
                    <a:pt x="15089" y="29062"/>
                  </a:lnTo>
                  <a:lnTo>
                    <a:pt x="13928" y="29062"/>
                  </a:lnTo>
                  <a:lnTo>
                    <a:pt x="12477" y="27900"/>
                  </a:lnTo>
                  <a:lnTo>
                    <a:pt x="10736" y="26737"/>
                  </a:lnTo>
                  <a:lnTo>
                    <a:pt x="10446" y="25575"/>
                  </a:lnTo>
                  <a:lnTo>
                    <a:pt x="11897" y="23831"/>
                  </a:lnTo>
                  <a:lnTo>
                    <a:pt x="14218" y="20925"/>
                  </a:lnTo>
                  <a:lnTo>
                    <a:pt x="16830" y="17728"/>
                  </a:lnTo>
                  <a:lnTo>
                    <a:pt x="19151" y="14531"/>
                  </a:lnTo>
                  <a:lnTo>
                    <a:pt x="20312" y="12787"/>
                  </a:lnTo>
                  <a:lnTo>
                    <a:pt x="22053" y="11043"/>
                  </a:lnTo>
                  <a:lnTo>
                    <a:pt x="19732" y="9009"/>
                  </a:lnTo>
                  <a:lnTo>
                    <a:pt x="17991" y="7265"/>
                  </a:lnTo>
                  <a:lnTo>
                    <a:pt x="15089" y="7556"/>
                  </a:lnTo>
                  <a:lnTo>
                    <a:pt x="13348" y="9881"/>
                  </a:lnTo>
                  <a:lnTo>
                    <a:pt x="10736" y="12787"/>
                  </a:lnTo>
                  <a:lnTo>
                    <a:pt x="8415" y="15693"/>
                  </a:lnTo>
                  <a:lnTo>
                    <a:pt x="6383" y="18890"/>
                  </a:lnTo>
                  <a:lnTo>
                    <a:pt x="4933" y="20634"/>
                  </a:lnTo>
                  <a:lnTo>
                    <a:pt x="4062" y="21215"/>
                  </a:lnTo>
                  <a:lnTo>
                    <a:pt x="2031" y="19762"/>
                  </a:lnTo>
                  <a:lnTo>
                    <a:pt x="0" y="18018"/>
                  </a:lnTo>
                  <a:lnTo>
                    <a:pt x="580" y="1685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17" name="Google Shape;2717;p39"/>
            <p:cNvSpPr/>
            <p:nvPr/>
          </p:nvSpPr>
          <p:spPr>
            <a:xfrm>
              <a:off x="753280" y="6900421"/>
              <a:ext cx="28980" cy="35072"/>
            </a:xfrm>
            <a:custGeom>
              <a:avLst/>
              <a:gdLst/>
              <a:ahLst/>
              <a:cxnLst/>
              <a:rect l="l" t="t" r="r" b="b"/>
              <a:pathLst>
                <a:path w="28980" h="35072" extrusionOk="0">
                  <a:moveTo>
                    <a:pt x="568" y="22344"/>
                  </a:moveTo>
                  <a:lnTo>
                    <a:pt x="1136" y="21212"/>
                  </a:lnTo>
                  <a:lnTo>
                    <a:pt x="2272" y="22061"/>
                  </a:lnTo>
                  <a:lnTo>
                    <a:pt x="3977" y="22627"/>
                  </a:lnTo>
                  <a:lnTo>
                    <a:pt x="5114" y="23758"/>
                  </a:lnTo>
                  <a:lnTo>
                    <a:pt x="5682" y="24607"/>
                  </a:lnTo>
                  <a:lnTo>
                    <a:pt x="5966" y="26021"/>
                  </a:lnTo>
                  <a:lnTo>
                    <a:pt x="6818" y="26869"/>
                  </a:lnTo>
                  <a:lnTo>
                    <a:pt x="9944" y="29980"/>
                  </a:lnTo>
                  <a:lnTo>
                    <a:pt x="13637" y="28566"/>
                  </a:lnTo>
                  <a:lnTo>
                    <a:pt x="14490" y="24607"/>
                  </a:lnTo>
                  <a:lnTo>
                    <a:pt x="11933" y="23758"/>
                  </a:lnTo>
                  <a:lnTo>
                    <a:pt x="9091" y="23192"/>
                  </a:lnTo>
                  <a:lnTo>
                    <a:pt x="7103" y="21778"/>
                  </a:lnTo>
                  <a:lnTo>
                    <a:pt x="2557" y="18950"/>
                  </a:lnTo>
                  <a:lnTo>
                    <a:pt x="3125" y="12162"/>
                  </a:lnTo>
                  <a:lnTo>
                    <a:pt x="5682" y="7919"/>
                  </a:lnTo>
                  <a:lnTo>
                    <a:pt x="7387" y="5656"/>
                  </a:lnTo>
                  <a:lnTo>
                    <a:pt x="9660" y="3111"/>
                  </a:lnTo>
                  <a:lnTo>
                    <a:pt x="8807" y="11313"/>
                  </a:lnTo>
                  <a:lnTo>
                    <a:pt x="9091" y="15273"/>
                  </a:lnTo>
                  <a:lnTo>
                    <a:pt x="9091" y="17818"/>
                  </a:lnTo>
                  <a:lnTo>
                    <a:pt x="11080" y="19798"/>
                  </a:lnTo>
                  <a:lnTo>
                    <a:pt x="13922" y="19798"/>
                  </a:lnTo>
                  <a:lnTo>
                    <a:pt x="17047" y="19515"/>
                  </a:lnTo>
                  <a:lnTo>
                    <a:pt x="20741" y="14990"/>
                  </a:lnTo>
                  <a:lnTo>
                    <a:pt x="20456" y="11030"/>
                  </a:lnTo>
                  <a:lnTo>
                    <a:pt x="20456" y="8485"/>
                  </a:lnTo>
                  <a:lnTo>
                    <a:pt x="18468" y="6222"/>
                  </a:lnTo>
                  <a:lnTo>
                    <a:pt x="15910" y="6222"/>
                  </a:lnTo>
                  <a:lnTo>
                    <a:pt x="12785" y="5939"/>
                  </a:lnTo>
                  <a:lnTo>
                    <a:pt x="16479" y="0"/>
                  </a:lnTo>
                  <a:lnTo>
                    <a:pt x="19888" y="1414"/>
                  </a:lnTo>
                  <a:lnTo>
                    <a:pt x="23014" y="5939"/>
                  </a:lnTo>
                  <a:lnTo>
                    <a:pt x="24150" y="5939"/>
                  </a:lnTo>
                  <a:lnTo>
                    <a:pt x="25002" y="5656"/>
                  </a:lnTo>
                  <a:lnTo>
                    <a:pt x="26139" y="5939"/>
                  </a:lnTo>
                  <a:lnTo>
                    <a:pt x="28696" y="6788"/>
                  </a:lnTo>
                  <a:lnTo>
                    <a:pt x="28980" y="7353"/>
                  </a:lnTo>
                  <a:lnTo>
                    <a:pt x="27844" y="9899"/>
                  </a:lnTo>
                  <a:lnTo>
                    <a:pt x="25002" y="15556"/>
                  </a:lnTo>
                  <a:lnTo>
                    <a:pt x="22729" y="21212"/>
                  </a:lnTo>
                  <a:lnTo>
                    <a:pt x="19888" y="26869"/>
                  </a:lnTo>
                  <a:lnTo>
                    <a:pt x="16195" y="34223"/>
                  </a:lnTo>
                  <a:lnTo>
                    <a:pt x="6534" y="35072"/>
                  </a:lnTo>
                  <a:lnTo>
                    <a:pt x="1420" y="28283"/>
                  </a:lnTo>
                  <a:lnTo>
                    <a:pt x="852" y="27152"/>
                  </a:lnTo>
                  <a:lnTo>
                    <a:pt x="284" y="26021"/>
                  </a:lnTo>
                  <a:lnTo>
                    <a:pt x="0" y="24889"/>
                  </a:lnTo>
                  <a:lnTo>
                    <a:pt x="0" y="23758"/>
                  </a:lnTo>
                  <a:lnTo>
                    <a:pt x="568" y="2234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18" name="Google Shape;2718;p39"/>
            <p:cNvSpPr/>
            <p:nvPr/>
          </p:nvSpPr>
          <p:spPr>
            <a:xfrm>
              <a:off x="762088" y="6900421"/>
              <a:ext cx="7671" cy="11313"/>
            </a:xfrm>
            <a:custGeom>
              <a:avLst/>
              <a:gdLst/>
              <a:ahLst/>
              <a:cxnLst/>
              <a:rect l="l" t="t" r="r" b="b"/>
              <a:pathLst>
                <a:path w="7671" h="11313" extrusionOk="0">
                  <a:moveTo>
                    <a:pt x="3977" y="5939"/>
                  </a:moveTo>
                  <a:lnTo>
                    <a:pt x="0" y="11313"/>
                  </a:lnTo>
                  <a:lnTo>
                    <a:pt x="852" y="3111"/>
                  </a:lnTo>
                  <a:lnTo>
                    <a:pt x="3409" y="1979"/>
                  </a:lnTo>
                  <a:lnTo>
                    <a:pt x="7671" y="0"/>
                  </a:lnTo>
                  <a:lnTo>
                    <a:pt x="3977" y="5939"/>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19" name="Google Shape;2719;p39"/>
            <p:cNvSpPr/>
            <p:nvPr/>
          </p:nvSpPr>
          <p:spPr>
            <a:xfrm>
              <a:off x="689284" y="6890508"/>
              <a:ext cx="8114" cy="14485"/>
            </a:xfrm>
            <a:custGeom>
              <a:avLst/>
              <a:gdLst/>
              <a:ahLst/>
              <a:cxnLst/>
              <a:rect l="l" t="t" r="r" b="b"/>
              <a:pathLst>
                <a:path w="8114" h="14485" extrusionOk="0">
                  <a:moveTo>
                    <a:pt x="2898" y="295"/>
                  </a:moveTo>
                  <a:lnTo>
                    <a:pt x="6375" y="0"/>
                  </a:lnTo>
                  <a:lnTo>
                    <a:pt x="8114" y="0"/>
                  </a:lnTo>
                  <a:lnTo>
                    <a:pt x="6375" y="5912"/>
                  </a:lnTo>
                  <a:lnTo>
                    <a:pt x="6085" y="6799"/>
                  </a:lnTo>
                  <a:lnTo>
                    <a:pt x="6085" y="7686"/>
                  </a:lnTo>
                  <a:lnTo>
                    <a:pt x="8114" y="14485"/>
                  </a:lnTo>
                  <a:lnTo>
                    <a:pt x="5796" y="13894"/>
                  </a:lnTo>
                  <a:lnTo>
                    <a:pt x="4057" y="13303"/>
                  </a:lnTo>
                  <a:lnTo>
                    <a:pt x="1159" y="12120"/>
                  </a:lnTo>
                  <a:lnTo>
                    <a:pt x="0" y="9164"/>
                  </a:lnTo>
                  <a:lnTo>
                    <a:pt x="289" y="5912"/>
                  </a:lnTo>
                  <a:lnTo>
                    <a:pt x="1159" y="2069"/>
                  </a:lnTo>
                  <a:lnTo>
                    <a:pt x="2898" y="29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20" name="Google Shape;2720;p39"/>
            <p:cNvSpPr/>
            <p:nvPr/>
          </p:nvSpPr>
          <p:spPr>
            <a:xfrm>
              <a:off x="691892" y="6879865"/>
              <a:ext cx="19127" cy="26606"/>
            </a:xfrm>
            <a:custGeom>
              <a:avLst/>
              <a:gdLst/>
              <a:ahLst/>
              <a:cxnLst/>
              <a:rect l="l" t="t" r="r" b="b"/>
              <a:pathLst>
                <a:path w="19127" h="26606" extrusionOk="0">
                  <a:moveTo>
                    <a:pt x="17967" y="14190"/>
                  </a:moveTo>
                  <a:lnTo>
                    <a:pt x="17678" y="16850"/>
                  </a:lnTo>
                  <a:lnTo>
                    <a:pt x="17388" y="18920"/>
                  </a:lnTo>
                  <a:lnTo>
                    <a:pt x="16808" y="20989"/>
                  </a:lnTo>
                  <a:lnTo>
                    <a:pt x="18547" y="22763"/>
                  </a:lnTo>
                  <a:lnTo>
                    <a:pt x="18837" y="23354"/>
                  </a:lnTo>
                  <a:lnTo>
                    <a:pt x="18547" y="25719"/>
                  </a:lnTo>
                  <a:lnTo>
                    <a:pt x="17967" y="25719"/>
                  </a:lnTo>
                  <a:lnTo>
                    <a:pt x="16808" y="26311"/>
                  </a:lnTo>
                  <a:lnTo>
                    <a:pt x="14780" y="26606"/>
                  </a:lnTo>
                  <a:lnTo>
                    <a:pt x="13910" y="26015"/>
                  </a:lnTo>
                  <a:lnTo>
                    <a:pt x="11881" y="23946"/>
                  </a:lnTo>
                  <a:lnTo>
                    <a:pt x="9853" y="24537"/>
                  </a:lnTo>
                  <a:lnTo>
                    <a:pt x="7534" y="24832"/>
                  </a:lnTo>
                  <a:lnTo>
                    <a:pt x="5506" y="25128"/>
                  </a:lnTo>
                  <a:lnTo>
                    <a:pt x="3477" y="18329"/>
                  </a:lnTo>
                  <a:lnTo>
                    <a:pt x="4926" y="19807"/>
                  </a:lnTo>
                  <a:lnTo>
                    <a:pt x="6085" y="20102"/>
                  </a:lnTo>
                  <a:lnTo>
                    <a:pt x="9563" y="21285"/>
                  </a:lnTo>
                  <a:lnTo>
                    <a:pt x="12171" y="18920"/>
                  </a:lnTo>
                  <a:lnTo>
                    <a:pt x="11881" y="14190"/>
                  </a:lnTo>
                  <a:lnTo>
                    <a:pt x="7824" y="14190"/>
                  </a:lnTo>
                  <a:lnTo>
                    <a:pt x="5796" y="14781"/>
                  </a:lnTo>
                  <a:lnTo>
                    <a:pt x="4926" y="14781"/>
                  </a:lnTo>
                  <a:lnTo>
                    <a:pt x="3767" y="16555"/>
                  </a:lnTo>
                  <a:lnTo>
                    <a:pt x="5506" y="10642"/>
                  </a:lnTo>
                  <a:lnTo>
                    <a:pt x="7245" y="10938"/>
                  </a:lnTo>
                  <a:lnTo>
                    <a:pt x="8983" y="10642"/>
                  </a:lnTo>
                  <a:lnTo>
                    <a:pt x="10432" y="10051"/>
                  </a:lnTo>
                  <a:lnTo>
                    <a:pt x="11881" y="9164"/>
                  </a:lnTo>
                  <a:lnTo>
                    <a:pt x="13330" y="8277"/>
                  </a:lnTo>
                  <a:lnTo>
                    <a:pt x="13041" y="7686"/>
                  </a:lnTo>
                  <a:lnTo>
                    <a:pt x="12751" y="5912"/>
                  </a:lnTo>
                  <a:lnTo>
                    <a:pt x="12171" y="5912"/>
                  </a:lnTo>
                  <a:lnTo>
                    <a:pt x="10432" y="5616"/>
                  </a:lnTo>
                  <a:lnTo>
                    <a:pt x="8114" y="5321"/>
                  </a:lnTo>
                  <a:lnTo>
                    <a:pt x="6665" y="6208"/>
                  </a:lnTo>
                  <a:lnTo>
                    <a:pt x="4926" y="7095"/>
                  </a:lnTo>
                  <a:lnTo>
                    <a:pt x="3767" y="7982"/>
                  </a:lnTo>
                  <a:lnTo>
                    <a:pt x="1738" y="7686"/>
                  </a:lnTo>
                  <a:lnTo>
                    <a:pt x="289" y="7095"/>
                  </a:lnTo>
                  <a:lnTo>
                    <a:pt x="0" y="6208"/>
                  </a:lnTo>
                  <a:lnTo>
                    <a:pt x="579" y="4730"/>
                  </a:lnTo>
                  <a:lnTo>
                    <a:pt x="1738" y="1773"/>
                  </a:lnTo>
                  <a:lnTo>
                    <a:pt x="4347" y="295"/>
                  </a:lnTo>
                  <a:lnTo>
                    <a:pt x="8983" y="0"/>
                  </a:lnTo>
                  <a:lnTo>
                    <a:pt x="10722" y="591"/>
                  </a:lnTo>
                  <a:lnTo>
                    <a:pt x="12461" y="591"/>
                  </a:lnTo>
                  <a:lnTo>
                    <a:pt x="14200" y="1478"/>
                  </a:lnTo>
                  <a:lnTo>
                    <a:pt x="17678" y="2660"/>
                  </a:lnTo>
                  <a:lnTo>
                    <a:pt x="19127" y="5321"/>
                  </a:lnTo>
                  <a:lnTo>
                    <a:pt x="18547" y="9164"/>
                  </a:lnTo>
                  <a:lnTo>
                    <a:pt x="18257" y="11825"/>
                  </a:lnTo>
                  <a:lnTo>
                    <a:pt x="17967" y="1419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21" name="Google Shape;2721;p39"/>
            <p:cNvSpPr/>
            <p:nvPr/>
          </p:nvSpPr>
          <p:spPr>
            <a:xfrm>
              <a:off x="738847" y="6900538"/>
              <a:ext cx="4600" cy="5721"/>
            </a:xfrm>
            <a:custGeom>
              <a:avLst/>
              <a:gdLst/>
              <a:ahLst/>
              <a:cxnLst/>
              <a:rect l="l" t="t" r="r" b="b"/>
              <a:pathLst>
                <a:path w="4600" h="5721" extrusionOk="0">
                  <a:moveTo>
                    <a:pt x="2012" y="5721"/>
                  </a:moveTo>
                  <a:lnTo>
                    <a:pt x="0" y="0"/>
                  </a:lnTo>
                  <a:lnTo>
                    <a:pt x="4600" y="858"/>
                  </a:lnTo>
                  <a:lnTo>
                    <a:pt x="3450" y="4863"/>
                  </a:lnTo>
                  <a:lnTo>
                    <a:pt x="2012" y="572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22" name="Google Shape;2722;p39"/>
            <p:cNvSpPr/>
            <p:nvPr/>
          </p:nvSpPr>
          <p:spPr>
            <a:xfrm>
              <a:off x="733959" y="6891956"/>
              <a:ext cx="24150" cy="26606"/>
            </a:xfrm>
            <a:custGeom>
              <a:avLst/>
              <a:gdLst/>
              <a:ahLst/>
              <a:cxnLst/>
              <a:rect l="l" t="t" r="r" b="b"/>
              <a:pathLst>
                <a:path w="24150" h="26606" extrusionOk="0">
                  <a:moveTo>
                    <a:pt x="6037" y="3146"/>
                  </a:moveTo>
                  <a:lnTo>
                    <a:pt x="7475" y="572"/>
                  </a:lnTo>
                  <a:lnTo>
                    <a:pt x="10062" y="0"/>
                  </a:lnTo>
                  <a:lnTo>
                    <a:pt x="12937" y="0"/>
                  </a:lnTo>
                  <a:lnTo>
                    <a:pt x="14662" y="286"/>
                  </a:lnTo>
                  <a:lnTo>
                    <a:pt x="16675" y="572"/>
                  </a:lnTo>
                  <a:lnTo>
                    <a:pt x="18400" y="1430"/>
                  </a:lnTo>
                  <a:lnTo>
                    <a:pt x="23000" y="3433"/>
                  </a:lnTo>
                  <a:lnTo>
                    <a:pt x="24150" y="6580"/>
                  </a:lnTo>
                  <a:lnTo>
                    <a:pt x="22713" y="11157"/>
                  </a:lnTo>
                  <a:lnTo>
                    <a:pt x="21850" y="13732"/>
                  </a:lnTo>
                  <a:lnTo>
                    <a:pt x="20988" y="16021"/>
                  </a:lnTo>
                  <a:lnTo>
                    <a:pt x="20125" y="18595"/>
                  </a:lnTo>
                  <a:lnTo>
                    <a:pt x="19550" y="20026"/>
                  </a:lnTo>
                  <a:lnTo>
                    <a:pt x="18687" y="21742"/>
                  </a:lnTo>
                  <a:lnTo>
                    <a:pt x="20125" y="23173"/>
                  </a:lnTo>
                  <a:lnTo>
                    <a:pt x="20413" y="23745"/>
                  </a:lnTo>
                  <a:lnTo>
                    <a:pt x="20125" y="25462"/>
                  </a:lnTo>
                  <a:lnTo>
                    <a:pt x="19550" y="25748"/>
                  </a:lnTo>
                  <a:lnTo>
                    <a:pt x="18687" y="26320"/>
                  </a:lnTo>
                  <a:lnTo>
                    <a:pt x="16675" y="26606"/>
                  </a:lnTo>
                  <a:lnTo>
                    <a:pt x="16387" y="26320"/>
                  </a:lnTo>
                  <a:lnTo>
                    <a:pt x="13512" y="23173"/>
                  </a:lnTo>
                  <a:lnTo>
                    <a:pt x="9775" y="23745"/>
                  </a:lnTo>
                  <a:lnTo>
                    <a:pt x="6325" y="22887"/>
                  </a:lnTo>
                  <a:lnTo>
                    <a:pt x="2300" y="22028"/>
                  </a:lnTo>
                  <a:lnTo>
                    <a:pt x="0" y="18309"/>
                  </a:lnTo>
                  <a:lnTo>
                    <a:pt x="862" y="14590"/>
                  </a:lnTo>
                  <a:lnTo>
                    <a:pt x="2012" y="10299"/>
                  </a:lnTo>
                  <a:lnTo>
                    <a:pt x="4887" y="8582"/>
                  </a:lnTo>
                  <a:lnTo>
                    <a:pt x="6900" y="14304"/>
                  </a:lnTo>
                  <a:lnTo>
                    <a:pt x="6612" y="15162"/>
                  </a:lnTo>
                  <a:lnTo>
                    <a:pt x="6325" y="16021"/>
                  </a:lnTo>
                  <a:lnTo>
                    <a:pt x="7187" y="17737"/>
                  </a:lnTo>
                  <a:lnTo>
                    <a:pt x="8050" y="18309"/>
                  </a:lnTo>
                  <a:lnTo>
                    <a:pt x="11212" y="20598"/>
                  </a:lnTo>
                  <a:lnTo>
                    <a:pt x="14662" y="18881"/>
                  </a:lnTo>
                  <a:lnTo>
                    <a:pt x="15525" y="14304"/>
                  </a:lnTo>
                  <a:lnTo>
                    <a:pt x="13512" y="13732"/>
                  </a:lnTo>
                  <a:lnTo>
                    <a:pt x="11500" y="13160"/>
                  </a:lnTo>
                  <a:lnTo>
                    <a:pt x="9487" y="13446"/>
                  </a:lnTo>
                  <a:lnTo>
                    <a:pt x="8337" y="13446"/>
                  </a:lnTo>
                  <a:lnTo>
                    <a:pt x="9487" y="9440"/>
                  </a:lnTo>
                  <a:lnTo>
                    <a:pt x="11500" y="9727"/>
                  </a:lnTo>
                  <a:lnTo>
                    <a:pt x="13512" y="10013"/>
                  </a:lnTo>
                  <a:lnTo>
                    <a:pt x="15237" y="10299"/>
                  </a:lnTo>
                  <a:lnTo>
                    <a:pt x="16100" y="10299"/>
                  </a:lnTo>
                  <a:lnTo>
                    <a:pt x="17537" y="9440"/>
                  </a:lnTo>
                  <a:lnTo>
                    <a:pt x="17825" y="8868"/>
                  </a:lnTo>
                  <a:lnTo>
                    <a:pt x="18112" y="8010"/>
                  </a:lnTo>
                  <a:lnTo>
                    <a:pt x="17537" y="6580"/>
                  </a:lnTo>
                  <a:lnTo>
                    <a:pt x="16675" y="6007"/>
                  </a:lnTo>
                  <a:lnTo>
                    <a:pt x="14950" y="4577"/>
                  </a:lnTo>
                  <a:lnTo>
                    <a:pt x="12937" y="4005"/>
                  </a:lnTo>
                  <a:lnTo>
                    <a:pt x="10925" y="5721"/>
                  </a:lnTo>
                  <a:lnTo>
                    <a:pt x="9200" y="7438"/>
                  </a:lnTo>
                  <a:lnTo>
                    <a:pt x="7475" y="6293"/>
                  </a:lnTo>
                  <a:lnTo>
                    <a:pt x="6037" y="5435"/>
                  </a:lnTo>
                  <a:lnTo>
                    <a:pt x="5750" y="5149"/>
                  </a:lnTo>
                  <a:lnTo>
                    <a:pt x="5750" y="3719"/>
                  </a:lnTo>
                  <a:lnTo>
                    <a:pt x="6037" y="314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23" name="Google Shape;2723;p39"/>
            <p:cNvSpPr/>
            <p:nvPr/>
          </p:nvSpPr>
          <p:spPr>
            <a:xfrm>
              <a:off x="777443" y="6913722"/>
              <a:ext cx="24149" cy="24187"/>
            </a:xfrm>
            <a:custGeom>
              <a:avLst/>
              <a:gdLst/>
              <a:ahLst/>
              <a:cxnLst/>
              <a:rect l="l" t="t" r="r" b="b"/>
              <a:pathLst>
                <a:path w="24149" h="24187" extrusionOk="0">
                  <a:moveTo>
                    <a:pt x="6773" y="10406"/>
                  </a:moveTo>
                  <a:lnTo>
                    <a:pt x="5890" y="10687"/>
                  </a:lnTo>
                  <a:lnTo>
                    <a:pt x="5595" y="13218"/>
                  </a:lnTo>
                  <a:lnTo>
                    <a:pt x="5301" y="16593"/>
                  </a:lnTo>
                  <a:lnTo>
                    <a:pt x="9129" y="19406"/>
                  </a:lnTo>
                  <a:lnTo>
                    <a:pt x="12369" y="18281"/>
                  </a:lnTo>
                  <a:lnTo>
                    <a:pt x="12958" y="18000"/>
                  </a:lnTo>
                  <a:lnTo>
                    <a:pt x="13547" y="17437"/>
                  </a:lnTo>
                  <a:lnTo>
                    <a:pt x="13841" y="17718"/>
                  </a:lnTo>
                  <a:lnTo>
                    <a:pt x="15314" y="18000"/>
                  </a:lnTo>
                  <a:lnTo>
                    <a:pt x="16786" y="18843"/>
                  </a:lnTo>
                  <a:lnTo>
                    <a:pt x="17964" y="19406"/>
                  </a:lnTo>
                  <a:lnTo>
                    <a:pt x="17375" y="20250"/>
                  </a:lnTo>
                  <a:lnTo>
                    <a:pt x="16786" y="21375"/>
                  </a:lnTo>
                  <a:lnTo>
                    <a:pt x="15608" y="21937"/>
                  </a:lnTo>
                  <a:lnTo>
                    <a:pt x="11780" y="24187"/>
                  </a:lnTo>
                  <a:lnTo>
                    <a:pt x="7951" y="23343"/>
                  </a:lnTo>
                  <a:lnTo>
                    <a:pt x="4417" y="20812"/>
                  </a:lnTo>
                  <a:lnTo>
                    <a:pt x="1178" y="18562"/>
                  </a:lnTo>
                  <a:lnTo>
                    <a:pt x="0" y="15187"/>
                  </a:lnTo>
                  <a:lnTo>
                    <a:pt x="588" y="11250"/>
                  </a:lnTo>
                  <a:lnTo>
                    <a:pt x="2061" y="4500"/>
                  </a:lnTo>
                  <a:lnTo>
                    <a:pt x="7068" y="0"/>
                  </a:lnTo>
                  <a:lnTo>
                    <a:pt x="13547" y="0"/>
                  </a:lnTo>
                  <a:lnTo>
                    <a:pt x="10896" y="4500"/>
                  </a:lnTo>
                  <a:lnTo>
                    <a:pt x="9129" y="7031"/>
                  </a:lnTo>
                  <a:lnTo>
                    <a:pt x="11780" y="8437"/>
                  </a:lnTo>
                  <a:lnTo>
                    <a:pt x="14430" y="9843"/>
                  </a:lnTo>
                  <a:lnTo>
                    <a:pt x="17375" y="11531"/>
                  </a:lnTo>
                  <a:lnTo>
                    <a:pt x="18848" y="8437"/>
                  </a:lnTo>
                  <a:lnTo>
                    <a:pt x="20615" y="1687"/>
                  </a:lnTo>
                  <a:lnTo>
                    <a:pt x="22382" y="5343"/>
                  </a:lnTo>
                  <a:lnTo>
                    <a:pt x="24149" y="9281"/>
                  </a:lnTo>
                  <a:lnTo>
                    <a:pt x="23560" y="13218"/>
                  </a:lnTo>
                  <a:lnTo>
                    <a:pt x="20909" y="16593"/>
                  </a:lnTo>
                  <a:lnTo>
                    <a:pt x="20615" y="17156"/>
                  </a:lnTo>
                  <a:lnTo>
                    <a:pt x="19142" y="17156"/>
                  </a:lnTo>
                  <a:lnTo>
                    <a:pt x="18553" y="16593"/>
                  </a:lnTo>
                  <a:lnTo>
                    <a:pt x="15314" y="15187"/>
                  </a:lnTo>
                  <a:lnTo>
                    <a:pt x="12074" y="13218"/>
                  </a:lnTo>
                  <a:lnTo>
                    <a:pt x="8835" y="11531"/>
                  </a:lnTo>
                  <a:lnTo>
                    <a:pt x="6773" y="1040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24" name="Google Shape;2724;p39"/>
            <p:cNvSpPr/>
            <p:nvPr/>
          </p:nvSpPr>
          <p:spPr>
            <a:xfrm>
              <a:off x="788340" y="6913722"/>
              <a:ext cx="9718" cy="8437"/>
            </a:xfrm>
            <a:custGeom>
              <a:avLst/>
              <a:gdLst/>
              <a:ahLst/>
              <a:cxnLst/>
              <a:rect l="l" t="t" r="r" b="b"/>
              <a:pathLst>
                <a:path w="9718" h="8437" extrusionOk="0">
                  <a:moveTo>
                    <a:pt x="2356" y="3656"/>
                  </a:moveTo>
                  <a:lnTo>
                    <a:pt x="0" y="4500"/>
                  </a:lnTo>
                  <a:lnTo>
                    <a:pt x="2650" y="0"/>
                  </a:lnTo>
                  <a:lnTo>
                    <a:pt x="6773" y="0"/>
                  </a:lnTo>
                  <a:lnTo>
                    <a:pt x="9718" y="1687"/>
                  </a:lnTo>
                  <a:lnTo>
                    <a:pt x="7951" y="8437"/>
                  </a:lnTo>
                  <a:lnTo>
                    <a:pt x="7068" y="6187"/>
                  </a:lnTo>
                  <a:lnTo>
                    <a:pt x="4712" y="4781"/>
                  </a:lnTo>
                  <a:lnTo>
                    <a:pt x="2356" y="365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25" name="Google Shape;2725;p39"/>
            <p:cNvSpPr/>
            <p:nvPr/>
          </p:nvSpPr>
          <p:spPr>
            <a:xfrm>
              <a:off x="842427" y="6961902"/>
              <a:ext cx="2557" cy="10125"/>
            </a:xfrm>
            <a:custGeom>
              <a:avLst/>
              <a:gdLst/>
              <a:ahLst/>
              <a:cxnLst/>
              <a:rect l="l" t="t" r="r" b="b"/>
              <a:pathLst>
                <a:path w="2557" h="10125" extrusionOk="0">
                  <a:moveTo>
                    <a:pt x="1420" y="10125"/>
                  </a:moveTo>
                  <a:lnTo>
                    <a:pt x="0" y="2531"/>
                  </a:lnTo>
                  <a:lnTo>
                    <a:pt x="1704" y="0"/>
                  </a:lnTo>
                  <a:lnTo>
                    <a:pt x="2557" y="9843"/>
                  </a:lnTo>
                  <a:lnTo>
                    <a:pt x="1420" y="1012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26" name="Google Shape;2726;p39"/>
            <p:cNvSpPr/>
            <p:nvPr/>
          </p:nvSpPr>
          <p:spPr>
            <a:xfrm>
              <a:off x="824528" y="6951215"/>
              <a:ext cx="24150" cy="24187"/>
            </a:xfrm>
            <a:custGeom>
              <a:avLst/>
              <a:gdLst/>
              <a:ahLst/>
              <a:cxnLst/>
              <a:rect l="l" t="t" r="r" b="b"/>
              <a:pathLst>
                <a:path w="24150" h="24187" extrusionOk="0">
                  <a:moveTo>
                    <a:pt x="9660" y="18843"/>
                  </a:moveTo>
                  <a:lnTo>
                    <a:pt x="11080" y="18562"/>
                  </a:lnTo>
                  <a:lnTo>
                    <a:pt x="13921" y="18562"/>
                  </a:lnTo>
                  <a:lnTo>
                    <a:pt x="15058" y="19406"/>
                  </a:lnTo>
                  <a:lnTo>
                    <a:pt x="16478" y="21656"/>
                  </a:lnTo>
                  <a:lnTo>
                    <a:pt x="13353" y="24187"/>
                  </a:lnTo>
                  <a:lnTo>
                    <a:pt x="8807" y="24187"/>
                  </a:lnTo>
                  <a:lnTo>
                    <a:pt x="5682" y="21656"/>
                  </a:lnTo>
                  <a:lnTo>
                    <a:pt x="1420" y="18843"/>
                  </a:lnTo>
                  <a:lnTo>
                    <a:pt x="0" y="14062"/>
                  </a:lnTo>
                  <a:lnTo>
                    <a:pt x="1988" y="9562"/>
                  </a:lnTo>
                  <a:lnTo>
                    <a:pt x="3693" y="5343"/>
                  </a:lnTo>
                  <a:lnTo>
                    <a:pt x="6818" y="2531"/>
                  </a:lnTo>
                  <a:lnTo>
                    <a:pt x="11364" y="1125"/>
                  </a:lnTo>
                  <a:lnTo>
                    <a:pt x="15342" y="0"/>
                  </a:lnTo>
                  <a:lnTo>
                    <a:pt x="18751" y="843"/>
                  </a:lnTo>
                  <a:lnTo>
                    <a:pt x="21593" y="3656"/>
                  </a:lnTo>
                  <a:lnTo>
                    <a:pt x="24150" y="6187"/>
                  </a:lnTo>
                  <a:lnTo>
                    <a:pt x="24150" y="9562"/>
                  </a:lnTo>
                  <a:lnTo>
                    <a:pt x="23581" y="13218"/>
                  </a:lnTo>
                  <a:lnTo>
                    <a:pt x="23297" y="13781"/>
                  </a:lnTo>
                  <a:lnTo>
                    <a:pt x="23297" y="14343"/>
                  </a:lnTo>
                  <a:lnTo>
                    <a:pt x="23013" y="14625"/>
                  </a:lnTo>
                  <a:lnTo>
                    <a:pt x="20456" y="20531"/>
                  </a:lnTo>
                  <a:lnTo>
                    <a:pt x="19604" y="10687"/>
                  </a:lnTo>
                  <a:lnTo>
                    <a:pt x="19604" y="8718"/>
                  </a:lnTo>
                  <a:lnTo>
                    <a:pt x="17899" y="6750"/>
                  </a:lnTo>
                  <a:lnTo>
                    <a:pt x="15910" y="4781"/>
                  </a:lnTo>
                  <a:lnTo>
                    <a:pt x="13921" y="4781"/>
                  </a:lnTo>
                  <a:lnTo>
                    <a:pt x="11648" y="6468"/>
                  </a:lnTo>
                  <a:lnTo>
                    <a:pt x="13637" y="8718"/>
                  </a:lnTo>
                  <a:lnTo>
                    <a:pt x="15626" y="10968"/>
                  </a:lnTo>
                  <a:lnTo>
                    <a:pt x="17899" y="13218"/>
                  </a:lnTo>
                  <a:lnTo>
                    <a:pt x="19320" y="20812"/>
                  </a:lnTo>
                  <a:lnTo>
                    <a:pt x="14774" y="16312"/>
                  </a:lnTo>
                  <a:lnTo>
                    <a:pt x="13069" y="14625"/>
                  </a:lnTo>
                  <a:lnTo>
                    <a:pt x="11364" y="12937"/>
                  </a:lnTo>
                  <a:lnTo>
                    <a:pt x="9375" y="10968"/>
                  </a:lnTo>
                  <a:lnTo>
                    <a:pt x="8239" y="9843"/>
                  </a:lnTo>
                  <a:lnTo>
                    <a:pt x="7102" y="10125"/>
                  </a:lnTo>
                  <a:lnTo>
                    <a:pt x="6534" y="11531"/>
                  </a:lnTo>
                  <a:lnTo>
                    <a:pt x="6250" y="13218"/>
                  </a:lnTo>
                  <a:lnTo>
                    <a:pt x="5966" y="15187"/>
                  </a:lnTo>
                  <a:lnTo>
                    <a:pt x="6818" y="16031"/>
                  </a:lnTo>
                  <a:lnTo>
                    <a:pt x="7671" y="17437"/>
                  </a:lnTo>
                  <a:lnTo>
                    <a:pt x="9660" y="1884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27" name="Google Shape;2727;p39"/>
            <p:cNvSpPr/>
            <p:nvPr/>
          </p:nvSpPr>
          <p:spPr>
            <a:xfrm>
              <a:off x="839026" y="6966939"/>
              <a:ext cx="27771" cy="29025"/>
            </a:xfrm>
            <a:custGeom>
              <a:avLst/>
              <a:gdLst/>
              <a:ahLst/>
              <a:cxnLst/>
              <a:rect l="l" t="t" r="r" b="b"/>
              <a:pathLst>
                <a:path w="27771" h="29025" extrusionOk="0">
                  <a:moveTo>
                    <a:pt x="13456" y="20816"/>
                  </a:moveTo>
                  <a:lnTo>
                    <a:pt x="16892" y="17884"/>
                  </a:lnTo>
                  <a:lnTo>
                    <a:pt x="20041" y="14659"/>
                  </a:lnTo>
                  <a:lnTo>
                    <a:pt x="21186" y="13779"/>
                  </a:lnTo>
                  <a:lnTo>
                    <a:pt x="21473" y="11727"/>
                  </a:lnTo>
                  <a:lnTo>
                    <a:pt x="21186" y="10554"/>
                  </a:lnTo>
                  <a:lnTo>
                    <a:pt x="20327" y="8502"/>
                  </a:lnTo>
                  <a:lnTo>
                    <a:pt x="18609" y="7622"/>
                  </a:lnTo>
                  <a:lnTo>
                    <a:pt x="16319" y="8209"/>
                  </a:lnTo>
                  <a:lnTo>
                    <a:pt x="14887" y="8502"/>
                  </a:lnTo>
                  <a:lnTo>
                    <a:pt x="13742" y="9381"/>
                  </a:lnTo>
                  <a:lnTo>
                    <a:pt x="12597" y="10261"/>
                  </a:lnTo>
                  <a:lnTo>
                    <a:pt x="10020" y="12313"/>
                  </a:lnTo>
                  <a:lnTo>
                    <a:pt x="7443" y="14366"/>
                  </a:lnTo>
                  <a:lnTo>
                    <a:pt x="4867" y="16711"/>
                  </a:lnTo>
                  <a:lnTo>
                    <a:pt x="3149" y="18177"/>
                  </a:lnTo>
                  <a:lnTo>
                    <a:pt x="2290" y="17591"/>
                  </a:lnTo>
                  <a:lnTo>
                    <a:pt x="1145" y="16125"/>
                  </a:lnTo>
                  <a:lnTo>
                    <a:pt x="0" y="14366"/>
                  </a:lnTo>
                  <a:lnTo>
                    <a:pt x="0" y="13486"/>
                  </a:lnTo>
                  <a:lnTo>
                    <a:pt x="1717" y="12313"/>
                  </a:lnTo>
                  <a:lnTo>
                    <a:pt x="6012" y="8795"/>
                  </a:lnTo>
                  <a:lnTo>
                    <a:pt x="10307" y="4984"/>
                  </a:lnTo>
                  <a:lnTo>
                    <a:pt x="14887" y="1172"/>
                  </a:lnTo>
                  <a:lnTo>
                    <a:pt x="15746" y="586"/>
                  </a:lnTo>
                  <a:lnTo>
                    <a:pt x="17751" y="0"/>
                  </a:lnTo>
                  <a:lnTo>
                    <a:pt x="18323" y="293"/>
                  </a:lnTo>
                  <a:lnTo>
                    <a:pt x="19755" y="1172"/>
                  </a:lnTo>
                  <a:lnTo>
                    <a:pt x="21186" y="2638"/>
                  </a:lnTo>
                  <a:lnTo>
                    <a:pt x="19468" y="4984"/>
                  </a:lnTo>
                  <a:lnTo>
                    <a:pt x="23763" y="5277"/>
                  </a:lnTo>
                  <a:lnTo>
                    <a:pt x="25767" y="7622"/>
                  </a:lnTo>
                  <a:lnTo>
                    <a:pt x="26912" y="10847"/>
                  </a:lnTo>
                  <a:lnTo>
                    <a:pt x="27771" y="13486"/>
                  </a:lnTo>
                  <a:lnTo>
                    <a:pt x="27199" y="15831"/>
                  </a:lnTo>
                  <a:lnTo>
                    <a:pt x="25481" y="17297"/>
                  </a:lnTo>
                  <a:lnTo>
                    <a:pt x="21473" y="21109"/>
                  </a:lnTo>
                  <a:lnTo>
                    <a:pt x="17464" y="24334"/>
                  </a:lnTo>
                  <a:lnTo>
                    <a:pt x="13170" y="27852"/>
                  </a:lnTo>
                  <a:lnTo>
                    <a:pt x="11738" y="29025"/>
                  </a:lnTo>
                  <a:lnTo>
                    <a:pt x="10879" y="28438"/>
                  </a:lnTo>
                  <a:lnTo>
                    <a:pt x="9734" y="27266"/>
                  </a:lnTo>
                  <a:lnTo>
                    <a:pt x="8875" y="25800"/>
                  </a:lnTo>
                  <a:lnTo>
                    <a:pt x="8302" y="24920"/>
                  </a:lnTo>
                  <a:lnTo>
                    <a:pt x="10020" y="23747"/>
                  </a:lnTo>
                  <a:lnTo>
                    <a:pt x="13456" y="2081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28" name="Google Shape;2728;p39"/>
            <p:cNvSpPr/>
            <p:nvPr/>
          </p:nvSpPr>
          <p:spPr>
            <a:xfrm>
              <a:off x="712242" y="6884701"/>
              <a:ext cx="22941" cy="26606"/>
            </a:xfrm>
            <a:custGeom>
              <a:avLst/>
              <a:gdLst/>
              <a:ahLst/>
              <a:cxnLst/>
              <a:rect l="l" t="t" r="r" b="b"/>
              <a:pathLst>
                <a:path w="22941" h="26606" extrusionOk="0">
                  <a:moveTo>
                    <a:pt x="12179" y="1981"/>
                  </a:moveTo>
                  <a:lnTo>
                    <a:pt x="13595" y="1415"/>
                  </a:lnTo>
                  <a:lnTo>
                    <a:pt x="15294" y="1415"/>
                  </a:lnTo>
                  <a:lnTo>
                    <a:pt x="20109" y="1698"/>
                  </a:lnTo>
                  <a:lnTo>
                    <a:pt x="22941" y="4811"/>
                  </a:lnTo>
                  <a:lnTo>
                    <a:pt x="22092" y="9623"/>
                  </a:lnTo>
                  <a:lnTo>
                    <a:pt x="21525" y="14718"/>
                  </a:lnTo>
                  <a:lnTo>
                    <a:pt x="20109" y="19530"/>
                  </a:lnTo>
                  <a:lnTo>
                    <a:pt x="18693" y="24625"/>
                  </a:lnTo>
                  <a:lnTo>
                    <a:pt x="18410" y="26606"/>
                  </a:lnTo>
                  <a:lnTo>
                    <a:pt x="16993" y="26040"/>
                  </a:lnTo>
                  <a:lnTo>
                    <a:pt x="15861" y="25757"/>
                  </a:lnTo>
                  <a:lnTo>
                    <a:pt x="14444" y="25474"/>
                  </a:lnTo>
                  <a:lnTo>
                    <a:pt x="13311" y="24908"/>
                  </a:lnTo>
                  <a:lnTo>
                    <a:pt x="13878" y="23209"/>
                  </a:lnTo>
                  <a:lnTo>
                    <a:pt x="14444" y="19813"/>
                  </a:lnTo>
                  <a:lnTo>
                    <a:pt x="15294" y="16416"/>
                  </a:lnTo>
                  <a:lnTo>
                    <a:pt x="16144" y="13303"/>
                  </a:lnTo>
                  <a:lnTo>
                    <a:pt x="16427" y="11887"/>
                  </a:lnTo>
                  <a:lnTo>
                    <a:pt x="16993" y="10755"/>
                  </a:lnTo>
                  <a:lnTo>
                    <a:pt x="16710" y="9340"/>
                  </a:lnTo>
                  <a:lnTo>
                    <a:pt x="16427" y="8208"/>
                  </a:lnTo>
                  <a:lnTo>
                    <a:pt x="15577" y="6510"/>
                  </a:lnTo>
                  <a:lnTo>
                    <a:pt x="14728" y="6227"/>
                  </a:lnTo>
                  <a:lnTo>
                    <a:pt x="13595" y="5660"/>
                  </a:lnTo>
                  <a:lnTo>
                    <a:pt x="11895" y="5943"/>
                  </a:lnTo>
                  <a:lnTo>
                    <a:pt x="10762" y="6793"/>
                  </a:lnTo>
                  <a:lnTo>
                    <a:pt x="9629" y="7642"/>
                  </a:lnTo>
                  <a:lnTo>
                    <a:pt x="8780" y="9340"/>
                  </a:lnTo>
                  <a:lnTo>
                    <a:pt x="8213" y="10755"/>
                  </a:lnTo>
                  <a:lnTo>
                    <a:pt x="7364" y="13869"/>
                  </a:lnTo>
                  <a:lnTo>
                    <a:pt x="6514" y="17265"/>
                  </a:lnTo>
                  <a:lnTo>
                    <a:pt x="5947" y="20379"/>
                  </a:lnTo>
                  <a:lnTo>
                    <a:pt x="5381" y="22077"/>
                  </a:lnTo>
                  <a:lnTo>
                    <a:pt x="5098" y="23209"/>
                  </a:lnTo>
                  <a:lnTo>
                    <a:pt x="3115" y="22643"/>
                  </a:lnTo>
                  <a:lnTo>
                    <a:pt x="1132" y="22077"/>
                  </a:lnTo>
                  <a:lnTo>
                    <a:pt x="0" y="21228"/>
                  </a:lnTo>
                  <a:lnTo>
                    <a:pt x="566" y="19247"/>
                  </a:lnTo>
                  <a:lnTo>
                    <a:pt x="2265" y="13869"/>
                  </a:lnTo>
                  <a:lnTo>
                    <a:pt x="3398" y="8208"/>
                  </a:lnTo>
                  <a:lnTo>
                    <a:pt x="4814" y="2830"/>
                  </a:lnTo>
                  <a:lnTo>
                    <a:pt x="5098" y="1698"/>
                  </a:lnTo>
                  <a:lnTo>
                    <a:pt x="6231" y="0"/>
                  </a:lnTo>
                  <a:lnTo>
                    <a:pt x="6514" y="0"/>
                  </a:lnTo>
                  <a:lnTo>
                    <a:pt x="7930" y="283"/>
                  </a:lnTo>
                  <a:lnTo>
                    <a:pt x="9346" y="1132"/>
                  </a:lnTo>
                  <a:lnTo>
                    <a:pt x="10762" y="1698"/>
                  </a:lnTo>
                  <a:lnTo>
                    <a:pt x="10762" y="1981"/>
                  </a:lnTo>
                  <a:lnTo>
                    <a:pt x="10479" y="2264"/>
                  </a:lnTo>
                  <a:lnTo>
                    <a:pt x="12179" y="198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29" name="Google Shape;2729;p39"/>
            <p:cNvSpPr/>
            <p:nvPr/>
          </p:nvSpPr>
          <p:spPr>
            <a:xfrm>
              <a:off x="853516" y="6981452"/>
              <a:ext cx="26564" cy="24187"/>
            </a:xfrm>
            <a:custGeom>
              <a:avLst/>
              <a:gdLst/>
              <a:ahLst/>
              <a:cxnLst/>
              <a:rect l="l" t="t" r="r" b="b"/>
              <a:pathLst>
                <a:path w="26564" h="24187" extrusionOk="0">
                  <a:moveTo>
                    <a:pt x="22890" y="0"/>
                  </a:moveTo>
                  <a:lnTo>
                    <a:pt x="24303" y="291"/>
                  </a:lnTo>
                  <a:lnTo>
                    <a:pt x="25433" y="2331"/>
                  </a:lnTo>
                  <a:lnTo>
                    <a:pt x="26564" y="4371"/>
                  </a:lnTo>
                  <a:lnTo>
                    <a:pt x="25716" y="4954"/>
                  </a:lnTo>
                  <a:lnTo>
                    <a:pt x="24303" y="5828"/>
                  </a:lnTo>
                  <a:lnTo>
                    <a:pt x="22607" y="6994"/>
                  </a:lnTo>
                  <a:lnTo>
                    <a:pt x="20912" y="8159"/>
                  </a:lnTo>
                  <a:lnTo>
                    <a:pt x="22607" y="10782"/>
                  </a:lnTo>
                  <a:lnTo>
                    <a:pt x="22890" y="11073"/>
                  </a:lnTo>
                  <a:lnTo>
                    <a:pt x="22042" y="12822"/>
                  </a:lnTo>
                  <a:lnTo>
                    <a:pt x="21194" y="13113"/>
                  </a:lnTo>
                  <a:lnTo>
                    <a:pt x="20912" y="13696"/>
                  </a:lnTo>
                  <a:lnTo>
                    <a:pt x="19499" y="13113"/>
                  </a:lnTo>
                  <a:lnTo>
                    <a:pt x="18934" y="12822"/>
                  </a:lnTo>
                  <a:lnTo>
                    <a:pt x="18368" y="12530"/>
                  </a:lnTo>
                  <a:lnTo>
                    <a:pt x="18086" y="11656"/>
                  </a:lnTo>
                  <a:lnTo>
                    <a:pt x="17521" y="11073"/>
                  </a:lnTo>
                  <a:lnTo>
                    <a:pt x="14129" y="13405"/>
                  </a:lnTo>
                  <a:lnTo>
                    <a:pt x="10738" y="15736"/>
                  </a:lnTo>
                  <a:lnTo>
                    <a:pt x="7630" y="18067"/>
                  </a:lnTo>
                  <a:lnTo>
                    <a:pt x="7064" y="18650"/>
                  </a:lnTo>
                  <a:lnTo>
                    <a:pt x="7064" y="20107"/>
                  </a:lnTo>
                  <a:lnTo>
                    <a:pt x="7347" y="20982"/>
                  </a:lnTo>
                  <a:lnTo>
                    <a:pt x="7912" y="22730"/>
                  </a:lnTo>
                  <a:lnTo>
                    <a:pt x="7347" y="23604"/>
                  </a:lnTo>
                  <a:lnTo>
                    <a:pt x="6217" y="24187"/>
                  </a:lnTo>
                  <a:lnTo>
                    <a:pt x="5369" y="24187"/>
                  </a:lnTo>
                  <a:lnTo>
                    <a:pt x="3956" y="23896"/>
                  </a:lnTo>
                  <a:lnTo>
                    <a:pt x="3108" y="23313"/>
                  </a:lnTo>
                  <a:lnTo>
                    <a:pt x="0" y="19816"/>
                  </a:lnTo>
                  <a:lnTo>
                    <a:pt x="282" y="16902"/>
                  </a:lnTo>
                  <a:lnTo>
                    <a:pt x="4238" y="13988"/>
                  </a:lnTo>
                  <a:lnTo>
                    <a:pt x="6782" y="11656"/>
                  </a:lnTo>
                  <a:lnTo>
                    <a:pt x="9608" y="9908"/>
                  </a:lnTo>
                  <a:lnTo>
                    <a:pt x="12434" y="7868"/>
                  </a:lnTo>
                  <a:lnTo>
                    <a:pt x="13564" y="6994"/>
                  </a:lnTo>
                  <a:lnTo>
                    <a:pt x="14412" y="6119"/>
                  </a:lnTo>
                  <a:lnTo>
                    <a:pt x="13564" y="4662"/>
                  </a:lnTo>
                  <a:lnTo>
                    <a:pt x="13282" y="4079"/>
                  </a:lnTo>
                  <a:lnTo>
                    <a:pt x="13564" y="2914"/>
                  </a:lnTo>
                  <a:lnTo>
                    <a:pt x="14129" y="2622"/>
                  </a:lnTo>
                  <a:lnTo>
                    <a:pt x="14695" y="2039"/>
                  </a:lnTo>
                  <a:lnTo>
                    <a:pt x="16390" y="1457"/>
                  </a:lnTo>
                  <a:lnTo>
                    <a:pt x="16390" y="1748"/>
                  </a:lnTo>
                  <a:lnTo>
                    <a:pt x="18368" y="4079"/>
                  </a:lnTo>
                  <a:lnTo>
                    <a:pt x="19781" y="2622"/>
                  </a:lnTo>
                  <a:lnTo>
                    <a:pt x="21194" y="1457"/>
                  </a:lnTo>
                  <a:lnTo>
                    <a:pt x="22890" y="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30" name="Google Shape;2730;p39"/>
            <p:cNvSpPr/>
            <p:nvPr/>
          </p:nvSpPr>
          <p:spPr>
            <a:xfrm>
              <a:off x="865592" y="7004434"/>
              <a:ext cx="33808" cy="29025"/>
            </a:xfrm>
            <a:custGeom>
              <a:avLst/>
              <a:gdLst/>
              <a:ahLst/>
              <a:cxnLst/>
              <a:rect l="l" t="t" r="r" b="b"/>
              <a:pathLst>
                <a:path w="33808" h="29025" extrusionOk="0">
                  <a:moveTo>
                    <a:pt x="16622" y="0"/>
                  </a:moveTo>
                  <a:lnTo>
                    <a:pt x="26483" y="0"/>
                  </a:lnTo>
                  <a:lnTo>
                    <a:pt x="30146" y="2561"/>
                  </a:lnTo>
                  <a:lnTo>
                    <a:pt x="32118" y="7683"/>
                  </a:lnTo>
                  <a:lnTo>
                    <a:pt x="33808" y="11951"/>
                  </a:lnTo>
                  <a:lnTo>
                    <a:pt x="33245" y="16220"/>
                  </a:lnTo>
                  <a:lnTo>
                    <a:pt x="30146" y="19065"/>
                  </a:lnTo>
                  <a:lnTo>
                    <a:pt x="29301" y="19634"/>
                  </a:lnTo>
                  <a:lnTo>
                    <a:pt x="27328" y="20204"/>
                  </a:lnTo>
                  <a:lnTo>
                    <a:pt x="27047" y="19919"/>
                  </a:lnTo>
                  <a:lnTo>
                    <a:pt x="26201" y="18496"/>
                  </a:lnTo>
                  <a:lnTo>
                    <a:pt x="24511" y="17073"/>
                  </a:lnTo>
                  <a:lnTo>
                    <a:pt x="25920" y="15081"/>
                  </a:lnTo>
                  <a:lnTo>
                    <a:pt x="28174" y="11951"/>
                  </a:lnTo>
                  <a:lnTo>
                    <a:pt x="28174" y="9106"/>
                  </a:lnTo>
                  <a:lnTo>
                    <a:pt x="25356" y="6829"/>
                  </a:lnTo>
                  <a:lnTo>
                    <a:pt x="24511" y="5975"/>
                  </a:lnTo>
                  <a:lnTo>
                    <a:pt x="22539" y="5406"/>
                  </a:lnTo>
                  <a:lnTo>
                    <a:pt x="21694" y="5975"/>
                  </a:lnTo>
                  <a:lnTo>
                    <a:pt x="20567" y="6260"/>
                  </a:lnTo>
                  <a:lnTo>
                    <a:pt x="19721" y="7967"/>
                  </a:lnTo>
                  <a:lnTo>
                    <a:pt x="19721" y="9106"/>
                  </a:lnTo>
                  <a:lnTo>
                    <a:pt x="20003" y="11951"/>
                  </a:lnTo>
                  <a:lnTo>
                    <a:pt x="20567" y="14512"/>
                  </a:lnTo>
                  <a:lnTo>
                    <a:pt x="21130" y="17358"/>
                  </a:lnTo>
                  <a:lnTo>
                    <a:pt x="21975" y="23334"/>
                  </a:lnTo>
                  <a:lnTo>
                    <a:pt x="19440" y="27318"/>
                  </a:lnTo>
                  <a:lnTo>
                    <a:pt x="14087" y="28740"/>
                  </a:lnTo>
                  <a:lnTo>
                    <a:pt x="13241" y="28740"/>
                  </a:lnTo>
                  <a:lnTo>
                    <a:pt x="12678" y="29025"/>
                  </a:lnTo>
                  <a:lnTo>
                    <a:pt x="12114" y="28740"/>
                  </a:lnTo>
                  <a:lnTo>
                    <a:pt x="7888" y="28740"/>
                  </a:lnTo>
                  <a:lnTo>
                    <a:pt x="3662" y="25041"/>
                  </a:lnTo>
                  <a:lnTo>
                    <a:pt x="1690" y="19919"/>
                  </a:lnTo>
                  <a:lnTo>
                    <a:pt x="0" y="14797"/>
                  </a:lnTo>
                  <a:lnTo>
                    <a:pt x="845" y="10528"/>
                  </a:lnTo>
                  <a:lnTo>
                    <a:pt x="4226" y="7683"/>
                  </a:lnTo>
                  <a:lnTo>
                    <a:pt x="5071" y="6829"/>
                  </a:lnTo>
                  <a:lnTo>
                    <a:pt x="7043" y="6260"/>
                  </a:lnTo>
                  <a:lnTo>
                    <a:pt x="7606" y="6829"/>
                  </a:lnTo>
                  <a:lnTo>
                    <a:pt x="9579" y="8252"/>
                  </a:lnTo>
                  <a:lnTo>
                    <a:pt x="9579" y="10244"/>
                  </a:lnTo>
                  <a:lnTo>
                    <a:pt x="8170" y="11667"/>
                  </a:lnTo>
                  <a:lnTo>
                    <a:pt x="5353" y="14797"/>
                  </a:lnTo>
                  <a:lnTo>
                    <a:pt x="5634" y="19919"/>
                  </a:lnTo>
                  <a:lnTo>
                    <a:pt x="9297" y="22196"/>
                  </a:lnTo>
                  <a:lnTo>
                    <a:pt x="10424" y="22765"/>
                  </a:lnTo>
                  <a:lnTo>
                    <a:pt x="12678" y="23049"/>
                  </a:lnTo>
                  <a:lnTo>
                    <a:pt x="13805" y="22480"/>
                  </a:lnTo>
                  <a:lnTo>
                    <a:pt x="14932" y="21626"/>
                  </a:lnTo>
                  <a:lnTo>
                    <a:pt x="15495" y="19634"/>
                  </a:lnTo>
                  <a:lnTo>
                    <a:pt x="15495" y="15366"/>
                  </a:lnTo>
                  <a:lnTo>
                    <a:pt x="14368" y="12520"/>
                  </a:lnTo>
                  <a:lnTo>
                    <a:pt x="13805" y="9959"/>
                  </a:lnTo>
                  <a:lnTo>
                    <a:pt x="12960" y="4268"/>
                  </a:lnTo>
                  <a:lnTo>
                    <a:pt x="16622" y="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31" name="Google Shape;2731;p39"/>
            <p:cNvSpPr/>
            <p:nvPr/>
          </p:nvSpPr>
          <p:spPr>
            <a:xfrm>
              <a:off x="893361" y="7110881"/>
              <a:ext cx="25356" cy="31445"/>
            </a:xfrm>
            <a:custGeom>
              <a:avLst/>
              <a:gdLst/>
              <a:ahLst/>
              <a:cxnLst/>
              <a:rect l="l" t="t" r="r" b="b"/>
              <a:pathLst>
                <a:path w="25356" h="31445" extrusionOk="0">
                  <a:moveTo>
                    <a:pt x="0" y="16013"/>
                  </a:moveTo>
                  <a:lnTo>
                    <a:pt x="0" y="13975"/>
                  </a:lnTo>
                  <a:lnTo>
                    <a:pt x="1165" y="13393"/>
                  </a:lnTo>
                  <a:lnTo>
                    <a:pt x="6995" y="13393"/>
                  </a:lnTo>
                  <a:lnTo>
                    <a:pt x="11366" y="13102"/>
                  </a:lnTo>
                  <a:lnTo>
                    <a:pt x="15447" y="12811"/>
                  </a:lnTo>
                  <a:lnTo>
                    <a:pt x="19236" y="12811"/>
                  </a:lnTo>
                  <a:lnTo>
                    <a:pt x="19527" y="10481"/>
                  </a:lnTo>
                  <a:lnTo>
                    <a:pt x="19819" y="8152"/>
                  </a:lnTo>
                  <a:lnTo>
                    <a:pt x="18653" y="6405"/>
                  </a:lnTo>
                  <a:lnTo>
                    <a:pt x="16613" y="6114"/>
                  </a:lnTo>
                  <a:lnTo>
                    <a:pt x="12532" y="5532"/>
                  </a:lnTo>
                  <a:lnTo>
                    <a:pt x="4080" y="5532"/>
                  </a:lnTo>
                  <a:lnTo>
                    <a:pt x="874" y="5823"/>
                  </a:lnTo>
                  <a:lnTo>
                    <a:pt x="0" y="5240"/>
                  </a:lnTo>
                  <a:lnTo>
                    <a:pt x="0" y="873"/>
                  </a:lnTo>
                  <a:lnTo>
                    <a:pt x="874" y="0"/>
                  </a:lnTo>
                  <a:lnTo>
                    <a:pt x="21859" y="0"/>
                  </a:lnTo>
                  <a:lnTo>
                    <a:pt x="23316" y="873"/>
                  </a:lnTo>
                  <a:lnTo>
                    <a:pt x="23316" y="1164"/>
                  </a:lnTo>
                  <a:lnTo>
                    <a:pt x="23608" y="2620"/>
                  </a:lnTo>
                  <a:lnTo>
                    <a:pt x="23025" y="4076"/>
                  </a:lnTo>
                  <a:lnTo>
                    <a:pt x="23025" y="5532"/>
                  </a:lnTo>
                  <a:lnTo>
                    <a:pt x="22733" y="5532"/>
                  </a:lnTo>
                  <a:lnTo>
                    <a:pt x="22442" y="5823"/>
                  </a:lnTo>
                  <a:lnTo>
                    <a:pt x="22150" y="5823"/>
                  </a:lnTo>
                  <a:lnTo>
                    <a:pt x="24774" y="9317"/>
                  </a:lnTo>
                  <a:lnTo>
                    <a:pt x="25356" y="13102"/>
                  </a:lnTo>
                  <a:lnTo>
                    <a:pt x="22442" y="16887"/>
                  </a:lnTo>
                  <a:lnTo>
                    <a:pt x="22150" y="17178"/>
                  </a:lnTo>
                  <a:lnTo>
                    <a:pt x="22442" y="18343"/>
                  </a:lnTo>
                  <a:lnTo>
                    <a:pt x="22733" y="18925"/>
                  </a:lnTo>
                  <a:lnTo>
                    <a:pt x="24774" y="21545"/>
                  </a:lnTo>
                  <a:lnTo>
                    <a:pt x="24482" y="24457"/>
                  </a:lnTo>
                  <a:lnTo>
                    <a:pt x="23899" y="27369"/>
                  </a:lnTo>
                  <a:lnTo>
                    <a:pt x="23025" y="30280"/>
                  </a:lnTo>
                  <a:lnTo>
                    <a:pt x="20693" y="31154"/>
                  </a:lnTo>
                  <a:lnTo>
                    <a:pt x="18361" y="31445"/>
                  </a:lnTo>
                  <a:lnTo>
                    <a:pt x="582" y="31445"/>
                  </a:lnTo>
                  <a:lnTo>
                    <a:pt x="291" y="29989"/>
                  </a:lnTo>
                  <a:lnTo>
                    <a:pt x="291" y="28242"/>
                  </a:lnTo>
                  <a:lnTo>
                    <a:pt x="0" y="26204"/>
                  </a:lnTo>
                  <a:lnTo>
                    <a:pt x="6995" y="26204"/>
                  </a:lnTo>
                  <a:lnTo>
                    <a:pt x="10783" y="26495"/>
                  </a:lnTo>
                  <a:lnTo>
                    <a:pt x="14572" y="26204"/>
                  </a:lnTo>
                  <a:lnTo>
                    <a:pt x="18070" y="26204"/>
                  </a:lnTo>
                  <a:lnTo>
                    <a:pt x="19527" y="25039"/>
                  </a:lnTo>
                  <a:lnTo>
                    <a:pt x="19527" y="20090"/>
                  </a:lnTo>
                  <a:lnTo>
                    <a:pt x="17779" y="18634"/>
                  </a:lnTo>
                  <a:lnTo>
                    <a:pt x="1165" y="18634"/>
                  </a:lnTo>
                  <a:lnTo>
                    <a:pt x="0" y="18051"/>
                  </a:lnTo>
                  <a:lnTo>
                    <a:pt x="0" y="1601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32" name="Google Shape;2732;p39"/>
            <p:cNvSpPr/>
            <p:nvPr/>
          </p:nvSpPr>
          <p:spPr>
            <a:xfrm>
              <a:off x="905496" y="7085719"/>
              <a:ext cx="10801" cy="20028"/>
            </a:xfrm>
            <a:custGeom>
              <a:avLst/>
              <a:gdLst/>
              <a:ahLst/>
              <a:cxnLst/>
              <a:rect l="l" t="t" r="r" b="b"/>
              <a:pathLst>
                <a:path w="10801" h="20028" extrusionOk="0">
                  <a:moveTo>
                    <a:pt x="8173" y="1741"/>
                  </a:moveTo>
                  <a:lnTo>
                    <a:pt x="10801" y="6095"/>
                  </a:lnTo>
                  <a:lnTo>
                    <a:pt x="9925" y="11320"/>
                  </a:lnTo>
                  <a:lnTo>
                    <a:pt x="9341" y="15674"/>
                  </a:lnTo>
                  <a:lnTo>
                    <a:pt x="4378" y="19737"/>
                  </a:lnTo>
                  <a:lnTo>
                    <a:pt x="0" y="20028"/>
                  </a:lnTo>
                  <a:lnTo>
                    <a:pt x="875" y="14222"/>
                  </a:lnTo>
                  <a:lnTo>
                    <a:pt x="3795" y="13352"/>
                  </a:lnTo>
                  <a:lnTo>
                    <a:pt x="5254" y="11900"/>
                  </a:lnTo>
                  <a:lnTo>
                    <a:pt x="5254" y="6966"/>
                  </a:lnTo>
                  <a:lnTo>
                    <a:pt x="3795" y="5514"/>
                  </a:lnTo>
                  <a:lnTo>
                    <a:pt x="1751" y="4934"/>
                  </a:lnTo>
                  <a:lnTo>
                    <a:pt x="3211" y="0"/>
                  </a:lnTo>
                  <a:lnTo>
                    <a:pt x="8173" y="174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33" name="Google Shape;2733;p39"/>
            <p:cNvSpPr/>
            <p:nvPr/>
          </p:nvSpPr>
          <p:spPr>
            <a:xfrm>
              <a:off x="889732" y="7084268"/>
              <a:ext cx="18975" cy="21769"/>
            </a:xfrm>
            <a:custGeom>
              <a:avLst/>
              <a:gdLst/>
              <a:ahLst/>
              <a:cxnLst/>
              <a:rect l="l" t="t" r="r" b="b"/>
              <a:pathLst>
                <a:path w="18975" h="21769" extrusionOk="0">
                  <a:moveTo>
                    <a:pt x="5546" y="13352"/>
                  </a:moveTo>
                  <a:lnTo>
                    <a:pt x="6422" y="15383"/>
                  </a:lnTo>
                  <a:lnTo>
                    <a:pt x="8757" y="16544"/>
                  </a:lnTo>
                  <a:lnTo>
                    <a:pt x="11093" y="17705"/>
                  </a:lnTo>
                  <a:lnTo>
                    <a:pt x="10509" y="19737"/>
                  </a:lnTo>
                  <a:lnTo>
                    <a:pt x="10801" y="21479"/>
                  </a:lnTo>
                  <a:lnTo>
                    <a:pt x="6422" y="21769"/>
                  </a:lnTo>
                  <a:lnTo>
                    <a:pt x="3211" y="19447"/>
                  </a:lnTo>
                  <a:lnTo>
                    <a:pt x="1751" y="15093"/>
                  </a:lnTo>
                  <a:lnTo>
                    <a:pt x="0" y="10739"/>
                  </a:lnTo>
                  <a:lnTo>
                    <a:pt x="1459" y="6095"/>
                  </a:lnTo>
                  <a:lnTo>
                    <a:pt x="4962" y="3483"/>
                  </a:lnTo>
                  <a:lnTo>
                    <a:pt x="9341" y="580"/>
                  </a:lnTo>
                  <a:lnTo>
                    <a:pt x="14012" y="0"/>
                  </a:lnTo>
                  <a:lnTo>
                    <a:pt x="18975" y="1451"/>
                  </a:lnTo>
                  <a:lnTo>
                    <a:pt x="17515" y="6385"/>
                  </a:lnTo>
                  <a:lnTo>
                    <a:pt x="15764" y="5805"/>
                  </a:lnTo>
                  <a:lnTo>
                    <a:pt x="15180" y="6385"/>
                  </a:lnTo>
                  <a:lnTo>
                    <a:pt x="15180" y="8127"/>
                  </a:lnTo>
                  <a:lnTo>
                    <a:pt x="15764" y="10449"/>
                  </a:lnTo>
                  <a:lnTo>
                    <a:pt x="16056" y="12771"/>
                  </a:lnTo>
                  <a:lnTo>
                    <a:pt x="16639" y="15674"/>
                  </a:lnTo>
                  <a:lnTo>
                    <a:pt x="15764" y="21479"/>
                  </a:lnTo>
                  <a:lnTo>
                    <a:pt x="13720" y="21769"/>
                  </a:lnTo>
                  <a:lnTo>
                    <a:pt x="13136" y="20608"/>
                  </a:lnTo>
                  <a:lnTo>
                    <a:pt x="12844" y="18576"/>
                  </a:lnTo>
                  <a:lnTo>
                    <a:pt x="12260" y="14803"/>
                  </a:lnTo>
                  <a:lnTo>
                    <a:pt x="11677" y="10739"/>
                  </a:lnTo>
                  <a:lnTo>
                    <a:pt x="11093" y="6676"/>
                  </a:lnTo>
                  <a:lnTo>
                    <a:pt x="7882" y="7256"/>
                  </a:lnTo>
                  <a:lnTo>
                    <a:pt x="6130" y="8707"/>
                  </a:lnTo>
                  <a:lnTo>
                    <a:pt x="5838" y="11029"/>
                  </a:lnTo>
                  <a:lnTo>
                    <a:pt x="5546" y="1335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34" name="Google Shape;2734;p39"/>
            <p:cNvSpPr/>
            <p:nvPr/>
          </p:nvSpPr>
          <p:spPr>
            <a:xfrm>
              <a:off x="866788" y="7028626"/>
              <a:ext cx="36225" cy="20559"/>
            </a:xfrm>
            <a:custGeom>
              <a:avLst/>
              <a:gdLst/>
              <a:ahLst/>
              <a:cxnLst/>
              <a:rect l="l" t="t" r="r" b="b"/>
              <a:pathLst>
                <a:path w="36225" h="20559" extrusionOk="0">
                  <a:moveTo>
                    <a:pt x="570" y="15772"/>
                  </a:moveTo>
                  <a:lnTo>
                    <a:pt x="0" y="14363"/>
                  </a:lnTo>
                  <a:lnTo>
                    <a:pt x="0" y="13237"/>
                  </a:lnTo>
                  <a:lnTo>
                    <a:pt x="1711" y="12392"/>
                  </a:lnTo>
                  <a:lnTo>
                    <a:pt x="3422" y="11547"/>
                  </a:lnTo>
                  <a:lnTo>
                    <a:pt x="4278" y="11828"/>
                  </a:lnTo>
                  <a:lnTo>
                    <a:pt x="5134" y="13518"/>
                  </a:lnTo>
                  <a:lnTo>
                    <a:pt x="6275" y="16053"/>
                  </a:lnTo>
                  <a:lnTo>
                    <a:pt x="9127" y="16053"/>
                  </a:lnTo>
                  <a:lnTo>
                    <a:pt x="11694" y="14082"/>
                  </a:lnTo>
                  <a:lnTo>
                    <a:pt x="16544" y="9857"/>
                  </a:lnTo>
                  <a:lnTo>
                    <a:pt x="21393" y="5632"/>
                  </a:lnTo>
                  <a:lnTo>
                    <a:pt x="26242" y="1126"/>
                  </a:lnTo>
                  <a:lnTo>
                    <a:pt x="26812" y="844"/>
                  </a:lnTo>
                  <a:lnTo>
                    <a:pt x="27383" y="281"/>
                  </a:lnTo>
                  <a:lnTo>
                    <a:pt x="27953" y="0"/>
                  </a:lnTo>
                  <a:lnTo>
                    <a:pt x="30806" y="3379"/>
                  </a:lnTo>
                  <a:lnTo>
                    <a:pt x="30806" y="4787"/>
                  </a:lnTo>
                  <a:lnTo>
                    <a:pt x="27668" y="7322"/>
                  </a:lnTo>
                  <a:lnTo>
                    <a:pt x="24530" y="9575"/>
                  </a:lnTo>
                  <a:lnTo>
                    <a:pt x="21678" y="12110"/>
                  </a:lnTo>
                  <a:lnTo>
                    <a:pt x="18825" y="14645"/>
                  </a:lnTo>
                  <a:lnTo>
                    <a:pt x="18825" y="15208"/>
                  </a:lnTo>
                  <a:lnTo>
                    <a:pt x="19111" y="15490"/>
                  </a:lnTo>
                  <a:lnTo>
                    <a:pt x="22534" y="15208"/>
                  </a:lnTo>
                  <a:lnTo>
                    <a:pt x="26242" y="14927"/>
                  </a:lnTo>
                  <a:lnTo>
                    <a:pt x="29665" y="14363"/>
                  </a:lnTo>
                  <a:lnTo>
                    <a:pt x="33943" y="14082"/>
                  </a:lnTo>
                  <a:lnTo>
                    <a:pt x="34799" y="14645"/>
                  </a:lnTo>
                  <a:lnTo>
                    <a:pt x="35655" y="17180"/>
                  </a:lnTo>
                  <a:lnTo>
                    <a:pt x="36225" y="18588"/>
                  </a:lnTo>
                  <a:lnTo>
                    <a:pt x="35940" y="19151"/>
                  </a:lnTo>
                  <a:lnTo>
                    <a:pt x="34229" y="19151"/>
                  </a:lnTo>
                  <a:lnTo>
                    <a:pt x="21545" y="19776"/>
                  </a:lnTo>
                  <a:lnTo>
                    <a:pt x="8831" y="20208"/>
                  </a:lnTo>
                  <a:lnTo>
                    <a:pt x="6560" y="20278"/>
                  </a:lnTo>
                  <a:lnTo>
                    <a:pt x="3422" y="20559"/>
                  </a:lnTo>
                  <a:lnTo>
                    <a:pt x="1711" y="18870"/>
                  </a:lnTo>
                  <a:lnTo>
                    <a:pt x="570" y="1577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35" name="Google Shape;2735;p39"/>
            <p:cNvSpPr/>
            <p:nvPr/>
          </p:nvSpPr>
          <p:spPr>
            <a:xfrm>
              <a:off x="881282" y="7050398"/>
              <a:ext cx="27772" cy="24188"/>
            </a:xfrm>
            <a:custGeom>
              <a:avLst/>
              <a:gdLst/>
              <a:ahLst/>
              <a:cxnLst/>
              <a:rect l="l" t="t" r="r" b="b"/>
              <a:pathLst>
                <a:path w="27772" h="24188" extrusionOk="0">
                  <a:moveTo>
                    <a:pt x="24909" y="15651"/>
                  </a:moveTo>
                  <a:lnTo>
                    <a:pt x="24050" y="16789"/>
                  </a:lnTo>
                  <a:lnTo>
                    <a:pt x="22332" y="17358"/>
                  </a:lnTo>
                  <a:lnTo>
                    <a:pt x="21187" y="18212"/>
                  </a:lnTo>
                  <a:lnTo>
                    <a:pt x="20328" y="16504"/>
                  </a:lnTo>
                  <a:lnTo>
                    <a:pt x="19183" y="14797"/>
                  </a:lnTo>
                  <a:lnTo>
                    <a:pt x="20614" y="12805"/>
                  </a:lnTo>
                  <a:lnTo>
                    <a:pt x="20900" y="12236"/>
                  </a:lnTo>
                  <a:lnTo>
                    <a:pt x="21473" y="10813"/>
                  </a:lnTo>
                  <a:lnTo>
                    <a:pt x="21187" y="10244"/>
                  </a:lnTo>
                  <a:lnTo>
                    <a:pt x="20614" y="8821"/>
                  </a:lnTo>
                  <a:lnTo>
                    <a:pt x="19469" y="7967"/>
                  </a:lnTo>
                  <a:lnTo>
                    <a:pt x="18610" y="6829"/>
                  </a:lnTo>
                  <a:lnTo>
                    <a:pt x="18037" y="7967"/>
                  </a:lnTo>
                  <a:lnTo>
                    <a:pt x="17178" y="9106"/>
                  </a:lnTo>
                  <a:lnTo>
                    <a:pt x="16892" y="10244"/>
                  </a:lnTo>
                  <a:lnTo>
                    <a:pt x="16606" y="11382"/>
                  </a:lnTo>
                  <a:lnTo>
                    <a:pt x="16892" y="12521"/>
                  </a:lnTo>
                  <a:lnTo>
                    <a:pt x="16892" y="21342"/>
                  </a:lnTo>
                  <a:lnTo>
                    <a:pt x="11738" y="24188"/>
                  </a:lnTo>
                  <a:lnTo>
                    <a:pt x="6871" y="21627"/>
                  </a:lnTo>
                  <a:lnTo>
                    <a:pt x="1431" y="18781"/>
                  </a:lnTo>
                  <a:lnTo>
                    <a:pt x="0" y="9106"/>
                  </a:lnTo>
                  <a:lnTo>
                    <a:pt x="4581" y="5406"/>
                  </a:lnTo>
                  <a:lnTo>
                    <a:pt x="5439" y="4837"/>
                  </a:lnTo>
                  <a:lnTo>
                    <a:pt x="7444" y="4268"/>
                  </a:lnTo>
                  <a:lnTo>
                    <a:pt x="7730" y="4553"/>
                  </a:lnTo>
                  <a:lnTo>
                    <a:pt x="8589" y="5975"/>
                  </a:lnTo>
                  <a:lnTo>
                    <a:pt x="9734" y="7398"/>
                  </a:lnTo>
                  <a:lnTo>
                    <a:pt x="8016" y="9390"/>
                  </a:lnTo>
                  <a:lnTo>
                    <a:pt x="6012" y="11667"/>
                  </a:lnTo>
                  <a:lnTo>
                    <a:pt x="6012" y="13659"/>
                  </a:lnTo>
                  <a:lnTo>
                    <a:pt x="8016" y="16220"/>
                  </a:lnTo>
                  <a:lnTo>
                    <a:pt x="9162" y="17927"/>
                  </a:lnTo>
                  <a:lnTo>
                    <a:pt x="10879" y="17643"/>
                  </a:lnTo>
                  <a:lnTo>
                    <a:pt x="11738" y="15651"/>
                  </a:lnTo>
                  <a:lnTo>
                    <a:pt x="12025" y="14797"/>
                  </a:lnTo>
                  <a:lnTo>
                    <a:pt x="12025" y="9959"/>
                  </a:lnTo>
                  <a:lnTo>
                    <a:pt x="11738" y="7967"/>
                  </a:lnTo>
                  <a:lnTo>
                    <a:pt x="12311" y="5691"/>
                  </a:lnTo>
                  <a:lnTo>
                    <a:pt x="13170" y="1707"/>
                  </a:lnTo>
                  <a:lnTo>
                    <a:pt x="17751" y="0"/>
                  </a:lnTo>
                  <a:lnTo>
                    <a:pt x="21473" y="1991"/>
                  </a:lnTo>
                  <a:lnTo>
                    <a:pt x="25481" y="4268"/>
                  </a:lnTo>
                  <a:lnTo>
                    <a:pt x="27772" y="11951"/>
                  </a:lnTo>
                  <a:lnTo>
                    <a:pt x="24909" y="1565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36" name="Google Shape;2736;p39"/>
            <p:cNvSpPr/>
            <p:nvPr/>
          </p:nvSpPr>
          <p:spPr>
            <a:xfrm>
              <a:off x="888533" y="7069751"/>
              <a:ext cx="30186" cy="16931"/>
            </a:xfrm>
            <a:custGeom>
              <a:avLst/>
              <a:gdLst/>
              <a:ahLst/>
              <a:cxnLst/>
              <a:rect l="l" t="t" r="r" b="b"/>
              <a:pathLst>
                <a:path w="30186" h="16931" extrusionOk="0">
                  <a:moveTo>
                    <a:pt x="17705" y="9470"/>
                  </a:moveTo>
                  <a:lnTo>
                    <a:pt x="15964" y="10044"/>
                  </a:lnTo>
                  <a:lnTo>
                    <a:pt x="13351" y="10618"/>
                  </a:lnTo>
                  <a:lnTo>
                    <a:pt x="10158" y="11192"/>
                  </a:lnTo>
                  <a:lnTo>
                    <a:pt x="7546" y="12053"/>
                  </a:lnTo>
                  <a:lnTo>
                    <a:pt x="6675" y="12340"/>
                  </a:lnTo>
                  <a:lnTo>
                    <a:pt x="5514" y="13775"/>
                  </a:lnTo>
                  <a:lnTo>
                    <a:pt x="5514" y="14636"/>
                  </a:lnTo>
                  <a:lnTo>
                    <a:pt x="5224" y="16070"/>
                  </a:lnTo>
                  <a:lnTo>
                    <a:pt x="4644" y="16931"/>
                  </a:lnTo>
                  <a:lnTo>
                    <a:pt x="2612" y="16931"/>
                  </a:lnTo>
                  <a:lnTo>
                    <a:pt x="1451" y="16070"/>
                  </a:lnTo>
                  <a:lnTo>
                    <a:pt x="870" y="15209"/>
                  </a:lnTo>
                  <a:lnTo>
                    <a:pt x="290" y="14636"/>
                  </a:lnTo>
                  <a:lnTo>
                    <a:pt x="290" y="13201"/>
                  </a:lnTo>
                  <a:lnTo>
                    <a:pt x="0" y="12627"/>
                  </a:lnTo>
                  <a:lnTo>
                    <a:pt x="290" y="9757"/>
                  </a:lnTo>
                  <a:lnTo>
                    <a:pt x="870" y="8035"/>
                  </a:lnTo>
                  <a:lnTo>
                    <a:pt x="3483" y="7461"/>
                  </a:lnTo>
                  <a:lnTo>
                    <a:pt x="7256" y="6600"/>
                  </a:lnTo>
                  <a:lnTo>
                    <a:pt x="11319" y="5452"/>
                  </a:lnTo>
                  <a:lnTo>
                    <a:pt x="15093" y="4591"/>
                  </a:lnTo>
                  <a:lnTo>
                    <a:pt x="16544" y="4304"/>
                  </a:lnTo>
                  <a:lnTo>
                    <a:pt x="17705" y="4017"/>
                  </a:lnTo>
                  <a:lnTo>
                    <a:pt x="17415" y="2008"/>
                  </a:lnTo>
                  <a:lnTo>
                    <a:pt x="17415" y="1434"/>
                  </a:lnTo>
                  <a:lnTo>
                    <a:pt x="18576" y="573"/>
                  </a:lnTo>
                  <a:lnTo>
                    <a:pt x="19156" y="286"/>
                  </a:lnTo>
                  <a:lnTo>
                    <a:pt x="19737" y="0"/>
                  </a:lnTo>
                  <a:lnTo>
                    <a:pt x="21188" y="573"/>
                  </a:lnTo>
                  <a:lnTo>
                    <a:pt x="21478" y="1147"/>
                  </a:lnTo>
                  <a:lnTo>
                    <a:pt x="22349" y="3443"/>
                  </a:lnTo>
                  <a:lnTo>
                    <a:pt x="24091" y="2869"/>
                  </a:lnTo>
                  <a:lnTo>
                    <a:pt x="25542" y="2295"/>
                  </a:lnTo>
                  <a:lnTo>
                    <a:pt x="27574" y="1721"/>
                  </a:lnTo>
                  <a:lnTo>
                    <a:pt x="29025" y="1721"/>
                  </a:lnTo>
                  <a:lnTo>
                    <a:pt x="29605" y="4304"/>
                  </a:lnTo>
                  <a:lnTo>
                    <a:pt x="30186" y="6600"/>
                  </a:lnTo>
                  <a:lnTo>
                    <a:pt x="28735" y="7174"/>
                  </a:lnTo>
                  <a:lnTo>
                    <a:pt x="26703" y="7461"/>
                  </a:lnTo>
                  <a:lnTo>
                    <a:pt x="24671" y="7748"/>
                  </a:lnTo>
                  <a:lnTo>
                    <a:pt x="23220" y="8322"/>
                  </a:lnTo>
                  <a:lnTo>
                    <a:pt x="23800" y="10905"/>
                  </a:lnTo>
                  <a:lnTo>
                    <a:pt x="23800" y="11479"/>
                  </a:lnTo>
                  <a:lnTo>
                    <a:pt x="22639" y="12627"/>
                  </a:lnTo>
                  <a:lnTo>
                    <a:pt x="21769" y="12627"/>
                  </a:lnTo>
                  <a:lnTo>
                    <a:pt x="21188" y="12914"/>
                  </a:lnTo>
                  <a:lnTo>
                    <a:pt x="19737" y="12340"/>
                  </a:lnTo>
                  <a:lnTo>
                    <a:pt x="19737" y="11766"/>
                  </a:lnTo>
                  <a:lnTo>
                    <a:pt x="19156" y="9470"/>
                  </a:lnTo>
                  <a:lnTo>
                    <a:pt x="17705" y="947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37" name="Google Shape;2737;p39"/>
            <p:cNvSpPr/>
            <p:nvPr/>
          </p:nvSpPr>
          <p:spPr>
            <a:xfrm>
              <a:off x="605970" y="6876246"/>
              <a:ext cx="33810" cy="37492"/>
            </a:xfrm>
            <a:custGeom>
              <a:avLst/>
              <a:gdLst/>
              <a:ahLst/>
              <a:cxnLst/>
              <a:rect l="l" t="t" r="r" b="b"/>
              <a:pathLst>
                <a:path w="33810" h="37492" extrusionOk="0">
                  <a:moveTo>
                    <a:pt x="288" y="9158"/>
                  </a:moveTo>
                  <a:lnTo>
                    <a:pt x="577" y="8872"/>
                  </a:lnTo>
                  <a:lnTo>
                    <a:pt x="2889" y="8299"/>
                  </a:lnTo>
                  <a:lnTo>
                    <a:pt x="2600" y="6868"/>
                  </a:lnTo>
                  <a:lnTo>
                    <a:pt x="2311" y="5151"/>
                  </a:lnTo>
                  <a:lnTo>
                    <a:pt x="2311" y="4006"/>
                  </a:lnTo>
                  <a:lnTo>
                    <a:pt x="2600" y="2289"/>
                  </a:lnTo>
                  <a:lnTo>
                    <a:pt x="3178" y="1717"/>
                  </a:lnTo>
                  <a:lnTo>
                    <a:pt x="5201" y="0"/>
                  </a:lnTo>
                  <a:lnTo>
                    <a:pt x="6646" y="858"/>
                  </a:lnTo>
                  <a:lnTo>
                    <a:pt x="7224" y="3434"/>
                  </a:lnTo>
                  <a:lnTo>
                    <a:pt x="8380" y="7154"/>
                  </a:lnTo>
                  <a:lnTo>
                    <a:pt x="12136" y="6582"/>
                  </a:lnTo>
                  <a:lnTo>
                    <a:pt x="18005" y="5613"/>
                  </a:lnTo>
                  <a:lnTo>
                    <a:pt x="20517" y="10589"/>
                  </a:lnTo>
                  <a:lnTo>
                    <a:pt x="22251" y="13737"/>
                  </a:lnTo>
                  <a:lnTo>
                    <a:pt x="23696" y="16599"/>
                  </a:lnTo>
                  <a:lnTo>
                    <a:pt x="25140" y="19747"/>
                  </a:lnTo>
                  <a:lnTo>
                    <a:pt x="25429" y="19461"/>
                  </a:lnTo>
                  <a:lnTo>
                    <a:pt x="25718" y="19461"/>
                  </a:lnTo>
                  <a:lnTo>
                    <a:pt x="26585" y="15168"/>
                  </a:lnTo>
                  <a:lnTo>
                    <a:pt x="27163" y="10875"/>
                  </a:lnTo>
                  <a:lnTo>
                    <a:pt x="28030" y="6582"/>
                  </a:lnTo>
                  <a:lnTo>
                    <a:pt x="28319" y="5724"/>
                  </a:lnTo>
                  <a:lnTo>
                    <a:pt x="29186" y="4292"/>
                  </a:lnTo>
                  <a:lnTo>
                    <a:pt x="30053" y="4006"/>
                  </a:lnTo>
                  <a:lnTo>
                    <a:pt x="32943" y="2861"/>
                  </a:lnTo>
                  <a:lnTo>
                    <a:pt x="33810" y="3720"/>
                  </a:lnTo>
                  <a:lnTo>
                    <a:pt x="33232" y="6868"/>
                  </a:lnTo>
                  <a:lnTo>
                    <a:pt x="31787" y="14882"/>
                  </a:lnTo>
                  <a:lnTo>
                    <a:pt x="30053" y="23182"/>
                  </a:lnTo>
                  <a:lnTo>
                    <a:pt x="28319" y="31195"/>
                  </a:lnTo>
                  <a:lnTo>
                    <a:pt x="27452" y="35488"/>
                  </a:lnTo>
                  <a:lnTo>
                    <a:pt x="25140" y="37205"/>
                  </a:lnTo>
                  <a:lnTo>
                    <a:pt x="21673" y="37492"/>
                  </a:lnTo>
                  <a:lnTo>
                    <a:pt x="19939" y="37492"/>
                  </a:lnTo>
                  <a:lnTo>
                    <a:pt x="19072" y="37205"/>
                  </a:lnTo>
                  <a:lnTo>
                    <a:pt x="18783" y="35488"/>
                  </a:lnTo>
                  <a:lnTo>
                    <a:pt x="18494" y="33771"/>
                  </a:lnTo>
                  <a:lnTo>
                    <a:pt x="18783" y="32912"/>
                  </a:lnTo>
                  <a:lnTo>
                    <a:pt x="20517" y="32340"/>
                  </a:lnTo>
                  <a:lnTo>
                    <a:pt x="23118" y="31768"/>
                  </a:lnTo>
                  <a:lnTo>
                    <a:pt x="24273" y="29192"/>
                  </a:lnTo>
                  <a:lnTo>
                    <a:pt x="23118" y="26616"/>
                  </a:lnTo>
                  <a:lnTo>
                    <a:pt x="19939" y="20606"/>
                  </a:lnTo>
                  <a:lnTo>
                    <a:pt x="16471" y="14309"/>
                  </a:lnTo>
                  <a:lnTo>
                    <a:pt x="13292" y="8585"/>
                  </a:lnTo>
                  <a:lnTo>
                    <a:pt x="10692" y="11161"/>
                  </a:lnTo>
                  <a:lnTo>
                    <a:pt x="10114" y="12020"/>
                  </a:lnTo>
                  <a:lnTo>
                    <a:pt x="9536" y="12878"/>
                  </a:lnTo>
                  <a:lnTo>
                    <a:pt x="9536" y="13451"/>
                  </a:lnTo>
                  <a:lnTo>
                    <a:pt x="10114" y="16599"/>
                  </a:lnTo>
                  <a:lnTo>
                    <a:pt x="10692" y="19747"/>
                  </a:lnTo>
                  <a:lnTo>
                    <a:pt x="11559" y="22895"/>
                  </a:lnTo>
                  <a:lnTo>
                    <a:pt x="11848" y="24326"/>
                  </a:lnTo>
                  <a:lnTo>
                    <a:pt x="12714" y="25471"/>
                  </a:lnTo>
                  <a:lnTo>
                    <a:pt x="14448" y="25185"/>
                  </a:lnTo>
                  <a:lnTo>
                    <a:pt x="16182" y="24899"/>
                  </a:lnTo>
                  <a:lnTo>
                    <a:pt x="16760" y="26044"/>
                  </a:lnTo>
                  <a:lnTo>
                    <a:pt x="16471" y="27188"/>
                  </a:lnTo>
                  <a:lnTo>
                    <a:pt x="16471" y="28047"/>
                  </a:lnTo>
                  <a:lnTo>
                    <a:pt x="15893" y="29192"/>
                  </a:lnTo>
                  <a:lnTo>
                    <a:pt x="15026" y="29478"/>
                  </a:lnTo>
                  <a:lnTo>
                    <a:pt x="10692" y="31481"/>
                  </a:lnTo>
                  <a:lnTo>
                    <a:pt x="7513" y="30050"/>
                  </a:lnTo>
                  <a:lnTo>
                    <a:pt x="6357" y="25185"/>
                  </a:lnTo>
                  <a:lnTo>
                    <a:pt x="5779" y="21751"/>
                  </a:lnTo>
                  <a:lnTo>
                    <a:pt x="4912" y="18316"/>
                  </a:lnTo>
                  <a:lnTo>
                    <a:pt x="4334" y="14882"/>
                  </a:lnTo>
                  <a:lnTo>
                    <a:pt x="4045" y="13451"/>
                  </a:lnTo>
                  <a:lnTo>
                    <a:pt x="3467" y="12878"/>
                  </a:lnTo>
                  <a:lnTo>
                    <a:pt x="1155" y="12878"/>
                  </a:lnTo>
                  <a:lnTo>
                    <a:pt x="288" y="12020"/>
                  </a:lnTo>
                  <a:lnTo>
                    <a:pt x="0" y="11161"/>
                  </a:lnTo>
                  <a:lnTo>
                    <a:pt x="0" y="10589"/>
                  </a:lnTo>
                  <a:lnTo>
                    <a:pt x="288" y="9158"/>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38" name="Google Shape;2738;p39"/>
            <p:cNvSpPr/>
            <p:nvPr/>
          </p:nvSpPr>
          <p:spPr>
            <a:xfrm>
              <a:off x="623598" y="6881111"/>
              <a:ext cx="1444" cy="748"/>
            </a:xfrm>
            <a:custGeom>
              <a:avLst/>
              <a:gdLst/>
              <a:ahLst/>
              <a:cxnLst/>
              <a:rect l="l" t="t" r="r" b="b"/>
              <a:pathLst>
                <a:path w="1444" h="748" extrusionOk="0">
                  <a:moveTo>
                    <a:pt x="1444" y="572"/>
                  </a:moveTo>
                  <a:lnTo>
                    <a:pt x="377" y="748"/>
                  </a:lnTo>
                  <a:lnTo>
                    <a:pt x="0" y="0"/>
                  </a:lnTo>
                  <a:lnTo>
                    <a:pt x="1444" y="57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39" name="Google Shape;2739;p39"/>
            <p:cNvSpPr/>
            <p:nvPr/>
          </p:nvSpPr>
          <p:spPr>
            <a:xfrm>
              <a:off x="493671" y="6920985"/>
              <a:ext cx="32602" cy="33863"/>
            </a:xfrm>
            <a:custGeom>
              <a:avLst/>
              <a:gdLst/>
              <a:ahLst/>
              <a:cxnLst/>
              <a:rect l="l" t="t" r="r" b="b"/>
              <a:pathLst>
                <a:path w="32602" h="33863" extrusionOk="0">
                  <a:moveTo>
                    <a:pt x="11061" y="15209"/>
                  </a:moveTo>
                  <a:lnTo>
                    <a:pt x="13972" y="14348"/>
                  </a:lnTo>
                  <a:lnTo>
                    <a:pt x="16301" y="13200"/>
                  </a:lnTo>
                  <a:lnTo>
                    <a:pt x="18921" y="12339"/>
                  </a:lnTo>
                  <a:lnTo>
                    <a:pt x="23869" y="10044"/>
                  </a:lnTo>
                  <a:lnTo>
                    <a:pt x="28818" y="11479"/>
                  </a:lnTo>
                  <a:lnTo>
                    <a:pt x="31147" y="16070"/>
                  </a:lnTo>
                  <a:lnTo>
                    <a:pt x="32020" y="17218"/>
                  </a:lnTo>
                  <a:lnTo>
                    <a:pt x="32020" y="18940"/>
                  </a:lnTo>
                  <a:lnTo>
                    <a:pt x="32602" y="20375"/>
                  </a:lnTo>
                  <a:lnTo>
                    <a:pt x="32311" y="25827"/>
                  </a:lnTo>
                  <a:lnTo>
                    <a:pt x="29109" y="28984"/>
                  </a:lnTo>
                  <a:lnTo>
                    <a:pt x="25034" y="31280"/>
                  </a:lnTo>
                  <a:lnTo>
                    <a:pt x="20958" y="33576"/>
                  </a:lnTo>
                  <a:lnTo>
                    <a:pt x="16883" y="33863"/>
                  </a:lnTo>
                  <a:lnTo>
                    <a:pt x="12808" y="30993"/>
                  </a:lnTo>
                  <a:lnTo>
                    <a:pt x="11643" y="30419"/>
                  </a:lnTo>
                  <a:lnTo>
                    <a:pt x="9606" y="29558"/>
                  </a:lnTo>
                  <a:lnTo>
                    <a:pt x="11061" y="27549"/>
                  </a:lnTo>
                  <a:lnTo>
                    <a:pt x="12517" y="25253"/>
                  </a:lnTo>
                  <a:lnTo>
                    <a:pt x="14263" y="24966"/>
                  </a:lnTo>
                  <a:lnTo>
                    <a:pt x="16301" y="26401"/>
                  </a:lnTo>
                  <a:lnTo>
                    <a:pt x="20376" y="29558"/>
                  </a:lnTo>
                  <a:lnTo>
                    <a:pt x="26489" y="24966"/>
                  </a:lnTo>
                  <a:lnTo>
                    <a:pt x="26780" y="21523"/>
                  </a:lnTo>
                  <a:lnTo>
                    <a:pt x="27363" y="18653"/>
                  </a:lnTo>
                  <a:lnTo>
                    <a:pt x="24451" y="16357"/>
                  </a:lnTo>
                  <a:lnTo>
                    <a:pt x="21541" y="17505"/>
                  </a:lnTo>
                  <a:lnTo>
                    <a:pt x="18921" y="18366"/>
                  </a:lnTo>
                  <a:lnTo>
                    <a:pt x="16592" y="19514"/>
                  </a:lnTo>
                  <a:lnTo>
                    <a:pt x="14263" y="20375"/>
                  </a:lnTo>
                  <a:lnTo>
                    <a:pt x="9023" y="22384"/>
                  </a:lnTo>
                  <a:lnTo>
                    <a:pt x="5239" y="21523"/>
                  </a:lnTo>
                  <a:lnTo>
                    <a:pt x="2619" y="17792"/>
                  </a:lnTo>
                  <a:lnTo>
                    <a:pt x="0" y="13774"/>
                  </a:lnTo>
                  <a:lnTo>
                    <a:pt x="873" y="8322"/>
                  </a:lnTo>
                  <a:lnTo>
                    <a:pt x="4657" y="4878"/>
                  </a:lnTo>
                  <a:lnTo>
                    <a:pt x="8150" y="2008"/>
                  </a:lnTo>
                  <a:lnTo>
                    <a:pt x="11934" y="0"/>
                  </a:lnTo>
                  <a:lnTo>
                    <a:pt x="16592" y="1721"/>
                  </a:lnTo>
                  <a:lnTo>
                    <a:pt x="17465" y="1721"/>
                  </a:lnTo>
                  <a:lnTo>
                    <a:pt x="18339" y="2008"/>
                  </a:lnTo>
                  <a:lnTo>
                    <a:pt x="18921" y="2582"/>
                  </a:lnTo>
                  <a:lnTo>
                    <a:pt x="19503" y="3730"/>
                  </a:lnTo>
                  <a:lnTo>
                    <a:pt x="20958" y="5165"/>
                  </a:lnTo>
                  <a:lnTo>
                    <a:pt x="20667" y="5739"/>
                  </a:lnTo>
                  <a:lnTo>
                    <a:pt x="19794" y="7748"/>
                  </a:lnTo>
                  <a:lnTo>
                    <a:pt x="17174" y="8609"/>
                  </a:lnTo>
                  <a:lnTo>
                    <a:pt x="15428" y="7461"/>
                  </a:lnTo>
                  <a:lnTo>
                    <a:pt x="12225" y="5739"/>
                  </a:lnTo>
                  <a:lnTo>
                    <a:pt x="7277" y="8035"/>
                  </a:lnTo>
                  <a:lnTo>
                    <a:pt x="6695" y="11479"/>
                  </a:lnTo>
                  <a:lnTo>
                    <a:pt x="6404" y="14061"/>
                  </a:lnTo>
                  <a:lnTo>
                    <a:pt x="8441" y="15783"/>
                  </a:lnTo>
                  <a:lnTo>
                    <a:pt x="11061" y="15209"/>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40" name="Google Shape;2740;p39"/>
            <p:cNvSpPr/>
            <p:nvPr/>
          </p:nvSpPr>
          <p:spPr>
            <a:xfrm>
              <a:off x="522666" y="6914934"/>
              <a:ext cx="22942" cy="25397"/>
            </a:xfrm>
            <a:custGeom>
              <a:avLst/>
              <a:gdLst/>
              <a:ahLst/>
              <a:cxnLst/>
              <a:rect l="l" t="t" r="r" b="b"/>
              <a:pathLst>
                <a:path w="22942" h="25397" extrusionOk="0">
                  <a:moveTo>
                    <a:pt x="6764" y="12409"/>
                  </a:moveTo>
                  <a:lnTo>
                    <a:pt x="9117" y="11255"/>
                  </a:lnTo>
                  <a:lnTo>
                    <a:pt x="11470" y="9523"/>
                  </a:lnTo>
                  <a:lnTo>
                    <a:pt x="13824" y="8080"/>
                  </a:lnTo>
                  <a:lnTo>
                    <a:pt x="12059" y="5772"/>
                  </a:lnTo>
                  <a:lnTo>
                    <a:pt x="10294" y="4906"/>
                  </a:lnTo>
                  <a:lnTo>
                    <a:pt x="7941" y="5772"/>
                  </a:lnTo>
                  <a:lnTo>
                    <a:pt x="7647" y="865"/>
                  </a:lnTo>
                  <a:lnTo>
                    <a:pt x="12647" y="0"/>
                  </a:lnTo>
                  <a:lnTo>
                    <a:pt x="18824" y="3174"/>
                  </a:lnTo>
                  <a:lnTo>
                    <a:pt x="20294" y="7215"/>
                  </a:lnTo>
                  <a:lnTo>
                    <a:pt x="20294" y="7792"/>
                  </a:lnTo>
                  <a:lnTo>
                    <a:pt x="19706" y="9235"/>
                  </a:lnTo>
                  <a:lnTo>
                    <a:pt x="18824" y="9812"/>
                  </a:lnTo>
                  <a:lnTo>
                    <a:pt x="15882" y="11832"/>
                  </a:lnTo>
                  <a:lnTo>
                    <a:pt x="12941" y="13564"/>
                  </a:lnTo>
                  <a:lnTo>
                    <a:pt x="9706" y="15584"/>
                  </a:lnTo>
                  <a:lnTo>
                    <a:pt x="7647" y="16738"/>
                  </a:lnTo>
                  <a:lnTo>
                    <a:pt x="8235" y="17893"/>
                  </a:lnTo>
                  <a:lnTo>
                    <a:pt x="9706" y="18759"/>
                  </a:lnTo>
                  <a:lnTo>
                    <a:pt x="12941" y="20779"/>
                  </a:lnTo>
                  <a:lnTo>
                    <a:pt x="17059" y="19047"/>
                  </a:lnTo>
                  <a:lnTo>
                    <a:pt x="17941" y="15584"/>
                  </a:lnTo>
                  <a:lnTo>
                    <a:pt x="17941" y="15007"/>
                  </a:lnTo>
                  <a:lnTo>
                    <a:pt x="17647" y="14141"/>
                  </a:lnTo>
                  <a:lnTo>
                    <a:pt x="18235" y="13852"/>
                  </a:lnTo>
                  <a:lnTo>
                    <a:pt x="19118" y="12698"/>
                  </a:lnTo>
                  <a:lnTo>
                    <a:pt x="20294" y="12121"/>
                  </a:lnTo>
                  <a:lnTo>
                    <a:pt x="21471" y="11255"/>
                  </a:lnTo>
                  <a:lnTo>
                    <a:pt x="21765" y="12121"/>
                  </a:lnTo>
                  <a:lnTo>
                    <a:pt x="22647" y="12987"/>
                  </a:lnTo>
                  <a:lnTo>
                    <a:pt x="22647" y="13852"/>
                  </a:lnTo>
                  <a:lnTo>
                    <a:pt x="22942" y="17893"/>
                  </a:lnTo>
                  <a:lnTo>
                    <a:pt x="21177" y="20779"/>
                  </a:lnTo>
                  <a:lnTo>
                    <a:pt x="17941" y="23088"/>
                  </a:lnTo>
                  <a:lnTo>
                    <a:pt x="14118" y="25108"/>
                  </a:lnTo>
                  <a:lnTo>
                    <a:pt x="10294" y="25397"/>
                  </a:lnTo>
                  <a:lnTo>
                    <a:pt x="6764" y="22799"/>
                  </a:lnTo>
                  <a:lnTo>
                    <a:pt x="2353" y="19913"/>
                  </a:lnTo>
                  <a:lnTo>
                    <a:pt x="0" y="16161"/>
                  </a:lnTo>
                  <a:lnTo>
                    <a:pt x="0" y="5483"/>
                  </a:lnTo>
                  <a:lnTo>
                    <a:pt x="2941" y="1731"/>
                  </a:lnTo>
                  <a:lnTo>
                    <a:pt x="4706" y="11544"/>
                  </a:lnTo>
                  <a:lnTo>
                    <a:pt x="5000" y="13275"/>
                  </a:lnTo>
                  <a:lnTo>
                    <a:pt x="6764" y="12409"/>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41" name="Google Shape;2741;p39"/>
            <p:cNvSpPr/>
            <p:nvPr/>
          </p:nvSpPr>
          <p:spPr>
            <a:xfrm>
              <a:off x="525607" y="6915800"/>
              <a:ext cx="5000" cy="10678"/>
            </a:xfrm>
            <a:custGeom>
              <a:avLst/>
              <a:gdLst/>
              <a:ahLst/>
              <a:cxnLst/>
              <a:rect l="l" t="t" r="r" b="b"/>
              <a:pathLst>
                <a:path w="5000" h="10678" extrusionOk="0">
                  <a:moveTo>
                    <a:pt x="1764" y="7215"/>
                  </a:moveTo>
                  <a:lnTo>
                    <a:pt x="1764" y="10678"/>
                  </a:lnTo>
                  <a:lnTo>
                    <a:pt x="0" y="865"/>
                  </a:lnTo>
                  <a:lnTo>
                    <a:pt x="4706" y="0"/>
                  </a:lnTo>
                  <a:lnTo>
                    <a:pt x="5000" y="4906"/>
                  </a:lnTo>
                  <a:lnTo>
                    <a:pt x="2941" y="5483"/>
                  </a:lnTo>
                  <a:lnTo>
                    <a:pt x="1764" y="721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42" name="Google Shape;2742;p39"/>
            <p:cNvSpPr/>
            <p:nvPr/>
          </p:nvSpPr>
          <p:spPr>
            <a:xfrm>
              <a:off x="562513" y="6891973"/>
              <a:ext cx="26564" cy="27817"/>
            </a:xfrm>
            <a:custGeom>
              <a:avLst/>
              <a:gdLst/>
              <a:ahLst/>
              <a:cxnLst/>
              <a:rect l="l" t="t" r="r" b="b"/>
              <a:pathLst>
                <a:path w="26564" h="27817" extrusionOk="0">
                  <a:moveTo>
                    <a:pt x="25678" y="19213"/>
                  </a:moveTo>
                  <a:lnTo>
                    <a:pt x="26564" y="20934"/>
                  </a:lnTo>
                  <a:lnTo>
                    <a:pt x="26269" y="22081"/>
                  </a:lnTo>
                  <a:lnTo>
                    <a:pt x="24498" y="22368"/>
                  </a:lnTo>
                  <a:lnTo>
                    <a:pt x="23022" y="22655"/>
                  </a:lnTo>
                  <a:lnTo>
                    <a:pt x="21841" y="22655"/>
                  </a:lnTo>
                  <a:lnTo>
                    <a:pt x="20661" y="22941"/>
                  </a:lnTo>
                  <a:lnTo>
                    <a:pt x="20661" y="23228"/>
                  </a:lnTo>
                  <a:lnTo>
                    <a:pt x="18595" y="24375"/>
                  </a:lnTo>
                  <a:lnTo>
                    <a:pt x="16824" y="25809"/>
                  </a:lnTo>
                  <a:lnTo>
                    <a:pt x="14758" y="26669"/>
                  </a:lnTo>
                  <a:lnTo>
                    <a:pt x="11216" y="27817"/>
                  </a:lnTo>
                  <a:lnTo>
                    <a:pt x="8264" y="26669"/>
                  </a:lnTo>
                  <a:lnTo>
                    <a:pt x="6788" y="23515"/>
                  </a:lnTo>
                  <a:lnTo>
                    <a:pt x="4132" y="18640"/>
                  </a:lnTo>
                  <a:lnTo>
                    <a:pt x="2361" y="13478"/>
                  </a:lnTo>
                  <a:lnTo>
                    <a:pt x="295" y="8603"/>
                  </a:lnTo>
                  <a:lnTo>
                    <a:pt x="0" y="8029"/>
                  </a:lnTo>
                  <a:lnTo>
                    <a:pt x="1180" y="6595"/>
                  </a:lnTo>
                  <a:lnTo>
                    <a:pt x="2066" y="6022"/>
                  </a:lnTo>
                  <a:lnTo>
                    <a:pt x="3541" y="5161"/>
                  </a:lnTo>
                  <a:lnTo>
                    <a:pt x="4722" y="5448"/>
                  </a:lnTo>
                  <a:lnTo>
                    <a:pt x="5608" y="7169"/>
                  </a:lnTo>
                  <a:lnTo>
                    <a:pt x="6788" y="10323"/>
                  </a:lnTo>
                  <a:lnTo>
                    <a:pt x="7969" y="13191"/>
                  </a:lnTo>
                  <a:lnTo>
                    <a:pt x="9149" y="16346"/>
                  </a:lnTo>
                  <a:lnTo>
                    <a:pt x="9740" y="17493"/>
                  </a:lnTo>
                  <a:lnTo>
                    <a:pt x="10330" y="18927"/>
                  </a:lnTo>
                  <a:lnTo>
                    <a:pt x="11216" y="20074"/>
                  </a:lnTo>
                  <a:lnTo>
                    <a:pt x="12101" y="21221"/>
                  </a:lnTo>
                  <a:lnTo>
                    <a:pt x="13577" y="22655"/>
                  </a:lnTo>
                  <a:lnTo>
                    <a:pt x="15053" y="21508"/>
                  </a:lnTo>
                  <a:lnTo>
                    <a:pt x="16529" y="20647"/>
                  </a:lnTo>
                  <a:lnTo>
                    <a:pt x="17709" y="19213"/>
                  </a:lnTo>
                  <a:lnTo>
                    <a:pt x="18299" y="17779"/>
                  </a:lnTo>
                  <a:lnTo>
                    <a:pt x="18595" y="16632"/>
                  </a:lnTo>
                  <a:lnTo>
                    <a:pt x="18004" y="14912"/>
                  </a:lnTo>
                  <a:lnTo>
                    <a:pt x="17414" y="13478"/>
                  </a:lnTo>
                  <a:lnTo>
                    <a:pt x="16233" y="10323"/>
                  </a:lnTo>
                  <a:lnTo>
                    <a:pt x="15053" y="7169"/>
                  </a:lnTo>
                  <a:lnTo>
                    <a:pt x="13577" y="3728"/>
                  </a:lnTo>
                  <a:lnTo>
                    <a:pt x="12691" y="1720"/>
                  </a:lnTo>
                  <a:lnTo>
                    <a:pt x="14167" y="1433"/>
                  </a:lnTo>
                  <a:lnTo>
                    <a:pt x="15348" y="860"/>
                  </a:lnTo>
                  <a:lnTo>
                    <a:pt x="16824" y="286"/>
                  </a:lnTo>
                  <a:lnTo>
                    <a:pt x="18004" y="0"/>
                  </a:lnTo>
                  <a:lnTo>
                    <a:pt x="18890" y="2007"/>
                  </a:lnTo>
                  <a:lnTo>
                    <a:pt x="20956" y="7742"/>
                  </a:lnTo>
                  <a:lnTo>
                    <a:pt x="23317" y="13478"/>
                  </a:lnTo>
                  <a:lnTo>
                    <a:pt x="25678" y="1921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43" name="Google Shape;2743;p39"/>
            <p:cNvSpPr/>
            <p:nvPr/>
          </p:nvSpPr>
          <p:spPr>
            <a:xfrm>
              <a:off x="543196" y="6902836"/>
              <a:ext cx="21734" cy="25396"/>
            </a:xfrm>
            <a:custGeom>
              <a:avLst/>
              <a:gdLst/>
              <a:ahLst/>
              <a:cxnLst/>
              <a:rect l="l" t="t" r="r" b="b"/>
              <a:pathLst>
                <a:path w="21734" h="25396" extrusionOk="0">
                  <a:moveTo>
                    <a:pt x="5015" y="13544"/>
                  </a:moveTo>
                  <a:lnTo>
                    <a:pt x="6687" y="16648"/>
                  </a:lnTo>
                  <a:lnTo>
                    <a:pt x="10031" y="19188"/>
                  </a:lnTo>
                  <a:lnTo>
                    <a:pt x="12817" y="21163"/>
                  </a:lnTo>
                  <a:lnTo>
                    <a:pt x="16440" y="19188"/>
                  </a:lnTo>
                  <a:lnTo>
                    <a:pt x="16440" y="15520"/>
                  </a:lnTo>
                  <a:lnTo>
                    <a:pt x="16718" y="14391"/>
                  </a:lnTo>
                  <a:lnTo>
                    <a:pt x="16718" y="12980"/>
                  </a:lnTo>
                  <a:lnTo>
                    <a:pt x="17276" y="12416"/>
                  </a:lnTo>
                  <a:lnTo>
                    <a:pt x="18112" y="11851"/>
                  </a:lnTo>
                  <a:lnTo>
                    <a:pt x="19505" y="11569"/>
                  </a:lnTo>
                  <a:lnTo>
                    <a:pt x="20619" y="11287"/>
                  </a:lnTo>
                  <a:lnTo>
                    <a:pt x="20898" y="12134"/>
                  </a:lnTo>
                  <a:lnTo>
                    <a:pt x="21455" y="13262"/>
                  </a:lnTo>
                  <a:lnTo>
                    <a:pt x="21455" y="14109"/>
                  </a:lnTo>
                  <a:lnTo>
                    <a:pt x="21734" y="19188"/>
                  </a:lnTo>
                  <a:lnTo>
                    <a:pt x="19505" y="22292"/>
                  </a:lnTo>
                  <a:lnTo>
                    <a:pt x="15325" y="23985"/>
                  </a:lnTo>
                  <a:lnTo>
                    <a:pt x="10588" y="25396"/>
                  </a:lnTo>
                  <a:lnTo>
                    <a:pt x="6408" y="24268"/>
                  </a:lnTo>
                  <a:lnTo>
                    <a:pt x="3622" y="20317"/>
                  </a:lnTo>
                  <a:lnTo>
                    <a:pt x="1114" y="16931"/>
                  </a:lnTo>
                  <a:lnTo>
                    <a:pt x="0" y="13262"/>
                  </a:lnTo>
                  <a:lnTo>
                    <a:pt x="557" y="9029"/>
                  </a:lnTo>
                  <a:lnTo>
                    <a:pt x="835" y="5361"/>
                  </a:lnTo>
                  <a:lnTo>
                    <a:pt x="3901" y="1975"/>
                  </a:lnTo>
                  <a:lnTo>
                    <a:pt x="7802" y="1128"/>
                  </a:lnTo>
                  <a:lnTo>
                    <a:pt x="12539" y="0"/>
                  </a:lnTo>
                  <a:lnTo>
                    <a:pt x="15604" y="1128"/>
                  </a:lnTo>
                  <a:lnTo>
                    <a:pt x="17833" y="5079"/>
                  </a:lnTo>
                  <a:lnTo>
                    <a:pt x="15882" y="6490"/>
                  </a:lnTo>
                  <a:lnTo>
                    <a:pt x="14211" y="7901"/>
                  </a:lnTo>
                  <a:lnTo>
                    <a:pt x="11703" y="5925"/>
                  </a:lnTo>
                  <a:lnTo>
                    <a:pt x="9474" y="4232"/>
                  </a:lnTo>
                  <a:lnTo>
                    <a:pt x="5851" y="6490"/>
                  </a:lnTo>
                  <a:lnTo>
                    <a:pt x="5572" y="9594"/>
                  </a:lnTo>
                  <a:lnTo>
                    <a:pt x="5015" y="1354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44" name="Google Shape;2744;p39"/>
            <p:cNvSpPr/>
            <p:nvPr/>
          </p:nvSpPr>
          <p:spPr>
            <a:xfrm>
              <a:off x="598719" y="6885922"/>
              <a:ext cx="10867" cy="22979"/>
            </a:xfrm>
            <a:custGeom>
              <a:avLst/>
              <a:gdLst/>
              <a:ahLst/>
              <a:cxnLst/>
              <a:rect l="l" t="t" r="r" b="b"/>
              <a:pathLst>
                <a:path w="10867" h="22979" extrusionOk="0">
                  <a:moveTo>
                    <a:pt x="3717" y="0"/>
                  </a:moveTo>
                  <a:lnTo>
                    <a:pt x="4289" y="0"/>
                  </a:lnTo>
                  <a:lnTo>
                    <a:pt x="5433" y="567"/>
                  </a:lnTo>
                  <a:lnTo>
                    <a:pt x="5433" y="1134"/>
                  </a:lnTo>
                  <a:lnTo>
                    <a:pt x="7435" y="7375"/>
                  </a:lnTo>
                  <a:lnTo>
                    <a:pt x="8865" y="13617"/>
                  </a:lnTo>
                  <a:lnTo>
                    <a:pt x="10581" y="19858"/>
                  </a:lnTo>
                  <a:lnTo>
                    <a:pt x="10581" y="20425"/>
                  </a:lnTo>
                  <a:lnTo>
                    <a:pt x="10867" y="21276"/>
                  </a:lnTo>
                  <a:lnTo>
                    <a:pt x="10009" y="21560"/>
                  </a:lnTo>
                  <a:lnTo>
                    <a:pt x="9151" y="22127"/>
                  </a:lnTo>
                  <a:lnTo>
                    <a:pt x="8293" y="22411"/>
                  </a:lnTo>
                  <a:lnTo>
                    <a:pt x="6863" y="22979"/>
                  </a:lnTo>
                  <a:lnTo>
                    <a:pt x="5719" y="22695"/>
                  </a:lnTo>
                  <a:lnTo>
                    <a:pt x="5433" y="20993"/>
                  </a:lnTo>
                  <a:lnTo>
                    <a:pt x="4289" y="16737"/>
                  </a:lnTo>
                  <a:lnTo>
                    <a:pt x="3145" y="12198"/>
                  </a:lnTo>
                  <a:lnTo>
                    <a:pt x="2001" y="7943"/>
                  </a:lnTo>
                  <a:lnTo>
                    <a:pt x="1715" y="6524"/>
                  </a:lnTo>
                  <a:lnTo>
                    <a:pt x="1143" y="5390"/>
                  </a:lnTo>
                  <a:lnTo>
                    <a:pt x="857" y="3971"/>
                  </a:lnTo>
                  <a:lnTo>
                    <a:pt x="0" y="851"/>
                  </a:lnTo>
                  <a:lnTo>
                    <a:pt x="571" y="0"/>
                  </a:lnTo>
                  <a:lnTo>
                    <a:pt x="3717" y="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45" name="Google Shape;2745;p39"/>
            <p:cNvSpPr/>
            <p:nvPr/>
          </p:nvSpPr>
          <p:spPr>
            <a:xfrm>
              <a:off x="418820" y="7033452"/>
              <a:ext cx="31394" cy="36281"/>
            </a:xfrm>
            <a:custGeom>
              <a:avLst/>
              <a:gdLst/>
              <a:ahLst/>
              <a:cxnLst/>
              <a:rect l="l" t="t" r="r" b="b"/>
              <a:pathLst>
                <a:path w="31394" h="36281" extrusionOk="0">
                  <a:moveTo>
                    <a:pt x="2016" y="16254"/>
                  </a:moveTo>
                  <a:lnTo>
                    <a:pt x="6048" y="13641"/>
                  </a:lnTo>
                  <a:lnTo>
                    <a:pt x="6624" y="13351"/>
                  </a:lnTo>
                  <a:lnTo>
                    <a:pt x="6624" y="11319"/>
                  </a:lnTo>
                  <a:lnTo>
                    <a:pt x="6912" y="9288"/>
                  </a:lnTo>
                  <a:lnTo>
                    <a:pt x="6336" y="6966"/>
                  </a:lnTo>
                  <a:lnTo>
                    <a:pt x="6912" y="5224"/>
                  </a:lnTo>
                  <a:lnTo>
                    <a:pt x="8064" y="1451"/>
                  </a:lnTo>
                  <a:lnTo>
                    <a:pt x="11232" y="0"/>
                  </a:lnTo>
                  <a:lnTo>
                    <a:pt x="14689" y="1160"/>
                  </a:lnTo>
                  <a:lnTo>
                    <a:pt x="19585" y="2612"/>
                  </a:lnTo>
                  <a:lnTo>
                    <a:pt x="24481" y="4353"/>
                  </a:lnTo>
                  <a:lnTo>
                    <a:pt x="29378" y="6095"/>
                  </a:lnTo>
                  <a:lnTo>
                    <a:pt x="31394" y="6675"/>
                  </a:lnTo>
                  <a:lnTo>
                    <a:pt x="31106" y="7836"/>
                  </a:lnTo>
                  <a:lnTo>
                    <a:pt x="30818" y="9578"/>
                  </a:lnTo>
                  <a:lnTo>
                    <a:pt x="30242" y="11029"/>
                  </a:lnTo>
                  <a:lnTo>
                    <a:pt x="29378" y="11900"/>
                  </a:lnTo>
                  <a:lnTo>
                    <a:pt x="27650" y="11319"/>
                  </a:lnTo>
                  <a:lnTo>
                    <a:pt x="23617" y="9578"/>
                  </a:lnTo>
                  <a:lnTo>
                    <a:pt x="19297" y="8417"/>
                  </a:lnTo>
                  <a:lnTo>
                    <a:pt x="15265" y="6966"/>
                  </a:lnTo>
                  <a:lnTo>
                    <a:pt x="13249" y="6385"/>
                  </a:lnTo>
                  <a:lnTo>
                    <a:pt x="11808" y="6385"/>
                  </a:lnTo>
                  <a:lnTo>
                    <a:pt x="10944" y="8127"/>
                  </a:lnTo>
                  <a:lnTo>
                    <a:pt x="9792" y="10158"/>
                  </a:lnTo>
                  <a:lnTo>
                    <a:pt x="10080" y="11900"/>
                  </a:lnTo>
                  <a:lnTo>
                    <a:pt x="11808" y="13061"/>
                  </a:lnTo>
                  <a:lnTo>
                    <a:pt x="12961" y="13932"/>
                  </a:lnTo>
                  <a:lnTo>
                    <a:pt x="14401" y="14512"/>
                  </a:lnTo>
                  <a:lnTo>
                    <a:pt x="15841" y="15093"/>
                  </a:lnTo>
                  <a:lnTo>
                    <a:pt x="18721" y="16254"/>
                  </a:lnTo>
                  <a:lnTo>
                    <a:pt x="21889" y="17124"/>
                  </a:lnTo>
                  <a:lnTo>
                    <a:pt x="25057" y="18285"/>
                  </a:lnTo>
                  <a:lnTo>
                    <a:pt x="27074" y="18866"/>
                  </a:lnTo>
                  <a:lnTo>
                    <a:pt x="27362" y="19737"/>
                  </a:lnTo>
                  <a:lnTo>
                    <a:pt x="26786" y="21768"/>
                  </a:lnTo>
                  <a:lnTo>
                    <a:pt x="25922" y="23800"/>
                  </a:lnTo>
                  <a:lnTo>
                    <a:pt x="25057" y="24090"/>
                  </a:lnTo>
                  <a:lnTo>
                    <a:pt x="23041" y="23510"/>
                  </a:lnTo>
                  <a:lnTo>
                    <a:pt x="19297" y="22059"/>
                  </a:lnTo>
                  <a:lnTo>
                    <a:pt x="15553" y="20898"/>
                  </a:lnTo>
                  <a:lnTo>
                    <a:pt x="11808" y="19737"/>
                  </a:lnTo>
                  <a:lnTo>
                    <a:pt x="10080" y="19156"/>
                  </a:lnTo>
                  <a:lnTo>
                    <a:pt x="7776" y="18285"/>
                  </a:lnTo>
                  <a:lnTo>
                    <a:pt x="6624" y="20898"/>
                  </a:lnTo>
                  <a:lnTo>
                    <a:pt x="5760" y="23220"/>
                  </a:lnTo>
                  <a:lnTo>
                    <a:pt x="6912" y="25542"/>
                  </a:lnTo>
                  <a:lnTo>
                    <a:pt x="9504" y="26703"/>
                  </a:lnTo>
                  <a:lnTo>
                    <a:pt x="12961" y="27864"/>
                  </a:lnTo>
                  <a:lnTo>
                    <a:pt x="16417" y="29025"/>
                  </a:lnTo>
                  <a:lnTo>
                    <a:pt x="20161" y="30186"/>
                  </a:lnTo>
                  <a:lnTo>
                    <a:pt x="21889" y="30766"/>
                  </a:lnTo>
                  <a:lnTo>
                    <a:pt x="23329" y="31347"/>
                  </a:lnTo>
                  <a:lnTo>
                    <a:pt x="22465" y="33959"/>
                  </a:lnTo>
                  <a:lnTo>
                    <a:pt x="21601" y="36281"/>
                  </a:lnTo>
                  <a:lnTo>
                    <a:pt x="20449" y="36281"/>
                  </a:lnTo>
                  <a:lnTo>
                    <a:pt x="18433" y="35700"/>
                  </a:lnTo>
                  <a:lnTo>
                    <a:pt x="13537" y="33669"/>
                  </a:lnTo>
                  <a:lnTo>
                    <a:pt x="8352" y="32217"/>
                  </a:lnTo>
                  <a:lnTo>
                    <a:pt x="3168" y="30186"/>
                  </a:lnTo>
                  <a:lnTo>
                    <a:pt x="2016" y="29895"/>
                  </a:lnTo>
                  <a:lnTo>
                    <a:pt x="0" y="28734"/>
                  </a:lnTo>
                  <a:lnTo>
                    <a:pt x="0" y="28154"/>
                  </a:lnTo>
                  <a:lnTo>
                    <a:pt x="288" y="26412"/>
                  </a:lnTo>
                  <a:lnTo>
                    <a:pt x="1440" y="24961"/>
                  </a:lnTo>
                  <a:lnTo>
                    <a:pt x="2016" y="23510"/>
                  </a:lnTo>
                  <a:lnTo>
                    <a:pt x="1440" y="19737"/>
                  </a:lnTo>
                  <a:lnTo>
                    <a:pt x="2016" y="1625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46" name="Google Shape;2746;p39"/>
            <p:cNvSpPr/>
            <p:nvPr/>
          </p:nvSpPr>
          <p:spPr>
            <a:xfrm>
              <a:off x="433292" y="7011703"/>
              <a:ext cx="23013" cy="22979"/>
            </a:xfrm>
            <a:custGeom>
              <a:avLst/>
              <a:gdLst/>
              <a:ahLst/>
              <a:cxnLst/>
              <a:rect l="l" t="t" r="r" b="b"/>
              <a:pathLst>
                <a:path w="23013" h="22979" extrusionOk="0">
                  <a:moveTo>
                    <a:pt x="6818" y="15973"/>
                  </a:moveTo>
                  <a:lnTo>
                    <a:pt x="6818" y="16253"/>
                  </a:lnTo>
                  <a:lnTo>
                    <a:pt x="5114" y="16533"/>
                  </a:lnTo>
                  <a:lnTo>
                    <a:pt x="4830" y="16253"/>
                  </a:lnTo>
                  <a:lnTo>
                    <a:pt x="3977" y="15693"/>
                  </a:lnTo>
                  <a:lnTo>
                    <a:pt x="3125" y="14852"/>
                  </a:lnTo>
                  <a:lnTo>
                    <a:pt x="2841" y="13731"/>
                  </a:lnTo>
                  <a:lnTo>
                    <a:pt x="0" y="8126"/>
                  </a:lnTo>
                  <a:lnTo>
                    <a:pt x="4545" y="0"/>
                  </a:lnTo>
                  <a:lnTo>
                    <a:pt x="11648" y="0"/>
                  </a:lnTo>
                  <a:lnTo>
                    <a:pt x="13069" y="280"/>
                  </a:lnTo>
                  <a:lnTo>
                    <a:pt x="15058" y="1401"/>
                  </a:lnTo>
                  <a:lnTo>
                    <a:pt x="17331" y="2241"/>
                  </a:lnTo>
                  <a:lnTo>
                    <a:pt x="15626" y="10648"/>
                  </a:lnTo>
                  <a:lnTo>
                    <a:pt x="15342" y="11489"/>
                  </a:lnTo>
                  <a:lnTo>
                    <a:pt x="15058" y="12610"/>
                  </a:lnTo>
                  <a:lnTo>
                    <a:pt x="14774" y="13170"/>
                  </a:lnTo>
                  <a:lnTo>
                    <a:pt x="14490" y="16253"/>
                  </a:lnTo>
                  <a:lnTo>
                    <a:pt x="16194" y="17654"/>
                  </a:lnTo>
                  <a:lnTo>
                    <a:pt x="18467" y="16813"/>
                  </a:lnTo>
                  <a:lnTo>
                    <a:pt x="20740" y="15693"/>
                  </a:lnTo>
                  <a:lnTo>
                    <a:pt x="21593" y="11489"/>
                  </a:lnTo>
                  <a:lnTo>
                    <a:pt x="23013" y="21017"/>
                  </a:lnTo>
                  <a:lnTo>
                    <a:pt x="20172" y="22979"/>
                  </a:lnTo>
                  <a:lnTo>
                    <a:pt x="16194" y="22418"/>
                  </a:lnTo>
                  <a:lnTo>
                    <a:pt x="12217" y="22138"/>
                  </a:lnTo>
                  <a:lnTo>
                    <a:pt x="9944" y="19336"/>
                  </a:lnTo>
                  <a:lnTo>
                    <a:pt x="10512" y="15412"/>
                  </a:lnTo>
                  <a:lnTo>
                    <a:pt x="10796" y="13170"/>
                  </a:lnTo>
                  <a:lnTo>
                    <a:pt x="11648" y="10929"/>
                  </a:lnTo>
                  <a:lnTo>
                    <a:pt x="12217" y="8687"/>
                  </a:lnTo>
                  <a:lnTo>
                    <a:pt x="12217" y="7566"/>
                  </a:lnTo>
                  <a:lnTo>
                    <a:pt x="11648" y="6445"/>
                  </a:lnTo>
                  <a:lnTo>
                    <a:pt x="11364" y="5044"/>
                  </a:lnTo>
                  <a:lnTo>
                    <a:pt x="9944" y="5884"/>
                  </a:lnTo>
                  <a:lnTo>
                    <a:pt x="8523" y="6165"/>
                  </a:lnTo>
                  <a:lnTo>
                    <a:pt x="7671" y="7005"/>
                  </a:lnTo>
                  <a:lnTo>
                    <a:pt x="6534" y="8126"/>
                  </a:lnTo>
                  <a:lnTo>
                    <a:pt x="6534" y="9808"/>
                  </a:lnTo>
                  <a:lnTo>
                    <a:pt x="7387" y="11769"/>
                  </a:lnTo>
                  <a:lnTo>
                    <a:pt x="7671" y="12890"/>
                  </a:lnTo>
                  <a:lnTo>
                    <a:pt x="7103" y="14572"/>
                  </a:lnTo>
                  <a:lnTo>
                    <a:pt x="6818" y="1597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47" name="Google Shape;2747;p39"/>
            <p:cNvSpPr/>
            <p:nvPr/>
          </p:nvSpPr>
          <p:spPr>
            <a:xfrm>
              <a:off x="448919" y="7013945"/>
              <a:ext cx="13353" cy="18775"/>
            </a:xfrm>
            <a:custGeom>
              <a:avLst/>
              <a:gdLst/>
              <a:ahLst/>
              <a:cxnLst/>
              <a:rect l="l" t="t" r="r" b="b"/>
              <a:pathLst>
                <a:path w="13353" h="18775" extrusionOk="0">
                  <a:moveTo>
                    <a:pt x="10796" y="1961"/>
                  </a:moveTo>
                  <a:lnTo>
                    <a:pt x="12217" y="2241"/>
                  </a:lnTo>
                  <a:lnTo>
                    <a:pt x="12785" y="3643"/>
                  </a:lnTo>
                  <a:lnTo>
                    <a:pt x="13353" y="4763"/>
                  </a:lnTo>
                  <a:lnTo>
                    <a:pt x="12785" y="7005"/>
                  </a:lnTo>
                  <a:lnTo>
                    <a:pt x="12217" y="7566"/>
                  </a:lnTo>
                  <a:lnTo>
                    <a:pt x="9091" y="8967"/>
                  </a:lnTo>
                  <a:lnTo>
                    <a:pt x="9376" y="11769"/>
                  </a:lnTo>
                  <a:lnTo>
                    <a:pt x="8523" y="14291"/>
                  </a:lnTo>
                  <a:lnTo>
                    <a:pt x="7387" y="18775"/>
                  </a:lnTo>
                  <a:lnTo>
                    <a:pt x="5966" y="9247"/>
                  </a:lnTo>
                  <a:lnTo>
                    <a:pt x="3977" y="7286"/>
                  </a:lnTo>
                  <a:lnTo>
                    <a:pt x="1988" y="5604"/>
                  </a:lnTo>
                  <a:lnTo>
                    <a:pt x="852" y="5884"/>
                  </a:lnTo>
                  <a:lnTo>
                    <a:pt x="0" y="8407"/>
                  </a:lnTo>
                  <a:lnTo>
                    <a:pt x="1704" y="0"/>
                  </a:lnTo>
                  <a:lnTo>
                    <a:pt x="3409" y="840"/>
                  </a:lnTo>
                  <a:lnTo>
                    <a:pt x="5114" y="1681"/>
                  </a:lnTo>
                  <a:lnTo>
                    <a:pt x="6818" y="2522"/>
                  </a:lnTo>
                  <a:lnTo>
                    <a:pt x="7671" y="2802"/>
                  </a:lnTo>
                  <a:lnTo>
                    <a:pt x="8523" y="3082"/>
                  </a:lnTo>
                  <a:lnTo>
                    <a:pt x="9091" y="2802"/>
                  </a:lnTo>
                  <a:lnTo>
                    <a:pt x="10796" y="196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48" name="Google Shape;2748;p39"/>
            <p:cNvSpPr/>
            <p:nvPr/>
          </p:nvSpPr>
          <p:spPr>
            <a:xfrm>
              <a:off x="411567" y="7083041"/>
              <a:ext cx="24149" cy="22978"/>
            </a:xfrm>
            <a:custGeom>
              <a:avLst/>
              <a:gdLst/>
              <a:ahLst/>
              <a:cxnLst/>
              <a:rect l="l" t="t" r="r" b="b"/>
              <a:pathLst>
                <a:path w="24149" h="22978" extrusionOk="0">
                  <a:moveTo>
                    <a:pt x="12785" y="17308"/>
                  </a:moveTo>
                  <a:lnTo>
                    <a:pt x="14205" y="17308"/>
                  </a:lnTo>
                  <a:lnTo>
                    <a:pt x="14774" y="17009"/>
                  </a:lnTo>
                  <a:lnTo>
                    <a:pt x="17046" y="16711"/>
                  </a:lnTo>
                  <a:lnTo>
                    <a:pt x="19319" y="15219"/>
                  </a:lnTo>
                  <a:lnTo>
                    <a:pt x="19319" y="11041"/>
                  </a:lnTo>
                  <a:lnTo>
                    <a:pt x="18467" y="8952"/>
                  </a:lnTo>
                  <a:lnTo>
                    <a:pt x="17046" y="7758"/>
                  </a:lnTo>
                  <a:lnTo>
                    <a:pt x="19319" y="0"/>
                  </a:lnTo>
                  <a:lnTo>
                    <a:pt x="24149" y="4476"/>
                  </a:lnTo>
                  <a:lnTo>
                    <a:pt x="24149" y="18502"/>
                  </a:lnTo>
                  <a:lnTo>
                    <a:pt x="19604" y="22978"/>
                  </a:lnTo>
                  <a:lnTo>
                    <a:pt x="5114" y="22978"/>
                  </a:lnTo>
                  <a:lnTo>
                    <a:pt x="0" y="18203"/>
                  </a:lnTo>
                  <a:lnTo>
                    <a:pt x="0" y="4476"/>
                  </a:lnTo>
                  <a:lnTo>
                    <a:pt x="4545" y="0"/>
                  </a:lnTo>
                  <a:lnTo>
                    <a:pt x="4261" y="8057"/>
                  </a:lnTo>
                  <a:lnTo>
                    <a:pt x="3409" y="12235"/>
                  </a:lnTo>
                  <a:lnTo>
                    <a:pt x="6250" y="14622"/>
                  </a:lnTo>
                  <a:lnTo>
                    <a:pt x="7955" y="16114"/>
                  </a:lnTo>
                  <a:lnTo>
                    <a:pt x="10228" y="16711"/>
                  </a:lnTo>
                  <a:lnTo>
                    <a:pt x="12501" y="17905"/>
                  </a:lnTo>
                  <a:lnTo>
                    <a:pt x="12501" y="17606"/>
                  </a:lnTo>
                  <a:lnTo>
                    <a:pt x="12785" y="17308"/>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49" name="Google Shape;2749;p39"/>
            <p:cNvSpPr/>
            <p:nvPr/>
          </p:nvSpPr>
          <p:spPr>
            <a:xfrm>
              <a:off x="415828" y="7083041"/>
              <a:ext cx="15058" cy="8057"/>
            </a:xfrm>
            <a:custGeom>
              <a:avLst/>
              <a:gdLst/>
              <a:ahLst/>
              <a:cxnLst/>
              <a:rect l="l" t="t" r="r" b="b"/>
              <a:pathLst>
                <a:path w="15058" h="8057" extrusionOk="0">
                  <a:moveTo>
                    <a:pt x="10228" y="5073"/>
                  </a:moveTo>
                  <a:lnTo>
                    <a:pt x="6818" y="5073"/>
                  </a:lnTo>
                  <a:lnTo>
                    <a:pt x="3409" y="6565"/>
                  </a:lnTo>
                  <a:lnTo>
                    <a:pt x="0" y="8057"/>
                  </a:lnTo>
                  <a:lnTo>
                    <a:pt x="284" y="0"/>
                  </a:lnTo>
                  <a:lnTo>
                    <a:pt x="15058" y="0"/>
                  </a:lnTo>
                  <a:lnTo>
                    <a:pt x="12785" y="7758"/>
                  </a:lnTo>
                  <a:lnTo>
                    <a:pt x="10228" y="507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50" name="Google Shape;2750;p39"/>
            <p:cNvSpPr/>
            <p:nvPr/>
          </p:nvSpPr>
          <p:spPr>
            <a:xfrm>
              <a:off x="459856" y="6971786"/>
              <a:ext cx="24150" cy="22978"/>
            </a:xfrm>
            <a:custGeom>
              <a:avLst/>
              <a:gdLst/>
              <a:ahLst/>
              <a:cxnLst/>
              <a:rect l="l" t="t" r="r" b="b"/>
              <a:pathLst>
                <a:path w="24150" h="22978" extrusionOk="0">
                  <a:moveTo>
                    <a:pt x="9892" y="5324"/>
                  </a:moveTo>
                  <a:lnTo>
                    <a:pt x="6983" y="5324"/>
                  </a:lnTo>
                  <a:lnTo>
                    <a:pt x="4655" y="7566"/>
                  </a:lnTo>
                  <a:lnTo>
                    <a:pt x="4655" y="10088"/>
                  </a:lnTo>
                  <a:lnTo>
                    <a:pt x="4946" y="13451"/>
                  </a:lnTo>
                  <a:lnTo>
                    <a:pt x="10183" y="17934"/>
                  </a:lnTo>
                  <a:lnTo>
                    <a:pt x="16585" y="17934"/>
                  </a:lnTo>
                  <a:lnTo>
                    <a:pt x="18912" y="15692"/>
                  </a:lnTo>
                  <a:lnTo>
                    <a:pt x="18912" y="9247"/>
                  </a:lnTo>
                  <a:lnTo>
                    <a:pt x="17167" y="0"/>
                  </a:lnTo>
                  <a:lnTo>
                    <a:pt x="24150" y="6445"/>
                  </a:lnTo>
                  <a:lnTo>
                    <a:pt x="24150" y="18214"/>
                  </a:lnTo>
                  <a:lnTo>
                    <a:pt x="19203" y="22978"/>
                  </a:lnTo>
                  <a:lnTo>
                    <a:pt x="6692" y="22978"/>
                  </a:lnTo>
                  <a:lnTo>
                    <a:pt x="0" y="16813"/>
                  </a:lnTo>
                  <a:lnTo>
                    <a:pt x="0" y="4763"/>
                  </a:lnTo>
                  <a:lnTo>
                    <a:pt x="4655" y="0"/>
                  </a:lnTo>
                  <a:lnTo>
                    <a:pt x="10474" y="0"/>
                  </a:lnTo>
                  <a:lnTo>
                    <a:pt x="9892" y="532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51" name="Google Shape;2751;p39"/>
            <p:cNvSpPr/>
            <p:nvPr/>
          </p:nvSpPr>
          <p:spPr>
            <a:xfrm>
              <a:off x="469749" y="6971786"/>
              <a:ext cx="9020" cy="9247"/>
            </a:xfrm>
            <a:custGeom>
              <a:avLst/>
              <a:gdLst/>
              <a:ahLst/>
              <a:cxnLst/>
              <a:rect l="l" t="t" r="r" b="b"/>
              <a:pathLst>
                <a:path w="9020" h="9247" extrusionOk="0">
                  <a:moveTo>
                    <a:pt x="4364" y="5324"/>
                  </a:moveTo>
                  <a:lnTo>
                    <a:pt x="0" y="5324"/>
                  </a:lnTo>
                  <a:lnTo>
                    <a:pt x="581" y="0"/>
                  </a:lnTo>
                  <a:lnTo>
                    <a:pt x="7274" y="0"/>
                  </a:lnTo>
                  <a:lnTo>
                    <a:pt x="9020" y="9247"/>
                  </a:lnTo>
                  <a:lnTo>
                    <a:pt x="4364" y="532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52" name="Google Shape;2752;p39"/>
            <p:cNvSpPr/>
            <p:nvPr/>
          </p:nvSpPr>
          <p:spPr>
            <a:xfrm>
              <a:off x="473135" y="6952433"/>
              <a:ext cx="28980" cy="27816"/>
            </a:xfrm>
            <a:custGeom>
              <a:avLst/>
              <a:gdLst/>
              <a:ahLst/>
              <a:cxnLst/>
              <a:rect l="l" t="t" r="r" b="b"/>
              <a:pathLst>
                <a:path w="28980" h="27816" extrusionOk="0">
                  <a:moveTo>
                    <a:pt x="9091" y="7305"/>
                  </a:moveTo>
                  <a:lnTo>
                    <a:pt x="7103" y="8991"/>
                  </a:lnTo>
                  <a:lnTo>
                    <a:pt x="7103" y="11800"/>
                  </a:lnTo>
                  <a:lnTo>
                    <a:pt x="9376" y="14048"/>
                  </a:lnTo>
                  <a:lnTo>
                    <a:pt x="11933" y="16577"/>
                  </a:lnTo>
                  <a:lnTo>
                    <a:pt x="14774" y="19106"/>
                  </a:lnTo>
                  <a:lnTo>
                    <a:pt x="17615" y="21634"/>
                  </a:lnTo>
                  <a:lnTo>
                    <a:pt x="19604" y="23320"/>
                  </a:lnTo>
                  <a:lnTo>
                    <a:pt x="18467" y="24725"/>
                  </a:lnTo>
                  <a:lnTo>
                    <a:pt x="17331" y="26130"/>
                  </a:lnTo>
                  <a:lnTo>
                    <a:pt x="15910" y="27816"/>
                  </a:lnTo>
                  <a:lnTo>
                    <a:pt x="14774" y="26411"/>
                  </a:lnTo>
                  <a:lnTo>
                    <a:pt x="13921" y="25568"/>
                  </a:lnTo>
                  <a:lnTo>
                    <a:pt x="9944" y="21915"/>
                  </a:lnTo>
                  <a:lnTo>
                    <a:pt x="5682" y="17982"/>
                  </a:lnTo>
                  <a:lnTo>
                    <a:pt x="1988" y="14329"/>
                  </a:lnTo>
                  <a:lnTo>
                    <a:pt x="1136" y="13486"/>
                  </a:lnTo>
                  <a:lnTo>
                    <a:pt x="0" y="11800"/>
                  </a:lnTo>
                  <a:lnTo>
                    <a:pt x="284" y="10957"/>
                  </a:lnTo>
                  <a:lnTo>
                    <a:pt x="852" y="9834"/>
                  </a:lnTo>
                  <a:lnTo>
                    <a:pt x="2557" y="8991"/>
                  </a:lnTo>
                  <a:lnTo>
                    <a:pt x="3693" y="8148"/>
                  </a:lnTo>
                  <a:lnTo>
                    <a:pt x="4546" y="5338"/>
                  </a:lnTo>
                  <a:lnTo>
                    <a:pt x="5682" y="2809"/>
                  </a:lnTo>
                  <a:lnTo>
                    <a:pt x="8807" y="1123"/>
                  </a:lnTo>
                  <a:lnTo>
                    <a:pt x="11364" y="0"/>
                  </a:lnTo>
                  <a:lnTo>
                    <a:pt x="13921" y="281"/>
                  </a:lnTo>
                  <a:lnTo>
                    <a:pt x="16195" y="1966"/>
                  </a:lnTo>
                  <a:lnTo>
                    <a:pt x="19888" y="5338"/>
                  </a:lnTo>
                  <a:lnTo>
                    <a:pt x="23582" y="8710"/>
                  </a:lnTo>
                  <a:lnTo>
                    <a:pt x="27275" y="12081"/>
                  </a:lnTo>
                  <a:lnTo>
                    <a:pt x="28980" y="13486"/>
                  </a:lnTo>
                  <a:lnTo>
                    <a:pt x="28128" y="14329"/>
                  </a:lnTo>
                  <a:lnTo>
                    <a:pt x="26991" y="15734"/>
                  </a:lnTo>
                  <a:lnTo>
                    <a:pt x="25855" y="16858"/>
                  </a:lnTo>
                  <a:lnTo>
                    <a:pt x="25002" y="17139"/>
                  </a:lnTo>
                  <a:lnTo>
                    <a:pt x="23582" y="15734"/>
                  </a:lnTo>
                  <a:lnTo>
                    <a:pt x="20741" y="13205"/>
                  </a:lnTo>
                  <a:lnTo>
                    <a:pt x="17899" y="10677"/>
                  </a:lnTo>
                  <a:lnTo>
                    <a:pt x="15058" y="8148"/>
                  </a:lnTo>
                  <a:lnTo>
                    <a:pt x="12501" y="5619"/>
                  </a:lnTo>
                  <a:lnTo>
                    <a:pt x="10796" y="5619"/>
                  </a:lnTo>
                  <a:lnTo>
                    <a:pt x="9091" y="730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53" name="Google Shape;2753;p39"/>
            <p:cNvSpPr/>
            <p:nvPr/>
          </p:nvSpPr>
          <p:spPr>
            <a:xfrm>
              <a:off x="407942" y="7119326"/>
              <a:ext cx="25357" cy="19350"/>
            </a:xfrm>
            <a:custGeom>
              <a:avLst/>
              <a:gdLst/>
              <a:ahLst/>
              <a:cxnLst/>
              <a:rect l="l" t="t" r="r" b="b"/>
              <a:pathLst>
                <a:path w="25357" h="19350" extrusionOk="0">
                  <a:moveTo>
                    <a:pt x="24794" y="5122"/>
                  </a:moveTo>
                  <a:lnTo>
                    <a:pt x="23667" y="5691"/>
                  </a:lnTo>
                  <a:lnTo>
                    <a:pt x="18595" y="5691"/>
                  </a:lnTo>
                  <a:lnTo>
                    <a:pt x="14932" y="5406"/>
                  </a:lnTo>
                  <a:lnTo>
                    <a:pt x="11269" y="5691"/>
                  </a:lnTo>
                  <a:lnTo>
                    <a:pt x="7889" y="5691"/>
                  </a:lnTo>
                  <a:lnTo>
                    <a:pt x="6480" y="6829"/>
                  </a:lnTo>
                  <a:lnTo>
                    <a:pt x="6480" y="9390"/>
                  </a:lnTo>
                  <a:lnTo>
                    <a:pt x="6198" y="11951"/>
                  </a:lnTo>
                  <a:lnTo>
                    <a:pt x="8452" y="13943"/>
                  </a:lnTo>
                  <a:lnTo>
                    <a:pt x="11833" y="14228"/>
                  </a:lnTo>
                  <a:lnTo>
                    <a:pt x="24230" y="14228"/>
                  </a:lnTo>
                  <a:lnTo>
                    <a:pt x="25357" y="14512"/>
                  </a:lnTo>
                  <a:lnTo>
                    <a:pt x="25357" y="18781"/>
                  </a:lnTo>
                  <a:lnTo>
                    <a:pt x="24230" y="19350"/>
                  </a:lnTo>
                  <a:lnTo>
                    <a:pt x="22540" y="19350"/>
                  </a:lnTo>
                  <a:lnTo>
                    <a:pt x="19440" y="19065"/>
                  </a:lnTo>
                  <a:lnTo>
                    <a:pt x="16623" y="19350"/>
                  </a:lnTo>
                  <a:lnTo>
                    <a:pt x="5635" y="19350"/>
                  </a:lnTo>
                  <a:lnTo>
                    <a:pt x="2817" y="19065"/>
                  </a:lnTo>
                  <a:lnTo>
                    <a:pt x="1690" y="17643"/>
                  </a:lnTo>
                  <a:lnTo>
                    <a:pt x="2817" y="14797"/>
                  </a:lnTo>
                  <a:lnTo>
                    <a:pt x="3099" y="13943"/>
                  </a:lnTo>
                  <a:lnTo>
                    <a:pt x="3099" y="12805"/>
                  </a:lnTo>
                  <a:lnTo>
                    <a:pt x="2817" y="11951"/>
                  </a:lnTo>
                  <a:lnTo>
                    <a:pt x="0" y="7114"/>
                  </a:lnTo>
                  <a:lnTo>
                    <a:pt x="2253" y="0"/>
                  </a:lnTo>
                  <a:lnTo>
                    <a:pt x="9861" y="569"/>
                  </a:lnTo>
                  <a:lnTo>
                    <a:pt x="13805" y="853"/>
                  </a:lnTo>
                  <a:lnTo>
                    <a:pt x="18032" y="569"/>
                  </a:lnTo>
                  <a:lnTo>
                    <a:pt x="23948" y="569"/>
                  </a:lnTo>
                  <a:lnTo>
                    <a:pt x="24794" y="1138"/>
                  </a:lnTo>
                  <a:lnTo>
                    <a:pt x="24794" y="512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54" name="Google Shape;2754;p39"/>
            <p:cNvSpPr/>
            <p:nvPr/>
          </p:nvSpPr>
          <p:spPr>
            <a:xfrm>
              <a:off x="400708" y="7104812"/>
              <a:ext cx="33809" cy="13303"/>
            </a:xfrm>
            <a:custGeom>
              <a:avLst/>
              <a:gdLst/>
              <a:ahLst/>
              <a:cxnLst/>
              <a:rect l="l" t="t" r="r" b="b"/>
              <a:pathLst>
                <a:path w="33809" h="13303" extrusionOk="0">
                  <a:moveTo>
                    <a:pt x="6467" y="9623"/>
                  </a:moveTo>
                  <a:lnTo>
                    <a:pt x="2057" y="9057"/>
                  </a:lnTo>
                  <a:lnTo>
                    <a:pt x="0" y="6227"/>
                  </a:lnTo>
                  <a:lnTo>
                    <a:pt x="1175" y="1981"/>
                  </a:lnTo>
                  <a:lnTo>
                    <a:pt x="1469" y="1132"/>
                  </a:lnTo>
                  <a:lnTo>
                    <a:pt x="2645" y="0"/>
                  </a:lnTo>
                  <a:lnTo>
                    <a:pt x="4115" y="0"/>
                  </a:lnTo>
                  <a:lnTo>
                    <a:pt x="4997" y="1132"/>
                  </a:lnTo>
                  <a:lnTo>
                    <a:pt x="5879" y="1981"/>
                  </a:lnTo>
                  <a:lnTo>
                    <a:pt x="5879" y="3113"/>
                  </a:lnTo>
                  <a:lnTo>
                    <a:pt x="6761" y="3679"/>
                  </a:lnTo>
                  <a:lnTo>
                    <a:pt x="7349" y="4245"/>
                  </a:lnTo>
                  <a:lnTo>
                    <a:pt x="8231" y="4528"/>
                  </a:lnTo>
                  <a:lnTo>
                    <a:pt x="8525" y="4528"/>
                  </a:lnTo>
                  <a:lnTo>
                    <a:pt x="9113" y="3396"/>
                  </a:lnTo>
                  <a:lnTo>
                    <a:pt x="9701" y="3113"/>
                  </a:lnTo>
                  <a:lnTo>
                    <a:pt x="10583" y="2264"/>
                  </a:lnTo>
                  <a:lnTo>
                    <a:pt x="11171" y="1132"/>
                  </a:lnTo>
                  <a:lnTo>
                    <a:pt x="12935" y="1132"/>
                  </a:lnTo>
                  <a:lnTo>
                    <a:pt x="14111" y="2264"/>
                  </a:lnTo>
                  <a:lnTo>
                    <a:pt x="14111" y="3113"/>
                  </a:lnTo>
                  <a:lnTo>
                    <a:pt x="14405" y="4811"/>
                  </a:lnTo>
                  <a:lnTo>
                    <a:pt x="15581" y="5094"/>
                  </a:lnTo>
                  <a:lnTo>
                    <a:pt x="17051" y="5094"/>
                  </a:lnTo>
                  <a:lnTo>
                    <a:pt x="21755" y="5377"/>
                  </a:lnTo>
                  <a:lnTo>
                    <a:pt x="26165" y="5661"/>
                  </a:lnTo>
                  <a:lnTo>
                    <a:pt x="30575" y="5661"/>
                  </a:lnTo>
                  <a:lnTo>
                    <a:pt x="32339" y="5944"/>
                  </a:lnTo>
                  <a:lnTo>
                    <a:pt x="33809" y="6227"/>
                  </a:lnTo>
                  <a:lnTo>
                    <a:pt x="33221" y="8208"/>
                  </a:lnTo>
                  <a:lnTo>
                    <a:pt x="33221" y="9906"/>
                  </a:lnTo>
                  <a:lnTo>
                    <a:pt x="32633" y="11605"/>
                  </a:lnTo>
                  <a:lnTo>
                    <a:pt x="29987" y="11038"/>
                  </a:lnTo>
                  <a:lnTo>
                    <a:pt x="26165" y="10755"/>
                  </a:lnTo>
                  <a:lnTo>
                    <a:pt x="22049" y="10472"/>
                  </a:lnTo>
                  <a:lnTo>
                    <a:pt x="17933" y="10189"/>
                  </a:lnTo>
                  <a:lnTo>
                    <a:pt x="16169" y="10189"/>
                  </a:lnTo>
                  <a:lnTo>
                    <a:pt x="14111" y="9623"/>
                  </a:lnTo>
                  <a:lnTo>
                    <a:pt x="13523" y="12454"/>
                  </a:lnTo>
                  <a:lnTo>
                    <a:pt x="13229" y="12737"/>
                  </a:lnTo>
                  <a:lnTo>
                    <a:pt x="12053" y="13303"/>
                  </a:lnTo>
                  <a:lnTo>
                    <a:pt x="10583" y="13303"/>
                  </a:lnTo>
                  <a:lnTo>
                    <a:pt x="9407" y="12454"/>
                  </a:lnTo>
                  <a:lnTo>
                    <a:pt x="9407" y="11888"/>
                  </a:lnTo>
                  <a:lnTo>
                    <a:pt x="9113" y="10189"/>
                  </a:lnTo>
                  <a:lnTo>
                    <a:pt x="7937" y="9906"/>
                  </a:lnTo>
                  <a:lnTo>
                    <a:pt x="6467" y="962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55" name="Google Shape;2755;p39"/>
            <p:cNvSpPr/>
            <p:nvPr/>
          </p:nvSpPr>
          <p:spPr>
            <a:xfrm>
              <a:off x="438146" y="6994769"/>
              <a:ext cx="31394" cy="18141"/>
            </a:xfrm>
            <a:custGeom>
              <a:avLst/>
              <a:gdLst/>
              <a:ahLst/>
              <a:cxnLst/>
              <a:rect l="l" t="t" r="r" b="b"/>
              <a:pathLst>
                <a:path w="31394" h="18141" extrusionOk="0">
                  <a:moveTo>
                    <a:pt x="0" y="5102"/>
                  </a:moveTo>
                  <a:lnTo>
                    <a:pt x="1184" y="2834"/>
                  </a:lnTo>
                  <a:lnTo>
                    <a:pt x="2369" y="283"/>
                  </a:lnTo>
                  <a:lnTo>
                    <a:pt x="2961" y="0"/>
                  </a:lnTo>
                  <a:lnTo>
                    <a:pt x="5627" y="1700"/>
                  </a:lnTo>
                  <a:lnTo>
                    <a:pt x="7404" y="2551"/>
                  </a:lnTo>
                  <a:lnTo>
                    <a:pt x="8885" y="3684"/>
                  </a:lnTo>
                  <a:lnTo>
                    <a:pt x="10365" y="1417"/>
                  </a:lnTo>
                  <a:lnTo>
                    <a:pt x="10662" y="850"/>
                  </a:lnTo>
                  <a:lnTo>
                    <a:pt x="12143" y="566"/>
                  </a:lnTo>
                  <a:lnTo>
                    <a:pt x="12735" y="1133"/>
                  </a:lnTo>
                  <a:lnTo>
                    <a:pt x="13327" y="1417"/>
                  </a:lnTo>
                  <a:lnTo>
                    <a:pt x="14216" y="2834"/>
                  </a:lnTo>
                  <a:lnTo>
                    <a:pt x="13920" y="3401"/>
                  </a:lnTo>
                  <a:lnTo>
                    <a:pt x="12735" y="5669"/>
                  </a:lnTo>
                  <a:lnTo>
                    <a:pt x="13920" y="6519"/>
                  </a:lnTo>
                  <a:lnTo>
                    <a:pt x="15697" y="7369"/>
                  </a:lnTo>
                  <a:lnTo>
                    <a:pt x="18066" y="8787"/>
                  </a:lnTo>
                  <a:lnTo>
                    <a:pt x="20435" y="10204"/>
                  </a:lnTo>
                  <a:lnTo>
                    <a:pt x="22805" y="11621"/>
                  </a:lnTo>
                  <a:lnTo>
                    <a:pt x="24286" y="12472"/>
                  </a:lnTo>
                  <a:lnTo>
                    <a:pt x="25766" y="12755"/>
                  </a:lnTo>
                  <a:lnTo>
                    <a:pt x="26951" y="11054"/>
                  </a:lnTo>
                  <a:lnTo>
                    <a:pt x="27247" y="10487"/>
                  </a:lnTo>
                  <a:lnTo>
                    <a:pt x="28728" y="10204"/>
                  </a:lnTo>
                  <a:lnTo>
                    <a:pt x="29321" y="10487"/>
                  </a:lnTo>
                  <a:lnTo>
                    <a:pt x="29913" y="11054"/>
                  </a:lnTo>
                  <a:lnTo>
                    <a:pt x="31098" y="11905"/>
                  </a:lnTo>
                  <a:lnTo>
                    <a:pt x="31098" y="12472"/>
                  </a:lnTo>
                  <a:lnTo>
                    <a:pt x="31394" y="15023"/>
                  </a:lnTo>
                  <a:lnTo>
                    <a:pt x="27543" y="18141"/>
                  </a:lnTo>
                  <a:lnTo>
                    <a:pt x="23989" y="18141"/>
                  </a:lnTo>
                  <a:lnTo>
                    <a:pt x="23101" y="17574"/>
                  </a:lnTo>
                  <a:lnTo>
                    <a:pt x="21324" y="17007"/>
                  </a:lnTo>
                  <a:lnTo>
                    <a:pt x="19843" y="16157"/>
                  </a:lnTo>
                  <a:lnTo>
                    <a:pt x="17177" y="14739"/>
                  </a:lnTo>
                  <a:lnTo>
                    <a:pt x="14808" y="13039"/>
                  </a:lnTo>
                  <a:lnTo>
                    <a:pt x="12143" y="11621"/>
                  </a:lnTo>
                  <a:lnTo>
                    <a:pt x="10958" y="10771"/>
                  </a:lnTo>
                  <a:lnTo>
                    <a:pt x="9773" y="10204"/>
                  </a:lnTo>
                  <a:lnTo>
                    <a:pt x="8885" y="11905"/>
                  </a:lnTo>
                  <a:lnTo>
                    <a:pt x="8589" y="12472"/>
                  </a:lnTo>
                  <a:lnTo>
                    <a:pt x="7108" y="12472"/>
                  </a:lnTo>
                  <a:lnTo>
                    <a:pt x="6515" y="12188"/>
                  </a:lnTo>
                  <a:lnTo>
                    <a:pt x="5627" y="11905"/>
                  </a:lnTo>
                  <a:lnTo>
                    <a:pt x="4738" y="10487"/>
                  </a:lnTo>
                  <a:lnTo>
                    <a:pt x="5034" y="10204"/>
                  </a:lnTo>
                  <a:lnTo>
                    <a:pt x="6219" y="7653"/>
                  </a:lnTo>
                  <a:lnTo>
                    <a:pt x="4146" y="7086"/>
                  </a:lnTo>
                  <a:lnTo>
                    <a:pt x="2961" y="6236"/>
                  </a:lnTo>
                  <a:lnTo>
                    <a:pt x="1777" y="5385"/>
                  </a:lnTo>
                  <a:lnTo>
                    <a:pt x="0" y="510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56" name="Google Shape;2756;p39"/>
            <p:cNvSpPr/>
            <p:nvPr/>
          </p:nvSpPr>
          <p:spPr>
            <a:xfrm>
              <a:off x="401918" y="7141097"/>
              <a:ext cx="32601" cy="8465"/>
            </a:xfrm>
            <a:custGeom>
              <a:avLst/>
              <a:gdLst/>
              <a:ahLst/>
              <a:cxnLst/>
              <a:rect l="l" t="t" r="r" b="b"/>
              <a:pathLst>
                <a:path w="32601" h="8465" extrusionOk="0">
                  <a:moveTo>
                    <a:pt x="0" y="5139"/>
                  </a:moveTo>
                  <a:lnTo>
                    <a:pt x="0" y="3325"/>
                  </a:lnTo>
                  <a:lnTo>
                    <a:pt x="873" y="2116"/>
                  </a:lnTo>
                  <a:lnTo>
                    <a:pt x="2910" y="2116"/>
                  </a:lnTo>
                  <a:lnTo>
                    <a:pt x="15581" y="1229"/>
                  </a:lnTo>
                  <a:lnTo>
                    <a:pt x="28242" y="342"/>
                  </a:lnTo>
                  <a:lnTo>
                    <a:pt x="28817" y="302"/>
                  </a:lnTo>
                  <a:lnTo>
                    <a:pt x="30855" y="0"/>
                  </a:lnTo>
                  <a:lnTo>
                    <a:pt x="32019" y="907"/>
                  </a:lnTo>
                  <a:lnTo>
                    <a:pt x="32310" y="3023"/>
                  </a:lnTo>
                  <a:lnTo>
                    <a:pt x="32601" y="5442"/>
                  </a:lnTo>
                  <a:lnTo>
                    <a:pt x="31728" y="6047"/>
                  </a:lnTo>
                  <a:lnTo>
                    <a:pt x="29690" y="6047"/>
                  </a:lnTo>
                  <a:lnTo>
                    <a:pt x="17026" y="7043"/>
                  </a:lnTo>
                  <a:lnTo>
                    <a:pt x="4383" y="8062"/>
                  </a:lnTo>
                  <a:lnTo>
                    <a:pt x="2910" y="8163"/>
                  </a:lnTo>
                  <a:lnTo>
                    <a:pt x="582" y="8465"/>
                  </a:lnTo>
                  <a:lnTo>
                    <a:pt x="0" y="7256"/>
                  </a:lnTo>
                  <a:lnTo>
                    <a:pt x="0" y="5139"/>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57" name="Google Shape;2757;p39"/>
            <p:cNvSpPr/>
            <p:nvPr/>
          </p:nvSpPr>
          <p:spPr>
            <a:xfrm>
              <a:off x="415180" y="7064898"/>
              <a:ext cx="24150" cy="18140"/>
            </a:xfrm>
            <a:custGeom>
              <a:avLst/>
              <a:gdLst/>
              <a:ahLst/>
              <a:cxnLst/>
              <a:rect l="l" t="t" r="r" b="b"/>
              <a:pathLst>
                <a:path w="24150" h="18140" extrusionOk="0">
                  <a:moveTo>
                    <a:pt x="11486" y="9655"/>
                  </a:moveTo>
                  <a:lnTo>
                    <a:pt x="14725" y="10825"/>
                  </a:lnTo>
                  <a:lnTo>
                    <a:pt x="18259" y="11411"/>
                  </a:lnTo>
                  <a:lnTo>
                    <a:pt x="21499" y="12288"/>
                  </a:lnTo>
                  <a:lnTo>
                    <a:pt x="23266" y="12581"/>
                  </a:lnTo>
                  <a:lnTo>
                    <a:pt x="24150" y="13166"/>
                  </a:lnTo>
                  <a:lnTo>
                    <a:pt x="23855" y="15214"/>
                  </a:lnTo>
                  <a:lnTo>
                    <a:pt x="23266" y="17262"/>
                  </a:lnTo>
                  <a:lnTo>
                    <a:pt x="22677" y="18140"/>
                  </a:lnTo>
                  <a:lnTo>
                    <a:pt x="20321" y="17555"/>
                  </a:lnTo>
                  <a:lnTo>
                    <a:pt x="14725" y="16092"/>
                  </a:lnTo>
                  <a:lnTo>
                    <a:pt x="8835" y="14922"/>
                  </a:lnTo>
                  <a:lnTo>
                    <a:pt x="3239" y="13459"/>
                  </a:lnTo>
                  <a:lnTo>
                    <a:pt x="1767" y="13166"/>
                  </a:lnTo>
                  <a:lnTo>
                    <a:pt x="0" y="13459"/>
                  </a:lnTo>
                  <a:lnTo>
                    <a:pt x="294" y="11118"/>
                  </a:lnTo>
                  <a:lnTo>
                    <a:pt x="589" y="9655"/>
                  </a:lnTo>
                  <a:lnTo>
                    <a:pt x="589" y="7607"/>
                  </a:lnTo>
                  <a:lnTo>
                    <a:pt x="2945" y="8192"/>
                  </a:lnTo>
                  <a:lnTo>
                    <a:pt x="2356" y="6144"/>
                  </a:lnTo>
                  <a:lnTo>
                    <a:pt x="1767" y="4388"/>
                  </a:lnTo>
                  <a:lnTo>
                    <a:pt x="1767" y="877"/>
                  </a:lnTo>
                  <a:lnTo>
                    <a:pt x="2650" y="0"/>
                  </a:lnTo>
                  <a:lnTo>
                    <a:pt x="4712" y="292"/>
                  </a:lnTo>
                  <a:lnTo>
                    <a:pt x="6479" y="877"/>
                  </a:lnTo>
                  <a:lnTo>
                    <a:pt x="7951" y="877"/>
                  </a:lnTo>
                  <a:lnTo>
                    <a:pt x="7362" y="3511"/>
                  </a:lnTo>
                  <a:lnTo>
                    <a:pt x="6479" y="6144"/>
                  </a:lnTo>
                  <a:lnTo>
                    <a:pt x="8246" y="8777"/>
                  </a:lnTo>
                  <a:lnTo>
                    <a:pt x="11486" y="965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58" name="Google Shape;2758;p39"/>
            <p:cNvSpPr/>
            <p:nvPr/>
          </p:nvSpPr>
          <p:spPr>
            <a:xfrm>
              <a:off x="451419" y="6988720"/>
              <a:ext cx="21734" cy="16931"/>
            </a:xfrm>
            <a:custGeom>
              <a:avLst/>
              <a:gdLst/>
              <a:ahLst/>
              <a:cxnLst/>
              <a:rect l="l" t="t" r="r" b="b"/>
              <a:pathLst>
                <a:path w="21734" h="16931" extrusionOk="0">
                  <a:moveTo>
                    <a:pt x="6375" y="8896"/>
                  </a:moveTo>
                  <a:lnTo>
                    <a:pt x="1159" y="5165"/>
                  </a:lnTo>
                  <a:lnTo>
                    <a:pt x="579" y="4878"/>
                  </a:lnTo>
                  <a:lnTo>
                    <a:pt x="0" y="3443"/>
                  </a:lnTo>
                  <a:lnTo>
                    <a:pt x="289" y="2869"/>
                  </a:lnTo>
                  <a:lnTo>
                    <a:pt x="579" y="1721"/>
                  </a:lnTo>
                  <a:lnTo>
                    <a:pt x="1448" y="860"/>
                  </a:lnTo>
                  <a:lnTo>
                    <a:pt x="2318" y="0"/>
                  </a:lnTo>
                  <a:lnTo>
                    <a:pt x="3187" y="287"/>
                  </a:lnTo>
                  <a:lnTo>
                    <a:pt x="3767" y="573"/>
                  </a:lnTo>
                  <a:lnTo>
                    <a:pt x="4346" y="1147"/>
                  </a:lnTo>
                  <a:lnTo>
                    <a:pt x="9563" y="4304"/>
                  </a:lnTo>
                  <a:lnTo>
                    <a:pt x="14489" y="7748"/>
                  </a:lnTo>
                  <a:lnTo>
                    <a:pt x="19706" y="10905"/>
                  </a:lnTo>
                  <a:lnTo>
                    <a:pt x="21444" y="12053"/>
                  </a:lnTo>
                  <a:lnTo>
                    <a:pt x="21734" y="12914"/>
                  </a:lnTo>
                  <a:lnTo>
                    <a:pt x="20575" y="14349"/>
                  </a:lnTo>
                  <a:lnTo>
                    <a:pt x="19416" y="16070"/>
                  </a:lnTo>
                  <a:lnTo>
                    <a:pt x="18546" y="16931"/>
                  </a:lnTo>
                  <a:lnTo>
                    <a:pt x="16518" y="15496"/>
                  </a:lnTo>
                  <a:lnTo>
                    <a:pt x="11591" y="12053"/>
                  </a:lnTo>
                  <a:lnTo>
                    <a:pt x="6375" y="889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59" name="Google Shape;2759;p39"/>
            <p:cNvSpPr/>
            <p:nvPr/>
          </p:nvSpPr>
          <p:spPr>
            <a:xfrm>
              <a:off x="444180" y="6982672"/>
              <a:ext cx="6037" cy="7256"/>
            </a:xfrm>
            <a:custGeom>
              <a:avLst/>
              <a:gdLst/>
              <a:ahLst/>
              <a:cxnLst/>
              <a:rect l="l" t="t" r="r" b="b"/>
              <a:pathLst>
                <a:path w="6037" h="7256" extrusionOk="0">
                  <a:moveTo>
                    <a:pt x="274" y="4535"/>
                  </a:moveTo>
                  <a:lnTo>
                    <a:pt x="0" y="3325"/>
                  </a:lnTo>
                  <a:lnTo>
                    <a:pt x="1646" y="1814"/>
                  </a:lnTo>
                  <a:lnTo>
                    <a:pt x="2469" y="0"/>
                  </a:lnTo>
                  <a:lnTo>
                    <a:pt x="4116" y="1511"/>
                  </a:lnTo>
                  <a:lnTo>
                    <a:pt x="5762" y="2721"/>
                  </a:lnTo>
                  <a:lnTo>
                    <a:pt x="6037" y="3930"/>
                  </a:lnTo>
                  <a:lnTo>
                    <a:pt x="6037" y="5140"/>
                  </a:lnTo>
                  <a:lnTo>
                    <a:pt x="4390" y="7256"/>
                  </a:lnTo>
                  <a:lnTo>
                    <a:pt x="2469" y="7256"/>
                  </a:lnTo>
                  <a:lnTo>
                    <a:pt x="548" y="5744"/>
                  </a:lnTo>
                  <a:lnTo>
                    <a:pt x="274" y="453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60" name="Google Shape;2760;p39"/>
            <p:cNvSpPr/>
            <p:nvPr/>
          </p:nvSpPr>
          <p:spPr>
            <a:xfrm>
              <a:off x="596322" y="6877454"/>
              <a:ext cx="6037" cy="7256"/>
            </a:xfrm>
            <a:custGeom>
              <a:avLst/>
              <a:gdLst/>
              <a:ahLst/>
              <a:cxnLst/>
              <a:rect l="l" t="t" r="r" b="b"/>
              <a:pathLst>
                <a:path w="6037" h="7256" extrusionOk="0">
                  <a:moveTo>
                    <a:pt x="2299" y="302"/>
                  </a:moveTo>
                  <a:lnTo>
                    <a:pt x="3449" y="302"/>
                  </a:lnTo>
                  <a:lnTo>
                    <a:pt x="6037" y="0"/>
                  </a:lnTo>
                  <a:lnTo>
                    <a:pt x="5749" y="2721"/>
                  </a:lnTo>
                  <a:lnTo>
                    <a:pt x="5749" y="3930"/>
                  </a:lnTo>
                  <a:lnTo>
                    <a:pt x="5462" y="5140"/>
                  </a:lnTo>
                  <a:lnTo>
                    <a:pt x="3737" y="5744"/>
                  </a:lnTo>
                  <a:lnTo>
                    <a:pt x="2012" y="7256"/>
                  </a:lnTo>
                  <a:lnTo>
                    <a:pt x="1150" y="5140"/>
                  </a:lnTo>
                  <a:lnTo>
                    <a:pt x="287" y="3930"/>
                  </a:lnTo>
                  <a:lnTo>
                    <a:pt x="0" y="2418"/>
                  </a:lnTo>
                  <a:lnTo>
                    <a:pt x="0" y="0"/>
                  </a:lnTo>
                  <a:lnTo>
                    <a:pt x="2299" y="30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61" name="Google Shape;2761;p39"/>
            <p:cNvSpPr/>
            <p:nvPr/>
          </p:nvSpPr>
          <p:spPr>
            <a:xfrm>
              <a:off x="735699" y="7073431"/>
              <a:ext cx="56235" cy="73846"/>
            </a:xfrm>
            <a:custGeom>
              <a:avLst/>
              <a:gdLst/>
              <a:ahLst/>
              <a:cxnLst/>
              <a:rect l="l" t="t" r="r" b="b"/>
              <a:pathLst>
                <a:path w="56235" h="73846" extrusionOk="0">
                  <a:moveTo>
                    <a:pt x="54691" y="22414"/>
                  </a:moveTo>
                  <a:lnTo>
                    <a:pt x="54787" y="22914"/>
                  </a:lnTo>
                  <a:lnTo>
                    <a:pt x="55655" y="27541"/>
                  </a:lnTo>
                  <a:lnTo>
                    <a:pt x="55945" y="32458"/>
                  </a:lnTo>
                  <a:lnTo>
                    <a:pt x="56235" y="36796"/>
                  </a:lnTo>
                  <a:lnTo>
                    <a:pt x="55945" y="42001"/>
                  </a:lnTo>
                  <a:lnTo>
                    <a:pt x="55366" y="46628"/>
                  </a:lnTo>
                  <a:lnTo>
                    <a:pt x="55076" y="51256"/>
                  </a:lnTo>
                  <a:lnTo>
                    <a:pt x="50247" y="63609"/>
                  </a:lnTo>
                  <a:lnTo>
                    <a:pt x="39664" y="71452"/>
                  </a:lnTo>
                  <a:lnTo>
                    <a:pt x="38862" y="71789"/>
                  </a:lnTo>
                  <a:lnTo>
                    <a:pt x="26844" y="73846"/>
                  </a:lnTo>
                  <a:lnTo>
                    <a:pt x="14768" y="70966"/>
                  </a:lnTo>
                  <a:lnTo>
                    <a:pt x="6722" y="65427"/>
                  </a:lnTo>
                  <a:lnTo>
                    <a:pt x="2958" y="61667"/>
                  </a:lnTo>
                  <a:lnTo>
                    <a:pt x="931" y="56751"/>
                  </a:lnTo>
                  <a:lnTo>
                    <a:pt x="642" y="51545"/>
                  </a:lnTo>
                  <a:lnTo>
                    <a:pt x="0" y="38897"/>
                  </a:lnTo>
                  <a:lnTo>
                    <a:pt x="515" y="26233"/>
                  </a:lnTo>
                  <a:lnTo>
                    <a:pt x="642" y="25228"/>
                  </a:lnTo>
                  <a:lnTo>
                    <a:pt x="5387" y="11187"/>
                  </a:lnTo>
                  <a:lnTo>
                    <a:pt x="14309" y="2971"/>
                  </a:lnTo>
                  <a:lnTo>
                    <a:pt x="25792" y="0"/>
                  </a:lnTo>
                  <a:lnTo>
                    <a:pt x="38222" y="1693"/>
                  </a:lnTo>
                  <a:lnTo>
                    <a:pt x="39441" y="2091"/>
                  </a:lnTo>
                  <a:lnTo>
                    <a:pt x="49913" y="10028"/>
                  </a:lnTo>
                  <a:lnTo>
                    <a:pt x="54691" y="22414"/>
                  </a:lnTo>
                  <a:close/>
                </a:path>
              </a:pathLst>
            </a:custGeom>
            <a:solidFill>
              <a:srgbClr val="CECFC8"/>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62" name="Google Shape;2762;p39"/>
            <p:cNvSpPr/>
            <p:nvPr/>
          </p:nvSpPr>
          <p:spPr>
            <a:xfrm>
              <a:off x="701361" y="7051578"/>
              <a:ext cx="125007" cy="120254"/>
            </a:xfrm>
            <a:custGeom>
              <a:avLst/>
              <a:gdLst/>
              <a:ahLst/>
              <a:cxnLst/>
              <a:rect l="l" t="t" r="r" b="b"/>
              <a:pathLst>
                <a:path w="125007" h="120254" extrusionOk="0">
                  <a:moveTo>
                    <a:pt x="4610" y="83141"/>
                  </a:moveTo>
                  <a:lnTo>
                    <a:pt x="1440" y="75045"/>
                  </a:lnTo>
                  <a:lnTo>
                    <a:pt x="0" y="66660"/>
                  </a:lnTo>
                  <a:lnTo>
                    <a:pt x="288" y="59431"/>
                  </a:lnTo>
                  <a:lnTo>
                    <a:pt x="1277" y="45907"/>
                  </a:lnTo>
                  <a:lnTo>
                    <a:pt x="4783" y="33805"/>
                  </a:lnTo>
                  <a:lnTo>
                    <a:pt x="10806" y="22861"/>
                  </a:lnTo>
                  <a:lnTo>
                    <a:pt x="21608" y="11275"/>
                  </a:lnTo>
                  <a:lnTo>
                    <a:pt x="32290" y="4363"/>
                  </a:lnTo>
                  <a:lnTo>
                    <a:pt x="44437" y="0"/>
                  </a:lnTo>
                  <a:lnTo>
                    <a:pt x="50028" y="24545"/>
                  </a:lnTo>
                  <a:lnTo>
                    <a:pt x="40822" y="32275"/>
                  </a:lnTo>
                  <a:lnTo>
                    <a:pt x="35650" y="45806"/>
                  </a:lnTo>
                  <a:lnTo>
                    <a:pt x="35443" y="47287"/>
                  </a:lnTo>
                  <a:lnTo>
                    <a:pt x="34787" y="59936"/>
                  </a:lnTo>
                  <a:lnTo>
                    <a:pt x="35377" y="72600"/>
                  </a:lnTo>
                  <a:lnTo>
                    <a:pt x="35443" y="73599"/>
                  </a:lnTo>
                  <a:lnTo>
                    <a:pt x="35731" y="78804"/>
                  </a:lnTo>
                  <a:lnTo>
                    <a:pt x="37748" y="83719"/>
                  </a:lnTo>
                  <a:lnTo>
                    <a:pt x="41494" y="87478"/>
                  </a:lnTo>
                  <a:lnTo>
                    <a:pt x="51911" y="94011"/>
                  </a:lnTo>
                  <a:lnTo>
                    <a:pt x="64164" y="95884"/>
                  </a:lnTo>
                  <a:lnTo>
                    <a:pt x="73479" y="93839"/>
                  </a:lnTo>
                  <a:lnTo>
                    <a:pt x="84347" y="86236"/>
                  </a:lnTo>
                  <a:lnTo>
                    <a:pt x="89512" y="74130"/>
                  </a:lnTo>
                  <a:lnTo>
                    <a:pt x="89616" y="73310"/>
                  </a:lnTo>
                  <a:lnTo>
                    <a:pt x="89904" y="68684"/>
                  </a:lnTo>
                  <a:lnTo>
                    <a:pt x="90481" y="64057"/>
                  </a:lnTo>
                  <a:lnTo>
                    <a:pt x="90769" y="58853"/>
                  </a:lnTo>
                  <a:lnTo>
                    <a:pt x="90481" y="54516"/>
                  </a:lnTo>
                  <a:lnTo>
                    <a:pt x="90192" y="49600"/>
                  </a:lnTo>
                  <a:lnTo>
                    <a:pt x="89328" y="44974"/>
                  </a:lnTo>
                  <a:lnTo>
                    <a:pt x="84726" y="32466"/>
                  </a:lnTo>
                  <a:lnTo>
                    <a:pt x="74515" y="24315"/>
                  </a:lnTo>
                  <a:lnTo>
                    <a:pt x="85190" y="1099"/>
                  </a:lnTo>
                  <a:lnTo>
                    <a:pt x="92210" y="3915"/>
                  </a:lnTo>
                  <a:lnTo>
                    <a:pt x="103500" y="10795"/>
                  </a:lnTo>
                  <a:lnTo>
                    <a:pt x="112452" y="19880"/>
                  </a:lnTo>
                  <a:lnTo>
                    <a:pt x="119066" y="31029"/>
                  </a:lnTo>
                  <a:lnTo>
                    <a:pt x="120737" y="35143"/>
                  </a:lnTo>
                  <a:lnTo>
                    <a:pt x="123967" y="47531"/>
                  </a:lnTo>
                  <a:lnTo>
                    <a:pt x="125007" y="59925"/>
                  </a:lnTo>
                  <a:lnTo>
                    <a:pt x="123812" y="72230"/>
                  </a:lnTo>
                  <a:lnTo>
                    <a:pt x="120334" y="84355"/>
                  </a:lnTo>
                  <a:lnTo>
                    <a:pt x="112500" y="98378"/>
                  </a:lnTo>
                  <a:lnTo>
                    <a:pt x="103466" y="107438"/>
                  </a:lnTo>
                  <a:lnTo>
                    <a:pt x="92365" y="114080"/>
                  </a:lnTo>
                  <a:lnTo>
                    <a:pt x="83565" y="117260"/>
                  </a:lnTo>
                  <a:lnTo>
                    <a:pt x="71015" y="119731"/>
                  </a:lnTo>
                  <a:lnTo>
                    <a:pt x="58646" y="120254"/>
                  </a:lnTo>
                  <a:lnTo>
                    <a:pt x="46457" y="118601"/>
                  </a:lnTo>
                  <a:lnTo>
                    <a:pt x="34449" y="114545"/>
                  </a:lnTo>
                  <a:lnTo>
                    <a:pt x="29968" y="112345"/>
                  </a:lnTo>
                  <a:lnTo>
                    <a:pt x="19247" y="104903"/>
                  </a:lnTo>
                  <a:lnTo>
                    <a:pt x="10889" y="95276"/>
                  </a:lnTo>
                  <a:lnTo>
                    <a:pt x="4831" y="83708"/>
                  </a:lnTo>
                  <a:lnTo>
                    <a:pt x="4610" y="83141"/>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63" name="Google Shape;2763;p39"/>
            <p:cNvSpPr/>
            <p:nvPr/>
          </p:nvSpPr>
          <p:spPr>
            <a:xfrm>
              <a:off x="745798" y="7049369"/>
              <a:ext cx="40753" cy="26753"/>
            </a:xfrm>
            <a:custGeom>
              <a:avLst/>
              <a:gdLst/>
              <a:ahLst/>
              <a:cxnLst/>
              <a:rect l="l" t="t" r="r" b="b"/>
              <a:pathLst>
                <a:path w="40753" h="26753" extrusionOk="0">
                  <a:moveTo>
                    <a:pt x="0" y="2208"/>
                  </a:moveTo>
                  <a:lnTo>
                    <a:pt x="3396" y="1497"/>
                  </a:lnTo>
                  <a:lnTo>
                    <a:pt x="16083" y="0"/>
                  </a:lnTo>
                  <a:lnTo>
                    <a:pt x="28560" y="515"/>
                  </a:lnTo>
                  <a:lnTo>
                    <a:pt x="40753" y="3308"/>
                  </a:lnTo>
                  <a:lnTo>
                    <a:pt x="30078" y="26523"/>
                  </a:lnTo>
                  <a:lnTo>
                    <a:pt x="29619" y="26364"/>
                  </a:lnTo>
                  <a:lnTo>
                    <a:pt x="17208" y="24242"/>
                  </a:lnTo>
                  <a:lnTo>
                    <a:pt x="5591" y="26753"/>
                  </a:lnTo>
                  <a:lnTo>
                    <a:pt x="0" y="2208"/>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64" name="Google Shape;2764;p39"/>
            <p:cNvSpPr/>
            <p:nvPr/>
          </p:nvSpPr>
          <p:spPr>
            <a:xfrm>
              <a:off x="590856" y="7050977"/>
              <a:ext cx="106379" cy="119178"/>
            </a:xfrm>
            <a:custGeom>
              <a:avLst/>
              <a:gdLst/>
              <a:ahLst/>
              <a:cxnLst/>
              <a:rect l="l" t="t" r="r" b="b"/>
              <a:pathLst>
                <a:path w="106379" h="119178" extrusionOk="0">
                  <a:moveTo>
                    <a:pt x="80573" y="2221"/>
                  </a:moveTo>
                  <a:lnTo>
                    <a:pt x="102651" y="2221"/>
                  </a:lnTo>
                  <a:lnTo>
                    <a:pt x="103512" y="2793"/>
                  </a:lnTo>
                  <a:lnTo>
                    <a:pt x="103512" y="38265"/>
                  </a:lnTo>
                  <a:lnTo>
                    <a:pt x="102651" y="39124"/>
                  </a:lnTo>
                  <a:lnTo>
                    <a:pt x="100644" y="39124"/>
                  </a:lnTo>
                  <a:lnTo>
                    <a:pt x="94623" y="38838"/>
                  </a:lnTo>
                  <a:lnTo>
                    <a:pt x="88888" y="38838"/>
                  </a:lnTo>
                  <a:lnTo>
                    <a:pt x="83153" y="39124"/>
                  </a:lnTo>
                  <a:lnTo>
                    <a:pt x="81146" y="39124"/>
                  </a:lnTo>
                  <a:lnTo>
                    <a:pt x="79712" y="38265"/>
                  </a:lnTo>
                  <a:lnTo>
                    <a:pt x="78852" y="36549"/>
                  </a:lnTo>
                  <a:lnTo>
                    <a:pt x="75698" y="31400"/>
                  </a:lnTo>
                  <a:lnTo>
                    <a:pt x="72257" y="26537"/>
                  </a:lnTo>
                  <a:lnTo>
                    <a:pt x="67096" y="23390"/>
                  </a:lnTo>
                  <a:lnTo>
                    <a:pt x="60788" y="19099"/>
                  </a:lnTo>
                  <a:lnTo>
                    <a:pt x="53619" y="17668"/>
                  </a:lnTo>
                  <a:lnTo>
                    <a:pt x="46164" y="18527"/>
                  </a:lnTo>
                  <a:lnTo>
                    <a:pt x="43297" y="18813"/>
                  </a:lnTo>
                  <a:lnTo>
                    <a:pt x="40716" y="19099"/>
                  </a:lnTo>
                  <a:lnTo>
                    <a:pt x="38136" y="19671"/>
                  </a:lnTo>
                  <a:lnTo>
                    <a:pt x="34121" y="20815"/>
                  </a:lnTo>
                  <a:lnTo>
                    <a:pt x="30967" y="22818"/>
                  </a:lnTo>
                  <a:lnTo>
                    <a:pt x="30394" y="27109"/>
                  </a:lnTo>
                  <a:lnTo>
                    <a:pt x="29533" y="32544"/>
                  </a:lnTo>
                  <a:lnTo>
                    <a:pt x="31541" y="36835"/>
                  </a:lnTo>
                  <a:lnTo>
                    <a:pt x="35842" y="39410"/>
                  </a:lnTo>
                  <a:lnTo>
                    <a:pt x="41290" y="42270"/>
                  </a:lnTo>
                  <a:lnTo>
                    <a:pt x="47311" y="43415"/>
                  </a:lnTo>
                  <a:lnTo>
                    <a:pt x="53333" y="43987"/>
                  </a:lnTo>
                  <a:lnTo>
                    <a:pt x="66019" y="45516"/>
                  </a:lnTo>
                  <a:lnTo>
                    <a:pt x="78335" y="48567"/>
                  </a:lnTo>
                  <a:lnTo>
                    <a:pt x="84874" y="51139"/>
                  </a:lnTo>
                  <a:lnTo>
                    <a:pt x="96093" y="58274"/>
                  </a:lnTo>
                  <a:lnTo>
                    <a:pt x="103885" y="68412"/>
                  </a:lnTo>
                  <a:lnTo>
                    <a:pt x="106379" y="76599"/>
                  </a:lnTo>
                  <a:lnTo>
                    <a:pt x="106275" y="89243"/>
                  </a:lnTo>
                  <a:lnTo>
                    <a:pt x="101285" y="100537"/>
                  </a:lnTo>
                  <a:lnTo>
                    <a:pt x="99211" y="103203"/>
                  </a:lnTo>
                  <a:lnTo>
                    <a:pt x="89276" y="112122"/>
                  </a:lnTo>
                  <a:lnTo>
                    <a:pt x="77925" y="117262"/>
                  </a:lnTo>
                  <a:lnTo>
                    <a:pt x="65399" y="119178"/>
                  </a:lnTo>
                  <a:lnTo>
                    <a:pt x="56487" y="118937"/>
                  </a:lnTo>
                  <a:lnTo>
                    <a:pt x="43793" y="116069"/>
                  </a:lnTo>
                  <a:lnTo>
                    <a:pt x="32497" y="110196"/>
                  </a:lnTo>
                  <a:lnTo>
                    <a:pt x="26666" y="105492"/>
                  </a:lnTo>
                  <a:lnTo>
                    <a:pt x="26379" y="105206"/>
                  </a:lnTo>
                  <a:lnTo>
                    <a:pt x="25806" y="104920"/>
                  </a:lnTo>
                  <a:lnTo>
                    <a:pt x="24659" y="104348"/>
                  </a:lnTo>
                  <a:lnTo>
                    <a:pt x="24659" y="110927"/>
                  </a:lnTo>
                  <a:lnTo>
                    <a:pt x="24946" y="113788"/>
                  </a:lnTo>
                  <a:lnTo>
                    <a:pt x="24946" y="116076"/>
                  </a:lnTo>
                  <a:lnTo>
                    <a:pt x="24085" y="116935"/>
                  </a:lnTo>
                  <a:lnTo>
                    <a:pt x="860" y="116935"/>
                  </a:lnTo>
                  <a:lnTo>
                    <a:pt x="0" y="116362"/>
                  </a:lnTo>
                  <a:lnTo>
                    <a:pt x="0" y="77171"/>
                  </a:lnTo>
                  <a:lnTo>
                    <a:pt x="860" y="76313"/>
                  </a:lnTo>
                  <a:lnTo>
                    <a:pt x="23799" y="76313"/>
                  </a:lnTo>
                  <a:lnTo>
                    <a:pt x="24946" y="77171"/>
                  </a:lnTo>
                  <a:lnTo>
                    <a:pt x="25806" y="78887"/>
                  </a:lnTo>
                  <a:lnTo>
                    <a:pt x="33789" y="89515"/>
                  </a:lnTo>
                  <a:lnTo>
                    <a:pt x="44852" y="95939"/>
                  </a:lnTo>
                  <a:lnTo>
                    <a:pt x="51899" y="97482"/>
                  </a:lnTo>
                  <a:lnTo>
                    <a:pt x="59354" y="98340"/>
                  </a:lnTo>
                  <a:lnTo>
                    <a:pt x="66809" y="98054"/>
                  </a:lnTo>
                  <a:lnTo>
                    <a:pt x="73978" y="94049"/>
                  </a:lnTo>
                  <a:lnTo>
                    <a:pt x="80438" y="84554"/>
                  </a:lnTo>
                  <a:lnTo>
                    <a:pt x="75363" y="74674"/>
                  </a:lnTo>
                  <a:lnTo>
                    <a:pt x="74264" y="74024"/>
                  </a:lnTo>
                  <a:lnTo>
                    <a:pt x="69677" y="71736"/>
                  </a:lnTo>
                  <a:lnTo>
                    <a:pt x="64515" y="70877"/>
                  </a:lnTo>
                  <a:lnTo>
                    <a:pt x="59354" y="69733"/>
                  </a:lnTo>
                  <a:lnTo>
                    <a:pt x="51325" y="68303"/>
                  </a:lnTo>
                  <a:lnTo>
                    <a:pt x="43297" y="67731"/>
                  </a:lnTo>
                  <a:lnTo>
                    <a:pt x="35268" y="66300"/>
                  </a:lnTo>
                  <a:lnTo>
                    <a:pt x="22733" y="62086"/>
                  </a:lnTo>
                  <a:lnTo>
                    <a:pt x="12330" y="54736"/>
                  </a:lnTo>
                  <a:lnTo>
                    <a:pt x="5734" y="46275"/>
                  </a:lnTo>
                  <a:lnTo>
                    <a:pt x="1916" y="34564"/>
                  </a:lnTo>
                  <a:lnTo>
                    <a:pt x="3817" y="22939"/>
                  </a:lnTo>
                  <a:lnTo>
                    <a:pt x="9462" y="14522"/>
                  </a:lnTo>
                  <a:lnTo>
                    <a:pt x="19700" y="6331"/>
                  </a:lnTo>
                  <a:lnTo>
                    <a:pt x="31067" y="1611"/>
                  </a:lnTo>
                  <a:lnTo>
                    <a:pt x="43413" y="0"/>
                  </a:lnTo>
                  <a:lnTo>
                    <a:pt x="54480" y="790"/>
                  </a:lnTo>
                  <a:lnTo>
                    <a:pt x="62508" y="1935"/>
                  </a:lnTo>
                  <a:lnTo>
                    <a:pt x="69963" y="5081"/>
                  </a:lnTo>
                  <a:lnTo>
                    <a:pt x="76272" y="10803"/>
                  </a:lnTo>
                  <a:lnTo>
                    <a:pt x="77132" y="11661"/>
                  </a:lnTo>
                  <a:lnTo>
                    <a:pt x="78279" y="12233"/>
                  </a:lnTo>
                  <a:lnTo>
                    <a:pt x="79999" y="13663"/>
                  </a:lnTo>
                  <a:lnTo>
                    <a:pt x="79999" y="5367"/>
                  </a:lnTo>
                  <a:lnTo>
                    <a:pt x="79712" y="3079"/>
                  </a:lnTo>
                  <a:lnTo>
                    <a:pt x="80573" y="2221"/>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65" name="Google Shape;2765;p39"/>
            <p:cNvSpPr/>
            <p:nvPr/>
          </p:nvSpPr>
          <p:spPr>
            <a:xfrm>
              <a:off x="511796" y="7052802"/>
              <a:ext cx="70033" cy="114890"/>
            </a:xfrm>
            <a:custGeom>
              <a:avLst/>
              <a:gdLst/>
              <a:ahLst/>
              <a:cxnLst/>
              <a:rect l="l" t="t" r="r" b="b"/>
              <a:pathLst>
                <a:path w="70033" h="114890" extrusionOk="0">
                  <a:moveTo>
                    <a:pt x="864" y="22634"/>
                  </a:moveTo>
                  <a:lnTo>
                    <a:pt x="0" y="21774"/>
                  </a:lnTo>
                  <a:lnTo>
                    <a:pt x="288" y="19482"/>
                  </a:lnTo>
                  <a:lnTo>
                    <a:pt x="288" y="2865"/>
                  </a:lnTo>
                  <a:lnTo>
                    <a:pt x="0" y="573"/>
                  </a:lnTo>
                  <a:lnTo>
                    <a:pt x="864" y="0"/>
                  </a:lnTo>
                  <a:lnTo>
                    <a:pt x="68592" y="0"/>
                  </a:lnTo>
                  <a:lnTo>
                    <a:pt x="69457" y="859"/>
                  </a:lnTo>
                  <a:lnTo>
                    <a:pt x="69457" y="2865"/>
                  </a:lnTo>
                  <a:lnTo>
                    <a:pt x="69169" y="8308"/>
                  </a:lnTo>
                  <a:lnTo>
                    <a:pt x="69169" y="13752"/>
                  </a:lnTo>
                  <a:lnTo>
                    <a:pt x="69457" y="19482"/>
                  </a:lnTo>
                  <a:lnTo>
                    <a:pt x="69457" y="21774"/>
                  </a:lnTo>
                  <a:lnTo>
                    <a:pt x="68304" y="22634"/>
                  </a:lnTo>
                  <a:lnTo>
                    <a:pt x="65999" y="22634"/>
                  </a:lnTo>
                  <a:lnTo>
                    <a:pt x="61387" y="22347"/>
                  </a:lnTo>
                  <a:lnTo>
                    <a:pt x="51876" y="22347"/>
                  </a:lnTo>
                  <a:lnTo>
                    <a:pt x="48418" y="22634"/>
                  </a:lnTo>
                  <a:lnTo>
                    <a:pt x="48418" y="26072"/>
                  </a:lnTo>
                  <a:lnTo>
                    <a:pt x="48294" y="38757"/>
                  </a:lnTo>
                  <a:lnTo>
                    <a:pt x="48393" y="51495"/>
                  </a:lnTo>
                  <a:lnTo>
                    <a:pt x="48418" y="57302"/>
                  </a:lnTo>
                  <a:lnTo>
                    <a:pt x="48334" y="70013"/>
                  </a:lnTo>
                  <a:lnTo>
                    <a:pt x="48309" y="82670"/>
                  </a:lnTo>
                  <a:lnTo>
                    <a:pt x="48418" y="88818"/>
                  </a:lnTo>
                  <a:lnTo>
                    <a:pt x="48418" y="92256"/>
                  </a:lnTo>
                  <a:lnTo>
                    <a:pt x="56776" y="92256"/>
                  </a:lnTo>
                  <a:lnTo>
                    <a:pt x="61675" y="92543"/>
                  </a:lnTo>
                  <a:lnTo>
                    <a:pt x="66863" y="92256"/>
                  </a:lnTo>
                  <a:lnTo>
                    <a:pt x="69169" y="92256"/>
                  </a:lnTo>
                  <a:lnTo>
                    <a:pt x="70033" y="93116"/>
                  </a:lnTo>
                  <a:lnTo>
                    <a:pt x="69745" y="95408"/>
                  </a:lnTo>
                  <a:lnTo>
                    <a:pt x="69745" y="112025"/>
                  </a:lnTo>
                  <a:lnTo>
                    <a:pt x="70033" y="114031"/>
                  </a:lnTo>
                  <a:lnTo>
                    <a:pt x="68881" y="114890"/>
                  </a:lnTo>
                  <a:lnTo>
                    <a:pt x="864" y="114890"/>
                  </a:lnTo>
                  <a:lnTo>
                    <a:pt x="0" y="114031"/>
                  </a:lnTo>
                  <a:lnTo>
                    <a:pt x="0" y="111739"/>
                  </a:lnTo>
                  <a:lnTo>
                    <a:pt x="288" y="106295"/>
                  </a:lnTo>
                  <a:lnTo>
                    <a:pt x="288" y="101138"/>
                  </a:lnTo>
                  <a:lnTo>
                    <a:pt x="0" y="95694"/>
                  </a:lnTo>
                  <a:lnTo>
                    <a:pt x="0" y="93116"/>
                  </a:lnTo>
                  <a:lnTo>
                    <a:pt x="1152" y="92256"/>
                  </a:lnTo>
                  <a:lnTo>
                    <a:pt x="3458" y="92256"/>
                  </a:lnTo>
                  <a:lnTo>
                    <a:pt x="8646" y="92543"/>
                  </a:lnTo>
                  <a:lnTo>
                    <a:pt x="13545" y="92256"/>
                  </a:lnTo>
                  <a:lnTo>
                    <a:pt x="18445" y="92256"/>
                  </a:lnTo>
                  <a:lnTo>
                    <a:pt x="20750" y="92543"/>
                  </a:lnTo>
                  <a:lnTo>
                    <a:pt x="21903" y="91683"/>
                  </a:lnTo>
                  <a:lnTo>
                    <a:pt x="21903" y="89104"/>
                  </a:lnTo>
                  <a:lnTo>
                    <a:pt x="21764" y="76377"/>
                  </a:lnTo>
                  <a:lnTo>
                    <a:pt x="21695" y="63692"/>
                  </a:lnTo>
                  <a:lnTo>
                    <a:pt x="21696" y="51020"/>
                  </a:lnTo>
                  <a:lnTo>
                    <a:pt x="21766" y="38334"/>
                  </a:lnTo>
                  <a:lnTo>
                    <a:pt x="21903" y="25785"/>
                  </a:lnTo>
                  <a:lnTo>
                    <a:pt x="21903" y="23207"/>
                  </a:lnTo>
                  <a:lnTo>
                    <a:pt x="20750" y="22347"/>
                  </a:lnTo>
                  <a:lnTo>
                    <a:pt x="18445" y="22347"/>
                  </a:lnTo>
                  <a:lnTo>
                    <a:pt x="13257" y="22634"/>
                  </a:lnTo>
                  <a:lnTo>
                    <a:pt x="8069" y="22347"/>
                  </a:lnTo>
                  <a:lnTo>
                    <a:pt x="3170" y="22634"/>
                  </a:lnTo>
                  <a:lnTo>
                    <a:pt x="864" y="22634"/>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66" name="Google Shape;2766;p39"/>
            <p:cNvSpPr/>
            <p:nvPr/>
          </p:nvSpPr>
          <p:spPr>
            <a:xfrm>
              <a:off x="627912" y="7187388"/>
              <a:ext cx="14982" cy="31637"/>
            </a:xfrm>
            <a:custGeom>
              <a:avLst/>
              <a:gdLst/>
              <a:ahLst/>
              <a:cxnLst/>
              <a:rect l="l" t="t" r="r" b="b"/>
              <a:pathLst>
                <a:path w="14982" h="31637" extrusionOk="0">
                  <a:moveTo>
                    <a:pt x="3457" y="8997"/>
                  </a:moveTo>
                  <a:lnTo>
                    <a:pt x="5186" y="11319"/>
                  </a:lnTo>
                  <a:lnTo>
                    <a:pt x="8643" y="16834"/>
                  </a:lnTo>
                  <a:lnTo>
                    <a:pt x="14982" y="31637"/>
                  </a:lnTo>
                  <a:lnTo>
                    <a:pt x="6757" y="22018"/>
                  </a:lnTo>
                  <a:lnTo>
                    <a:pt x="37" y="11102"/>
                  </a:lnTo>
                  <a:lnTo>
                    <a:pt x="0" y="0"/>
                  </a:lnTo>
                  <a:lnTo>
                    <a:pt x="864" y="2322"/>
                  </a:lnTo>
                  <a:lnTo>
                    <a:pt x="1440" y="4063"/>
                  </a:lnTo>
                  <a:lnTo>
                    <a:pt x="2304" y="4353"/>
                  </a:lnTo>
                  <a:lnTo>
                    <a:pt x="4033" y="4063"/>
                  </a:lnTo>
                  <a:lnTo>
                    <a:pt x="3745" y="8127"/>
                  </a:lnTo>
                  <a:lnTo>
                    <a:pt x="3457" y="8997"/>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67" name="Google Shape;2767;p39"/>
            <p:cNvSpPr/>
            <p:nvPr/>
          </p:nvSpPr>
          <p:spPr>
            <a:xfrm>
              <a:off x="665655" y="7181003"/>
              <a:ext cx="105740" cy="50676"/>
            </a:xfrm>
            <a:custGeom>
              <a:avLst/>
              <a:gdLst/>
              <a:ahLst/>
              <a:cxnLst/>
              <a:rect l="l" t="t" r="r" b="b"/>
              <a:pathLst>
                <a:path w="105740" h="50676" extrusionOk="0">
                  <a:moveTo>
                    <a:pt x="89858" y="20691"/>
                  </a:moveTo>
                  <a:lnTo>
                    <a:pt x="88453" y="22059"/>
                  </a:lnTo>
                  <a:lnTo>
                    <a:pt x="78649" y="30949"/>
                  </a:lnTo>
                  <a:lnTo>
                    <a:pt x="68263" y="38702"/>
                  </a:lnTo>
                  <a:lnTo>
                    <a:pt x="57299" y="45287"/>
                  </a:lnTo>
                  <a:lnTo>
                    <a:pt x="45765" y="50676"/>
                  </a:lnTo>
                  <a:lnTo>
                    <a:pt x="36879" y="49052"/>
                  </a:lnTo>
                  <a:lnTo>
                    <a:pt x="40913" y="47311"/>
                  </a:lnTo>
                  <a:lnTo>
                    <a:pt x="46675" y="44989"/>
                  </a:lnTo>
                  <a:lnTo>
                    <a:pt x="52149" y="42667"/>
                  </a:lnTo>
                  <a:lnTo>
                    <a:pt x="57336" y="39764"/>
                  </a:lnTo>
                  <a:lnTo>
                    <a:pt x="61657" y="37732"/>
                  </a:lnTo>
                  <a:lnTo>
                    <a:pt x="65691" y="34830"/>
                  </a:lnTo>
                  <a:lnTo>
                    <a:pt x="69725" y="32508"/>
                  </a:lnTo>
                  <a:lnTo>
                    <a:pt x="69725" y="31347"/>
                  </a:lnTo>
                  <a:lnTo>
                    <a:pt x="67132" y="29605"/>
                  </a:lnTo>
                  <a:lnTo>
                    <a:pt x="64250" y="28154"/>
                  </a:lnTo>
                  <a:lnTo>
                    <a:pt x="61369" y="26413"/>
                  </a:lnTo>
                  <a:lnTo>
                    <a:pt x="59352" y="24961"/>
                  </a:lnTo>
                  <a:lnTo>
                    <a:pt x="58200" y="25542"/>
                  </a:lnTo>
                  <a:lnTo>
                    <a:pt x="56471" y="26993"/>
                  </a:lnTo>
                  <a:lnTo>
                    <a:pt x="50421" y="32218"/>
                  </a:lnTo>
                  <a:lnTo>
                    <a:pt x="44082" y="36862"/>
                  </a:lnTo>
                  <a:lnTo>
                    <a:pt x="37743" y="41796"/>
                  </a:lnTo>
                  <a:lnTo>
                    <a:pt x="36303" y="42957"/>
                  </a:lnTo>
                  <a:lnTo>
                    <a:pt x="34862" y="43538"/>
                  </a:lnTo>
                  <a:lnTo>
                    <a:pt x="33422" y="44408"/>
                  </a:lnTo>
                  <a:lnTo>
                    <a:pt x="31693" y="49923"/>
                  </a:lnTo>
                  <a:lnTo>
                    <a:pt x="31693" y="49343"/>
                  </a:lnTo>
                  <a:lnTo>
                    <a:pt x="30828" y="48762"/>
                  </a:lnTo>
                  <a:lnTo>
                    <a:pt x="29964" y="47891"/>
                  </a:lnTo>
                  <a:lnTo>
                    <a:pt x="28812" y="47601"/>
                  </a:lnTo>
                  <a:lnTo>
                    <a:pt x="25354" y="46150"/>
                  </a:lnTo>
                  <a:lnTo>
                    <a:pt x="21897" y="44699"/>
                  </a:lnTo>
                  <a:lnTo>
                    <a:pt x="18439" y="43828"/>
                  </a:lnTo>
                  <a:lnTo>
                    <a:pt x="5873" y="41894"/>
                  </a:lnTo>
                  <a:lnTo>
                    <a:pt x="0" y="38603"/>
                  </a:lnTo>
                  <a:lnTo>
                    <a:pt x="0" y="36753"/>
                  </a:lnTo>
                  <a:lnTo>
                    <a:pt x="7779" y="37732"/>
                  </a:lnTo>
                  <a:lnTo>
                    <a:pt x="10372" y="38023"/>
                  </a:lnTo>
                  <a:lnTo>
                    <a:pt x="12965" y="37732"/>
                  </a:lnTo>
                  <a:lnTo>
                    <a:pt x="15270" y="35701"/>
                  </a:lnTo>
                  <a:lnTo>
                    <a:pt x="18439" y="38893"/>
                  </a:lnTo>
                  <a:lnTo>
                    <a:pt x="21032" y="39764"/>
                  </a:lnTo>
                  <a:lnTo>
                    <a:pt x="23337" y="40635"/>
                  </a:lnTo>
                  <a:lnTo>
                    <a:pt x="25642" y="41216"/>
                  </a:lnTo>
                  <a:lnTo>
                    <a:pt x="27083" y="41506"/>
                  </a:lnTo>
                  <a:lnTo>
                    <a:pt x="29388" y="41506"/>
                  </a:lnTo>
                  <a:lnTo>
                    <a:pt x="30828" y="40635"/>
                  </a:lnTo>
                  <a:lnTo>
                    <a:pt x="34862" y="38603"/>
                  </a:lnTo>
                  <a:lnTo>
                    <a:pt x="39184" y="35991"/>
                  </a:lnTo>
                  <a:lnTo>
                    <a:pt x="43218" y="33088"/>
                  </a:lnTo>
                  <a:lnTo>
                    <a:pt x="47251" y="30186"/>
                  </a:lnTo>
                  <a:lnTo>
                    <a:pt x="50709" y="26703"/>
                  </a:lnTo>
                  <a:lnTo>
                    <a:pt x="54742" y="23220"/>
                  </a:lnTo>
                  <a:lnTo>
                    <a:pt x="53302" y="22349"/>
                  </a:lnTo>
                  <a:lnTo>
                    <a:pt x="52726" y="22059"/>
                  </a:lnTo>
                  <a:lnTo>
                    <a:pt x="51861" y="21769"/>
                  </a:lnTo>
                  <a:lnTo>
                    <a:pt x="47251" y="20027"/>
                  </a:lnTo>
                  <a:lnTo>
                    <a:pt x="42353" y="18285"/>
                  </a:lnTo>
                  <a:lnTo>
                    <a:pt x="37455" y="16544"/>
                  </a:lnTo>
                  <a:lnTo>
                    <a:pt x="35438" y="15673"/>
                  </a:lnTo>
                  <a:lnTo>
                    <a:pt x="34286" y="16544"/>
                  </a:lnTo>
                  <a:lnTo>
                    <a:pt x="33133" y="18285"/>
                  </a:lnTo>
                  <a:lnTo>
                    <a:pt x="32557" y="10158"/>
                  </a:lnTo>
                  <a:lnTo>
                    <a:pt x="33133" y="8127"/>
                  </a:lnTo>
                  <a:lnTo>
                    <a:pt x="33710" y="6385"/>
                  </a:lnTo>
                  <a:lnTo>
                    <a:pt x="34574" y="4644"/>
                  </a:lnTo>
                  <a:lnTo>
                    <a:pt x="35438" y="2902"/>
                  </a:lnTo>
                  <a:lnTo>
                    <a:pt x="36303" y="290"/>
                  </a:lnTo>
                  <a:lnTo>
                    <a:pt x="38031" y="0"/>
                  </a:lnTo>
                  <a:lnTo>
                    <a:pt x="40625" y="870"/>
                  </a:lnTo>
                  <a:lnTo>
                    <a:pt x="39472" y="3483"/>
                  </a:lnTo>
                  <a:lnTo>
                    <a:pt x="38608" y="6095"/>
                  </a:lnTo>
                  <a:lnTo>
                    <a:pt x="37743" y="8417"/>
                  </a:lnTo>
                  <a:lnTo>
                    <a:pt x="36303" y="11900"/>
                  </a:lnTo>
                  <a:lnTo>
                    <a:pt x="36591" y="11610"/>
                  </a:lnTo>
                  <a:lnTo>
                    <a:pt x="39760" y="12771"/>
                  </a:lnTo>
                  <a:lnTo>
                    <a:pt x="44658" y="14512"/>
                  </a:lnTo>
                  <a:lnTo>
                    <a:pt x="49844" y="16254"/>
                  </a:lnTo>
                  <a:lnTo>
                    <a:pt x="54454" y="18285"/>
                  </a:lnTo>
                  <a:lnTo>
                    <a:pt x="57047" y="19446"/>
                  </a:lnTo>
                  <a:lnTo>
                    <a:pt x="58776" y="18866"/>
                  </a:lnTo>
                  <a:lnTo>
                    <a:pt x="60217" y="16834"/>
                  </a:lnTo>
                  <a:lnTo>
                    <a:pt x="63386" y="12190"/>
                  </a:lnTo>
                  <a:lnTo>
                    <a:pt x="66555" y="7836"/>
                  </a:lnTo>
                  <a:lnTo>
                    <a:pt x="69725" y="2902"/>
                  </a:lnTo>
                  <a:lnTo>
                    <a:pt x="71165" y="580"/>
                  </a:lnTo>
                  <a:lnTo>
                    <a:pt x="72894" y="0"/>
                  </a:lnTo>
                  <a:lnTo>
                    <a:pt x="76063" y="870"/>
                  </a:lnTo>
                  <a:lnTo>
                    <a:pt x="73758" y="4644"/>
                  </a:lnTo>
                  <a:lnTo>
                    <a:pt x="71742" y="8127"/>
                  </a:lnTo>
                  <a:lnTo>
                    <a:pt x="69437" y="11319"/>
                  </a:lnTo>
                  <a:lnTo>
                    <a:pt x="67132" y="14802"/>
                  </a:lnTo>
                  <a:lnTo>
                    <a:pt x="64539" y="17995"/>
                  </a:lnTo>
                  <a:lnTo>
                    <a:pt x="61945" y="21478"/>
                  </a:lnTo>
                  <a:lnTo>
                    <a:pt x="65979" y="23800"/>
                  </a:lnTo>
                  <a:lnTo>
                    <a:pt x="69437" y="26122"/>
                  </a:lnTo>
                  <a:lnTo>
                    <a:pt x="73182" y="28154"/>
                  </a:lnTo>
                  <a:lnTo>
                    <a:pt x="73758" y="28444"/>
                  </a:lnTo>
                  <a:lnTo>
                    <a:pt x="75487" y="27864"/>
                  </a:lnTo>
                  <a:lnTo>
                    <a:pt x="76352" y="26993"/>
                  </a:lnTo>
                  <a:lnTo>
                    <a:pt x="86001" y="18696"/>
                  </a:lnTo>
                  <a:lnTo>
                    <a:pt x="94478" y="9218"/>
                  </a:lnTo>
                  <a:lnTo>
                    <a:pt x="99113" y="2902"/>
                  </a:lnTo>
                  <a:lnTo>
                    <a:pt x="100842" y="580"/>
                  </a:lnTo>
                  <a:lnTo>
                    <a:pt x="102570" y="0"/>
                  </a:lnTo>
                  <a:lnTo>
                    <a:pt x="105740" y="870"/>
                  </a:lnTo>
                  <a:lnTo>
                    <a:pt x="98471" y="11371"/>
                  </a:lnTo>
                  <a:lnTo>
                    <a:pt x="89858" y="20691"/>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68" name="Google Shape;2768;p39"/>
            <p:cNvSpPr/>
            <p:nvPr/>
          </p:nvSpPr>
          <p:spPr>
            <a:xfrm>
              <a:off x="556458" y="7181003"/>
              <a:ext cx="154962" cy="59703"/>
            </a:xfrm>
            <a:custGeom>
              <a:avLst/>
              <a:gdLst/>
              <a:ahLst/>
              <a:cxnLst/>
              <a:rect l="l" t="t" r="r" b="b"/>
              <a:pathLst>
                <a:path w="154962" h="59703" extrusionOk="0">
                  <a:moveTo>
                    <a:pt x="142862" y="54837"/>
                  </a:moveTo>
                  <a:lnTo>
                    <a:pt x="130203" y="57742"/>
                  </a:lnTo>
                  <a:lnTo>
                    <a:pt x="121875" y="58921"/>
                  </a:lnTo>
                  <a:lnTo>
                    <a:pt x="105828" y="59703"/>
                  </a:lnTo>
                  <a:lnTo>
                    <a:pt x="90748" y="58721"/>
                  </a:lnTo>
                  <a:lnTo>
                    <a:pt x="76648" y="56164"/>
                  </a:lnTo>
                  <a:lnTo>
                    <a:pt x="69725" y="48472"/>
                  </a:lnTo>
                  <a:lnTo>
                    <a:pt x="72030" y="44408"/>
                  </a:lnTo>
                  <a:lnTo>
                    <a:pt x="61142" y="37670"/>
                  </a:lnTo>
                  <a:lnTo>
                    <a:pt x="51259" y="29693"/>
                  </a:lnTo>
                  <a:lnTo>
                    <a:pt x="47539" y="26413"/>
                  </a:lnTo>
                  <a:lnTo>
                    <a:pt x="46963" y="25832"/>
                  </a:lnTo>
                  <a:lnTo>
                    <a:pt x="45523" y="25832"/>
                  </a:lnTo>
                  <a:lnTo>
                    <a:pt x="44658" y="26122"/>
                  </a:lnTo>
                  <a:lnTo>
                    <a:pt x="42353" y="27283"/>
                  </a:lnTo>
                  <a:lnTo>
                    <a:pt x="40048" y="28735"/>
                  </a:lnTo>
                  <a:lnTo>
                    <a:pt x="37743" y="30186"/>
                  </a:lnTo>
                  <a:lnTo>
                    <a:pt x="35150" y="31637"/>
                  </a:lnTo>
                  <a:lnTo>
                    <a:pt x="35150" y="32508"/>
                  </a:lnTo>
                  <a:lnTo>
                    <a:pt x="37743" y="33669"/>
                  </a:lnTo>
                  <a:lnTo>
                    <a:pt x="48972" y="39698"/>
                  </a:lnTo>
                  <a:lnTo>
                    <a:pt x="60240" y="45536"/>
                  </a:lnTo>
                  <a:lnTo>
                    <a:pt x="63538" y="52223"/>
                  </a:lnTo>
                  <a:lnTo>
                    <a:pt x="51430" y="47089"/>
                  </a:lnTo>
                  <a:lnTo>
                    <a:pt x="40336" y="40952"/>
                  </a:lnTo>
                  <a:lnTo>
                    <a:pt x="30266" y="34002"/>
                  </a:lnTo>
                  <a:lnTo>
                    <a:pt x="21232" y="26430"/>
                  </a:lnTo>
                  <a:lnTo>
                    <a:pt x="13246" y="18426"/>
                  </a:lnTo>
                  <a:lnTo>
                    <a:pt x="6318" y="10181"/>
                  </a:lnTo>
                  <a:lnTo>
                    <a:pt x="461" y="1884"/>
                  </a:lnTo>
                  <a:lnTo>
                    <a:pt x="0" y="1160"/>
                  </a:lnTo>
                  <a:lnTo>
                    <a:pt x="2016" y="0"/>
                  </a:lnTo>
                  <a:lnTo>
                    <a:pt x="3745" y="0"/>
                  </a:lnTo>
                  <a:lnTo>
                    <a:pt x="5186" y="2031"/>
                  </a:lnTo>
                  <a:lnTo>
                    <a:pt x="9219" y="6966"/>
                  </a:lnTo>
                  <a:lnTo>
                    <a:pt x="13253" y="12190"/>
                  </a:lnTo>
                  <a:lnTo>
                    <a:pt x="17575" y="16834"/>
                  </a:lnTo>
                  <a:lnTo>
                    <a:pt x="21608" y="20898"/>
                  </a:lnTo>
                  <a:lnTo>
                    <a:pt x="25930" y="24381"/>
                  </a:lnTo>
                  <a:lnTo>
                    <a:pt x="30252" y="28154"/>
                  </a:lnTo>
                  <a:lnTo>
                    <a:pt x="30828" y="28735"/>
                  </a:lnTo>
                  <a:lnTo>
                    <a:pt x="32269" y="28444"/>
                  </a:lnTo>
                  <a:lnTo>
                    <a:pt x="33133" y="27864"/>
                  </a:lnTo>
                  <a:lnTo>
                    <a:pt x="35726" y="26703"/>
                  </a:lnTo>
                  <a:lnTo>
                    <a:pt x="38031" y="24961"/>
                  </a:lnTo>
                  <a:lnTo>
                    <a:pt x="40625" y="23510"/>
                  </a:lnTo>
                  <a:lnTo>
                    <a:pt x="43218" y="21769"/>
                  </a:lnTo>
                  <a:lnTo>
                    <a:pt x="43218" y="21478"/>
                  </a:lnTo>
                  <a:lnTo>
                    <a:pt x="41489" y="19156"/>
                  </a:lnTo>
                  <a:lnTo>
                    <a:pt x="38031" y="13932"/>
                  </a:lnTo>
                  <a:lnTo>
                    <a:pt x="34574" y="8707"/>
                  </a:lnTo>
                  <a:lnTo>
                    <a:pt x="30828" y="3773"/>
                  </a:lnTo>
                  <a:lnTo>
                    <a:pt x="30540" y="2902"/>
                  </a:lnTo>
                  <a:lnTo>
                    <a:pt x="30252" y="2031"/>
                  </a:lnTo>
                  <a:lnTo>
                    <a:pt x="29676" y="870"/>
                  </a:lnTo>
                  <a:lnTo>
                    <a:pt x="32269" y="0"/>
                  </a:lnTo>
                  <a:lnTo>
                    <a:pt x="33998" y="580"/>
                  </a:lnTo>
                  <a:lnTo>
                    <a:pt x="35438" y="2612"/>
                  </a:lnTo>
                  <a:lnTo>
                    <a:pt x="38608" y="7546"/>
                  </a:lnTo>
                  <a:lnTo>
                    <a:pt x="42065" y="12190"/>
                  </a:lnTo>
                  <a:lnTo>
                    <a:pt x="45234" y="17124"/>
                  </a:lnTo>
                  <a:lnTo>
                    <a:pt x="46675" y="19156"/>
                  </a:lnTo>
                  <a:lnTo>
                    <a:pt x="48116" y="19446"/>
                  </a:lnTo>
                  <a:lnTo>
                    <a:pt x="50709" y="18576"/>
                  </a:lnTo>
                  <a:lnTo>
                    <a:pt x="55895" y="16254"/>
                  </a:lnTo>
                  <a:lnTo>
                    <a:pt x="61081" y="14512"/>
                  </a:lnTo>
                  <a:lnTo>
                    <a:pt x="66267" y="12771"/>
                  </a:lnTo>
                  <a:lnTo>
                    <a:pt x="68284" y="12190"/>
                  </a:lnTo>
                  <a:lnTo>
                    <a:pt x="68572" y="11319"/>
                  </a:lnTo>
                  <a:lnTo>
                    <a:pt x="67996" y="9288"/>
                  </a:lnTo>
                  <a:lnTo>
                    <a:pt x="67132" y="7546"/>
                  </a:lnTo>
                  <a:lnTo>
                    <a:pt x="66267" y="5514"/>
                  </a:lnTo>
                  <a:lnTo>
                    <a:pt x="65691" y="3773"/>
                  </a:lnTo>
                  <a:lnTo>
                    <a:pt x="65403" y="2612"/>
                  </a:lnTo>
                  <a:lnTo>
                    <a:pt x="65403" y="870"/>
                  </a:lnTo>
                  <a:lnTo>
                    <a:pt x="65979" y="580"/>
                  </a:lnTo>
                  <a:lnTo>
                    <a:pt x="67420" y="0"/>
                  </a:lnTo>
                  <a:lnTo>
                    <a:pt x="68860" y="290"/>
                  </a:lnTo>
                  <a:lnTo>
                    <a:pt x="69725" y="2031"/>
                  </a:lnTo>
                  <a:lnTo>
                    <a:pt x="70301" y="4353"/>
                  </a:lnTo>
                  <a:lnTo>
                    <a:pt x="71453" y="6385"/>
                  </a:lnTo>
                  <a:lnTo>
                    <a:pt x="71453" y="17415"/>
                  </a:lnTo>
                  <a:lnTo>
                    <a:pt x="71165" y="16834"/>
                  </a:lnTo>
                  <a:lnTo>
                    <a:pt x="69437" y="16254"/>
                  </a:lnTo>
                  <a:lnTo>
                    <a:pt x="68572" y="16544"/>
                  </a:lnTo>
                  <a:lnTo>
                    <a:pt x="64250" y="17705"/>
                  </a:lnTo>
                  <a:lnTo>
                    <a:pt x="60217" y="19446"/>
                  </a:lnTo>
                  <a:lnTo>
                    <a:pt x="55895" y="20898"/>
                  </a:lnTo>
                  <a:lnTo>
                    <a:pt x="54454" y="21478"/>
                  </a:lnTo>
                  <a:lnTo>
                    <a:pt x="52726" y="22059"/>
                  </a:lnTo>
                  <a:lnTo>
                    <a:pt x="50709" y="22930"/>
                  </a:lnTo>
                  <a:lnTo>
                    <a:pt x="52437" y="24671"/>
                  </a:lnTo>
                  <a:lnTo>
                    <a:pt x="53302" y="26122"/>
                  </a:lnTo>
                  <a:lnTo>
                    <a:pt x="54454" y="26993"/>
                  </a:lnTo>
                  <a:lnTo>
                    <a:pt x="60217" y="31057"/>
                  </a:lnTo>
                  <a:lnTo>
                    <a:pt x="65979" y="35120"/>
                  </a:lnTo>
                  <a:lnTo>
                    <a:pt x="71453" y="39474"/>
                  </a:lnTo>
                  <a:lnTo>
                    <a:pt x="76928" y="43538"/>
                  </a:lnTo>
                  <a:lnTo>
                    <a:pt x="81538" y="40345"/>
                  </a:lnTo>
                  <a:lnTo>
                    <a:pt x="86724" y="38893"/>
                  </a:lnTo>
                  <a:lnTo>
                    <a:pt x="86436" y="38313"/>
                  </a:lnTo>
                  <a:lnTo>
                    <a:pt x="86436" y="38023"/>
                  </a:lnTo>
                  <a:lnTo>
                    <a:pt x="80097" y="23220"/>
                  </a:lnTo>
                  <a:lnTo>
                    <a:pt x="83843" y="28444"/>
                  </a:lnTo>
                  <a:lnTo>
                    <a:pt x="87876" y="33379"/>
                  </a:lnTo>
                  <a:lnTo>
                    <a:pt x="89893" y="35701"/>
                  </a:lnTo>
                  <a:lnTo>
                    <a:pt x="92198" y="39184"/>
                  </a:lnTo>
                  <a:lnTo>
                    <a:pt x="95367" y="38023"/>
                  </a:lnTo>
                  <a:lnTo>
                    <a:pt x="98537" y="37732"/>
                  </a:lnTo>
                  <a:lnTo>
                    <a:pt x="100842" y="37442"/>
                  </a:lnTo>
                  <a:lnTo>
                    <a:pt x="103147" y="37152"/>
                  </a:lnTo>
                  <a:lnTo>
                    <a:pt x="103723" y="36862"/>
                  </a:lnTo>
                  <a:lnTo>
                    <a:pt x="105164" y="35991"/>
                  </a:lnTo>
                  <a:lnTo>
                    <a:pt x="105164" y="12480"/>
                  </a:lnTo>
                  <a:lnTo>
                    <a:pt x="103723" y="11319"/>
                  </a:lnTo>
                  <a:lnTo>
                    <a:pt x="103147" y="11319"/>
                  </a:lnTo>
                  <a:lnTo>
                    <a:pt x="94791" y="12190"/>
                  </a:lnTo>
                  <a:lnTo>
                    <a:pt x="86436" y="13061"/>
                  </a:lnTo>
                  <a:lnTo>
                    <a:pt x="78368" y="14222"/>
                  </a:lnTo>
                  <a:lnTo>
                    <a:pt x="75199" y="14512"/>
                  </a:lnTo>
                  <a:lnTo>
                    <a:pt x="75487" y="10449"/>
                  </a:lnTo>
                  <a:lnTo>
                    <a:pt x="88098" y="8840"/>
                  </a:lnTo>
                  <a:lnTo>
                    <a:pt x="100709" y="7412"/>
                  </a:lnTo>
                  <a:lnTo>
                    <a:pt x="102282" y="7256"/>
                  </a:lnTo>
                  <a:lnTo>
                    <a:pt x="104587" y="6966"/>
                  </a:lnTo>
                  <a:lnTo>
                    <a:pt x="105452" y="6095"/>
                  </a:lnTo>
                  <a:lnTo>
                    <a:pt x="105164" y="4063"/>
                  </a:lnTo>
                  <a:lnTo>
                    <a:pt x="105164" y="2612"/>
                  </a:lnTo>
                  <a:lnTo>
                    <a:pt x="105740" y="2031"/>
                  </a:lnTo>
                  <a:lnTo>
                    <a:pt x="106604" y="1160"/>
                  </a:lnTo>
                  <a:lnTo>
                    <a:pt x="107180" y="580"/>
                  </a:lnTo>
                  <a:lnTo>
                    <a:pt x="107757" y="1160"/>
                  </a:lnTo>
                  <a:lnTo>
                    <a:pt x="108909" y="1741"/>
                  </a:lnTo>
                  <a:lnTo>
                    <a:pt x="108909" y="2612"/>
                  </a:lnTo>
                  <a:lnTo>
                    <a:pt x="109773" y="6966"/>
                  </a:lnTo>
                  <a:lnTo>
                    <a:pt x="109773" y="6675"/>
                  </a:lnTo>
                  <a:lnTo>
                    <a:pt x="114095" y="7256"/>
                  </a:lnTo>
                  <a:lnTo>
                    <a:pt x="122451" y="7836"/>
                  </a:lnTo>
                  <a:lnTo>
                    <a:pt x="130518" y="8997"/>
                  </a:lnTo>
                  <a:lnTo>
                    <a:pt x="138586" y="10158"/>
                  </a:lnTo>
                  <a:lnTo>
                    <a:pt x="140602" y="10449"/>
                  </a:lnTo>
                  <a:lnTo>
                    <a:pt x="141755" y="10158"/>
                  </a:lnTo>
                  <a:lnTo>
                    <a:pt x="142331" y="18285"/>
                  </a:lnTo>
                  <a:lnTo>
                    <a:pt x="138586" y="25252"/>
                  </a:lnTo>
                  <a:lnTo>
                    <a:pt x="134552" y="31927"/>
                  </a:lnTo>
                  <a:lnTo>
                    <a:pt x="128789" y="37152"/>
                  </a:lnTo>
                  <a:lnTo>
                    <a:pt x="128501" y="37442"/>
                  </a:lnTo>
                  <a:lnTo>
                    <a:pt x="128213" y="38313"/>
                  </a:lnTo>
                  <a:lnTo>
                    <a:pt x="127637" y="38893"/>
                  </a:lnTo>
                  <a:lnTo>
                    <a:pt x="124468" y="35701"/>
                  </a:lnTo>
                  <a:lnTo>
                    <a:pt x="129942" y="30766"/>
                  </a:lnTo>
                  <a:lnTo>
                    <a:pt x="134264" y="24671"/>
                  </a:lnTo>
                  <a:lnTo>
                    <a:pt x="137721" y="17995"/>
                  </a:lnTo>
                  <a:lnTo>
                    <a:pt x="139450" y="14802"/>
                  </a:lnTo>
                  <a:lnTo>
                    <a:pt x="139162" y="14512"/>
                  </a:lnTo>
                  <a:lnTo>
                    <a:pt x="135992" y="13932"/>
                  </a:lnTo>
                  <a:lnTo>
                    <a:pt x="127637" y="13061"/>
                  </a:lnTo>
                  <a:lnTo>
                    <a:pt x="119570" y="12190"/>
                  </a:lnTo>
                  <a:lnTo>
                    <a:pt x="111214" y="11029"/>
                  </a:lnTo>
                  <a:lnTo>
                    <a:pt x="109485" y="11029"/>
                  </a:lnTo>
                  <a:lnTo>
                    <a:pt x="109197" y="12190"/>
                  </a:lnTo>
                  <a:lnTo>
                    <a:pt x="109197" y="36753"/>
                  </a:lnTo>
                  <a:lnTo>
                    <a:pt x="107757" y="36572"/>
                  </a:lnTo>
                  <a:lnTo>
                    <a:pt x="109197" y="38603"/>
                  </a:lnTo>
                  <a:lnTo>
                    <a:pt x="115071" y="41894"/>
                  </a:lnTo>
                  <a:lnTo>
                    <a:pt x="102450" y="41749"/>
                  </a:lnTo>
                  <a:lnTo>
                    <a:pt x="96232" y="42377"/>
                  </a:lnTo>
                  <a:lnTo>
                    <a:pt x="89029" y="42957"/>
                  </a:lnTo>
                  <a:lnTo>
                    <a:pt x="82402" y="44408"/>
                  </a:lnTo>
                  <a:lnTo>
                    <a:pt x="76063" y="47601"/>
                  </a:lnTo>
                  <a:lnTo>
                    <a:pt x="74911" y="48182"/>
                  </a:lnTo>
                  <a:lnTo>
                    <a:pt x="74335" y="49052"/>
                  </a:lnTo>
                  <a:lnTo>
                    <a:pt x="73470" y="49633"/>
                  </a:lnTo>
                  <a:lnTo>
                    <a:pt x="73470" y="50213"/>
                  </a:lnTo>
                  <a:lnTo>
                    <a:pt x="73758" y="50504"/>
                  </a:lnTo>
                  <a:lnTo>
                    <a:pt x="86225" y="53283"/>
                  </a:lnTo>
                  <a:lnTo>
                    <a:pt x="98729" y="54784"/>
                  </a:lnTo>
                  <a:lnTo>
                    <a:pt x="111249" y="55008"/>
                  </a:lnTo>
                  <a:lnTo>
                    <a:pt x="123761" y="53954"/>
                  </a:lnTo>
                  <a:lnTo>
                    <a:pt x="136243" y="51622"/>
                  </a:lnTo>
                  <a:lnTo>
                    <a:pt x="140602" y="50504"/>
                  </a:lnTo>
                  <a:lnTo>
                    <a:pt x="140602" y="50213"/>
                  </a:lnTo>
                  <a:lnTo>
                    <a:pt x="140890" y="49923"/>
                  </a:lnTo>
                  <a:lnTo>
                    <a:pt x="142619" y="44408"/>
                  </a:lnTo>
                  <a:lnTo>
                    <a:pt x="145789" y="48762"/>
                  </a:lnTo>
                  <a:lnTo>
                    <a:pt x="146077" y="49052"/>
                  </a:lnTo>
                  <a:lnTo>
                    <a:pt x="154962" y="50676"/>
                  </a:lnTo>
                  <a:lnTo>
                    <a:pt x="142862" y="54837"/>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69" name="Google Shape;2769;p39"/>
            <p:cNvSpPr/>
            <p:nvPr/>
          </p:nvSpPr>
          <p:spPr>
            <a:xfrm>
              <a:off x="616698" y="7226540"/>
              <a:ext cx="16407" cy="10627"/>
            </a:xfrm>
            <a:custGeom>
              <a:avLst/>
              <a:gdLst/>
              <a:ahLst/>
              <a:cxnLst/>
              <a:rect l="l" t="t" r="r" b="b"/>
              <a:pathLst>
                <a:path w="16407" h="10627" extrusionOk="0">
                  <a:moveTo>
                    <a:pt x="0" y="0"/>
                  </a:moveTo>
                  <a:lnTo>
                    <a:pt x="2857" y="1484"/>
                  </a:lnTo>
                  <a:lnTo>
                    <a:pt x="6603" y="3515"/>
                  </a:lnTo>
                  <a:lnTo>
                    <a:pt x="9484" y="2935"/>
                  </a:lnTo>
                  <a:lnTo>
                    <a:pt x="16407" y="10627"/>
                  </a:lnTo>
                  <a:lnTo>
                    <a:pt x="3298" y="6686"/>
                  </a:lnTo>
                  <a:lnTo>
                    <a:pt x="0"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70" name="Google Shape;2770;p39"/>
            <p:cNvSpPr/>
            <p:nvPr/>
          </p:nvSpPr>
          <p:spPr>
            <a:xfrm>
              <a:off x="708005" y="6993576"/>
              <a:ext cx="32987" cy="15502"/>
            </a:xfrm>
            <a:custGeom>
              <a:avLst/>
              <a:gdLst/>
              <a:ahLst/>
              <a:cxnLst/>
              <a:rect l="l" t="t" r="r" b="b"/>
              <a:pathLst>
                <a:path w="32987" h="15502" extrusionOk="0">
                  <a:moveTo>
                    <a:pt x="27948" y="15502"/>
                  </a:moveTo>
                  <a:lnTo>
                    <a:pt x="27948" y="14631"/>
                  </a:lnTo>
                  <a:lnTo>
                    <a:pt x="25643" y="13470"/>
                  </a:lnTo>
                  <a:lnTo>
                    <a:pt x="14369" y="7493"/>
                  </a:lnTo>
                  <a:lnTo>
                    <a:pt x="3137" y="1705"/>
                  </a:lnTo>
                  <a:lnTo>
                    <a:pt x="0" y="118"/>
                  </a:lnTo>
                  <a:lnTo>
                    <a:pt x="11804" y="0"/>
                  </a:lnTo>
                  <a:lnTo>
                    <a:pt x="22909" y="6117"/>
                  </a:lnTo>
                  <a:lnTo>
                    <a:pt x="32987" y="13046"/>
                  </a:lnTo>
                  <a:lnTo>
                    <a:pt x="27948" y="1550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71" name="Google Shape;2771;p39"/>
            <p:cNvSpPr/>
            <p:nvPr/>
          </p:nvSpPr>
          <p:spPr>
            <a:xfrm>
              <a:off x="607161" y="6992824"/>
              <a:ext cx="88166" cy="47601"/>
            </a:xfrm>
            <a:custGeom>
              <a:avLst/>
              <a:gdLst/>
              <a:ahLst/>
              <a:cxnLst/>
              <a:rect l="l" t="t" r="r" b="b"/>
              <a:pathLst>
                <a:path w="88166" h="47601" extrusionOk="0">
                  <a:moveTo>
                    <a:pt x="5186" y="31637"/>
                  </a:moveTo>
                  <a:lnTo>
                    <a:pt x="288" y="29606"/>
                  </a:lnTo>
                  <a:lnTo>
                    <a:pt x="0" y="24671"/>
                  </a:lnTo>
                  <a:lnTo>
                    <a:pt x="1440" y="25542"/>
                  </a:lnTo>
                  <a:lnTo>
                    <a:pt x="2016" y="25832"/>
                  </a:lnTo>
                  <a:lnTo>
                    <a:pt x="2881" y="26122"/>
                  </a:lnTo>
                  <a:lnTo>
                    <a:pt x="17575" y="31347"/>
                  </a:lnTo>
                  <a:lnTo>
                    <a:pt x="19592" y="32218"/>
                  </a:lnTo>
                  <a:lnTo>
                    <a:pt x="20456" y="31347"/>
                  </a:lnTo>
                  <a:lnTo>
                    <a:pt x="21609" y="29606"/>
                  </a:lnTo>
                  <a:lnTo>
                    <a:pt x="25354" y="22639"/>
                  </a:lnTo>
                  <a:lnTo>
                    <a:pt x="29388" y="15964"/>
                  </a:lnTo>
                  <a:lnTo>
                    <a:pt x="35151" y="10739"/>
                  </a:lnTo>
                  <a:lnTo>
                    <a:pt x="35727" y="10449"/>
                  </a:lnTo>
                  <a:lnTo>
                    <a:pt x="36015" y="9578"/>
                  </a:lnTo>
                  <a:lnTo>
                    <a:pt x="36591" y="8997"/>
                  </a:lnTo>
                  <a:lnTo>
                    <a:pt x="33998" y="8127"/>
                  </a:lnTo>
                  <a:lnTo>
                    <a:pt x="31693" y="7256"/>
                  </a:lnTo>
                  <a:lnTo>
                    <a:pt x="29388" y="6675"/>
                  </a:lnTo>
                  <a:lnTo>
                    <a:pt x="32846" y="3192"/>
                  </a:lnTo>
                  <a:lnTo>
                    <a:pt x="36303" y="4063"/>
                  </a:lnTo>
                  <a:lnTo>
                    <a:pt x="48899" y="5987"/>
                  </a:lnTo>
                  <a:lnTo>
                    <a:pt x="61439" y="6155"/>
                  </a:lnTo>
                  <a:lnTo>
                    <a:pt x="67997" y="5514"/>
                  </a:lnTo>
                  <a:lnTo>
                    <a:pt x="74912" y="4934"/>
                  </a:lnTo>
                  <a:lnTo>
                    <a:pt x="81827" y="3483"/>
                  </a:lnTo>
                  <a:lnTo>
                    <a:pt x="88166" y="0"/>
                  </a:lnTo>
                  <a:lnTo>
                    <a:pt x="87013" y="4353"/>
                  </a:lnTo>
                  <a:lnTo>
                    <a:pt x="82403" y="7256"/>
                  </a:lnTo>
                  <a:lnTo>
                    <a:pt x="77505" y="8997"/>
                  </a:lnTo>
                  <a:lnTo>
                    <a:pt x="77505" y="9578"/>
                  </a:lnTo>
                  <a:lnTo>
                    <a:pt x="80386" y="19156"/>
                  </a:lnTo>
                  <a:lnTo>
                    <a:pt x="76352" y="14222"/>
                  </a:lnTo>
                  <a:lnTo>
                    <a:pt x="74336" y="12190"/>
                  </a:lnTo>
                  <a:lnTo>
                    <a:pt x="72031" y="8707"/>
                  </a:lnTo>
                  <a:lnTo>
                    <a:pt x="68573" y="9868"/>
                  </a:lnTo>
                  <a:lnTo>
                    <a:pt x="65692" y="10158"/>
                  </a:lnTo>
                  <a:lnTo>
                    <a:pt x="63387" y="10449"/>
                  </a:lnTo>
                  <a:lnTo>
                    <a:pt x="61082" y="10739"/>
                  </a:lnTo>
                  <a:lnTo>
                    <a:pt x="60217" y="11029"/>
                  </a:lnTo>
                  <a:lnTo>
                    <a:pt x="59065" y="11900"/>
                  </a:lnTo>
                  <a:lnTo>
                    <a:pt x="59065" y="12771"/>
                  </a:lnTo>
                  <a:lnTo>
                    <a:pt x="58777" y="20027"/>
                  </a:lnTo>
                  <a:lnTo>
                    <a:pt x="58777" y="27284"/>
                  </a:lnTo>
                  <a:lnTo>
                    <a:pt x="59065" y="34540"/>
                  </a:lnTo>
                  <a:lnTo>
                    <a:pt x="59065" y="35411"/>
                  </a:lnTo>
                  <a:lnTo>
                    <a:pt x="60217" y="36572"/>
                  </a:lnTo>
                  <a:lnTo>
                    <a:pt x="59641" y="40926"/>
                  </a:lnTo>
                  <a:lnTo>
                    <a:pt x="58777" y="41506"/>
                  </a:lnTo>
                  <a:lnTo>
                    <a:pt x="58777" y="44118"/>
                  </a:lnTo>
                  <a:lnTo>
                    <a:pt x="59065" y="44699"/>
                  </a:lnTo>
                  <a:lnTo>
                    <a:pt x="58777" y="45279"/>
                  </a:lnTo>
                  <a:lnTo>
                    <a:pt x="58201" y="45860"/>
                  </a:lnTo>
                  <a:lnTo>
                    <a:pt x="57624" y="46731"/>
                  </a:lnTo>
                  <a:lnTo>
                    <a:pt x="57048" y="47311"/>
                  </a:lnTo>
                  <a:lnTo>
                    <a:pt x="56472" y="11319"/>
                  </a:lnTo>
                  <a:lnTo>
                    <a:pt x="54743" y="9288"/>
                  </a:lnTo>
                  <a:lnTo>
                    <a:pt x="54803" y="11109"/>
                  </a:lnTo>
                  <a:lnTo>
                    <a:pt x="47252" y="10158"/>
                  </a:lnTo>
                  <a:lnTo>
                    <a:pt x="44371" y="9868"/>
                  </a:lnTo>
                  <a:lnTo>
                    <a:pt x="42066" y="10158"/>
                  </a:lnTo>
                  <a:lnTo>
                    <a:pt x="39761" y="12190"/>
                  </a:lnTo>
                  <a:lnTo>
                    <a:pt x="33998" y="17125"/>
                  </a:lnTo>
                  <a:lnTo>
                    <a:pt x="29964" y="23220"/>
                  </a:lnTo>
                  <a:lnTo>
                    <a:pt x="26219" y="29896"/>
                  </a:lnTo>
                  <a:lnTo>
                    <a:pt x="24778" y="33089"/>
                  </a:lnTo>
                  <a:lnTo>
                    <a:pt x="24778" y="33379"/>
                  </a:lnTo>
                  <a:lnTo>
                    <a:pt x="28236" y="33959"/>
                  </a:lnTo>
                  <a:lnTo>
                    <a:pt x="36303" y="34830"/>
                  </a:lnTo>
                  <a:lnTo>
                    <a:pt x="44659" y="35701"/>
                  </a:lnTo>
                  <a:lnTo>
                    <a:pt x="52726" y="36572"/>
                  </a:lnTo>
                  <a:lnTo>
                    <a:pt x="54455" y="40926"/>
                  </a:lnTo>
                  <a:lnTo>
                    <a:pt x="54455" y="41216"/>
                  </a:lnTo>
                  <a:lnTo>
                    <a:pt x="50133" y="40635"/>
                  </a:lnTo>
                  <a:lnTo>
                    <a:pt x="41778" y="40055"/>
                  </a:lnTo>
                  <a:lnTo>
                    <a:pt x="33422" y="38894"/>
                  </a:lnTo>
                  <a:lnTo>
                    <a:pt x="25354" y="37733"/>
                  </a:lnTo>
                  <a:lnTo>
                    <a:pt x="23338" y="37152"/>
                  </a:lnTo>
                  <a:lnTo>
                    <a:pt x="22185" y="37733"/>
                  </a:lnTo>
                  <a:lnTo>
                    <a:pt x="21609" y="39765"/>
                  </a:lnTo>
                  <a:lnTo>
                    <a:pt x="21033" y="41506"/>
                  </a:lnTo>
                  <a:lnTo>
                    <a:pt x="20168" y="43248"/>
                  </a:lnTo>
                  <a:lnTo>
                    <a:pt x="19592" y="44989"/>
                  </a:lnTo>
                  <a:lnTo>
                    <a:pt x="18728" y="47601"/>
                  </a:lnTo>
                  <a:lnTo>
                    <a:pt x="18439" y="36281"/>
                  </a:lnTo>
                  <a:lnTo>
                    <a:pt x="18439" y="35991"/>
                  </a:lnTo>
                  <a:lnTo>
                    <a:pt x="18354" y="36250"/>
                  </a:lnTo>
                  <a:lnTo>
                    <a:pt x="15270" y="35120"/>
                  </a:lnTo>
                  <a:lnTo>
                    <a:pt x="10084" y="33379"/>
                  </a:lnTo>
                  <a:lnTo>
                    <a:pt x="5186" y="31637"/>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72" name="Google Shape;2772;p39"/>
            <p:cNvSpPr/>
            <p:nvPr/>
          </p:nvSpPr>
          <p:spPr>
            <a:xfrm>
              <a:off x="659888" y="7003934"/>
              <a:ext cx="4321" cy="36201"/>
            </a:xfrm>
            <a:custGeom>
              <a:avLst/>
              <a:gdLst/>
              <a:ahLst/>
              <a:cxnLst/>
              <a:rect l="l" t="t" r="r" b="b"/>
              <a:pathLst>
                <a:path w="4321" h="36201" extrusionOk="0">
                  <a:moveTo>
                    <a:pt x="2305" y="23140"/>
                  </a:moveTo>
                  <a:lnTo>
                    <a:pt x="2305" y="6885"/>
                  </a:lnTo>
                  <a:lnTo>
                    <a:pt x="2077" y="0"/>
                  </a:lnTo>
                  <a:lnTo>
                    <a:pt x="3745" y="210"/>
                  </a:lnTo>
                  <a:lnTo>
                    <a:pt x="4321" y="36201"/>
                  </a:lnTo>
                  <a:lnTo>
                    <a:pt x="3457" y="35621"/>
                  </a:lnTo>
                  <a:lnTo>
                    <a:pt x="2593" y="35040"/>
                  </a:lnTo>
                  <a:lnTo>
                    <a:pt x="2305" y="34170"/>
                  </a:lnTo>
                  <a:lnTo>
                    <a:pt x="1728" y="29816"/>
                  </a:lnTo>
                  <a:lnTo>
                    <a:pt x="0" y="25462"/>
                  </a:lnTo>
                  <a:lnTo>
                    <a:pt x="2016" y="25752"/>
                  </a:lnTo>
                  <a:lnTo>
                    <a:pt x="2305" y="24591"/>
                  </a:lnTo>
                  <a:lnTo>
                    <a:pt x="2305" y="2314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73" name="Google Shape;2773;p39"/>
            <p:cNvSpPr/>
            <p:nvPr/>
          </p:nvSpPr>
          <p:spPr>
            <a:xfrm>
              <a:off x="556451" y="6981012"/>
              <a:ext cx="214940" cy="59704"/>
            </a:xfrm>
            <a:custGeom>
              <a:avLst/>
              <a:gdLst/>
              <a:ahLst/>
              <a:cxnLst/>
              <a:rect l="l" t="t" r="r" b="b"/>
              <a:pathLst>
                <a:path w="214940" h="59704" extrusionOk="0">
                  <a:moveTo>
                    <a:pt x="126553" y="50863"/>
                  </a:moveTo>
                  <a:lnTo>
                    <a:pt x="113942" y="52291"/>
                  </a:lnTo>
                  <a:lnTo>
                    <a:pt x="112368" y="52447"/>
                  </a:lnTo>
                  <a:lnTo>
                    <a:pt x="110351" y="52737"/>
                  </a:lnTo>
                  <a:lnTo>
                    <a:pt x="110927" y="48384"/>
                  </a:lnTo>
                  <a:lnTo>
                    <a:pt x="111792" y="48384"/>
                  </a:lnTo>
                  <a:lnTo>
                    <a:pt x="119859" y="47513"/>
                  </a:lnTo>
                  <a:lnTo>
                    <a:pt x="128215" y="46642"/>
                  </a:lnTo>
                  <a:lnTo>
                    <a:pt x="136570" y="45481"/>
                  </a:lnTo>
                  <a:lnTo>
                    <a:pt x="139452" y="45191"/>
                  </a:lnTo>
                  <a:lnTo>
                    <a:pt x="139740" y="44320"/>
                  </a:lnTo>
                  <a:lnTo>
                    <a:pt x="138299" y="41998"/>
                  </a:lnTo>
                  <a:lnTo>
                    <a:pt x="134554" y="36483"/>
                  </a:lnTo>
                  <a:lnTo>
                    <a:pt x="131096" y="30968"/>
                  </a:lnTo>
                  <a:lnTo>
                    <a:pt x="128215" y="21390"/>
                  </a:lnTo>
                  <a:lnTo>
                    <a:pt x="128503" y="21680"/>
                  </a:lnTo>
                  <a:lnTo>
                    <a:pt x="134554" y="27776"/>
                  </a:lnTo>
                  <a:lnTo>
                    <a:pt x="139452" y="34451"/>
                  </a:lnTo>
                  <a:lnTo>
                    <a:pt x="143197" y="42288"/>
                  </a:lnTo>
                  <a:lnTo>
                    <a:pt x="143485" y="42869"/>
                  </a:lnTo>
                  <a:lnTo>
                    <a:pt x="145502" y="43449"/>
                  </a:lnTo>
                  <a:lnTo>
                    <a:pt x="146367" y="43159"/>
                  </a:lnTo>
                  <a:lnTo>
                    <a:pt x="150400" y="41998"/>
                  </a:lnTo>
                  <a:lnTo>
                    <a:pt x="154722" y="40256"/>
                  </a:lnTo>
                  <a:lnTo>
                    <a:pt x="158756" y="38805"/>
                  </a:lnTo>
                  <a:lnTo>
                    <a:pt x="160485" y="38225"/>
                  </a:lnTo>
                  <a:lnTo>
                    <a:pt x="161925" y="37644"/>
                  </a:lnTo>
                  <a:lnTo>
                    <a:pt x="163942" y="36483"/>
                  </a:lnTo>
                  <a:lnTo>
                    <a:pt x="162502" y="35032"/>
                  </a:lnTo>
                  <a:lnTo>
                    <a:pt x="161349" y="33581"/>
                  </a:lnTo>
                  <a:lnTo>
                    <a:pt x="160197" y="32710"/>
                  </a:lnTo>
                  <a:lnTo>
                    <a:pt x="154722" y="28646"/>
                  </a:lnTo>
                  <a:lnTo>
                    <a:pt x="148672" y="24583"/>
                  </a:lnTo>
                  <a:lnTo>
                    <a:pt x="143197" y="20229"/>
                  </a:lnTo>
                  <a:lnTo>
                    <a:pt x="137723" y="16165"/>
                  </a:lnTo>
                  <a:lnTo>
                    <a:pt x="138875" y="11811"/>
                  </a:lnTo>
                  <a:lnTo>
                    <a:pt x="139740" y="11521"/>
                  </a:lnTo>
                  <a:lnTo>
                    <a:pt x="140604" y="10650"/>
                  </a:lnTo>
                  <a:lnTo>
                    <a:pt x="141468" y="10070"/>
                  </a:lnTo>
                  <a:lnTo>
                    <a:pt x="141180" y="9780"/>
                  </a:lnTo>
                  <a:lnTo>
                    <a:pt x="141180" y="9199"/>
                  </a:lnTo>
                  <a:lnTo>
                    <a:pt x="128657" y="6429"/>
                  </a:lnTo>
                  <a:lnTo>
                    <a:pt x="116172" y="4926"/>
                  </a:lnTo>
                  <a:lnTo>
                    <a:pt x="103702" y="4690"/>
                  </a:lnTo>
                  <a:lnTo>
                    <a:pt x="91225" y="5721"/>
                  </a:lnTo>
                  <a:lnTo>
                    <a:pt x="78718" y="8019"/>
                  </a:lnTo>
                  <a:lnTo>
                    <a:pt x="74047" y="9199"/>
                  </a:lnTo>
                  <a:lnTo>
                    <a:pt x="74047" y="9780"/>
                  </a:lnTo>
                  <a:lnTo>
                    <a:pt x="73759" y="10070"/>
                  </a:lnTo>
                  <a:lnTo>
                    <a:pt x="74912" y="10941"/>
                  </a:lnTo>
                  <a:lnTo>
                    <a:pt x="75776" y="11811"/>
                  </a:lnTo>
                  <a:lnTo>
                    <a:pt x="76641" y="12102"/>
                  </a:lnTo>
                  <a:lnTo>
                    <a:pt x="80098" y="13553"/>
                  </a:lnTo>
                  <a:lnTo>
                    <a:pt x="83556" y="15004"/>
                  </a:lnTo>
                  <a:lnTo>
                    <a:pt x="80098" y="18487"/>
                  </a:lnTo>
                  <a:lnTo>
                    <a:pt x="78369" y="18197"/>
                  </a:lnTo>
                  <a:lnTo>
                    <a:pt x="76352" y="18197"/>
                  </a:lnTo>
                  <a:lnTo>
                    <a:pt x="74912" y="19068"/>
                  </a:lnTo>
                  <a:lnTo>
                    <a:pt x="70590" y="21100"/>
                  </a:lnTo>
                  <a:lnTo>
                    <a:pt x="66268" y="23712"/>
                  </a:lnTo>
                  <a:lnTo>
                    <a:pt x="67709" y="17907"/>
                  </a:lnTo>
                  <a:lnTo>
                    <a:pt x="69149" y="16746"/>
                  </a:lnTo>
                  <a:lnTo>
                    <a:pt x="70590" y="16165"/>
                  </a:lnTo>
                  <a:lnTo>
                    <a:pt x="72031" y="15295"/>
                  </a:lnTo>
                  <a:lnTo>
                    <a:pt x="69149" y="10941"/>
                  </a:lnTo>
                  <a:lnTo>
                    <a:pt x="68861" y="10650"/>
                  </a:lnTo>
                  <a:lnTo>
                    <a:pt x="64539" y="12392"/>
                  </a:lnTo>
                  <a:lnTo>
                    <a:pt x="59065" y="14714"/>
                  </a:lnTo>
                  <a:lnTo>
                    <a:pt x="53591" y="17036"/>
                  </a:lnTo>
                  <a:lnTo>
                    <a:pt x="48116" y="19648"/>
                  </a:lnTo>
                  <a:lnTo>
                    <a:pt x="43794" y="21970"/>
                  </a:lnTo>
                  <a:lnTo>
                    <a:pt x="40049" y="24873"/>
                  </a:lnTo>
                  <a:lnTo>
                    <a:pt x="35727" y="27195"/>
                  </a:lnTo>
                  <a:lnTo>
                    <a:pt x="35727" y="28356"/>
                  </a:lnTo>
                  <a:lnTo>
                    <a:pt x="38608" y="30098"/>
                  </a:lnTo>
                  <a:lnTo>
                    <a:pt x="41489" y="31549"/>
                  </a:lnTo>
                  <a:lnTo>
                    <a:pt x="44083" y="33290"/>
                  </a:lnTo>
                  <a:lnTo>
                    <a:pt x="46099" y="34742"/>
                  </a:lnTo>
                  <a:lnTo>
                    <a:pt x="47252" y="34161"/>
                  </a:lnTo>
                  <a:lnTo>
                    <a:pt x="48981" y="32710"/>
                  </a:lnTo>
                  <a:lnTo>
                    <a:pt x="50709" y="36483"/>
                  </a:lnTo>
                  <a:lnTo>
                    <a:pt x="50997" y="41418"/>
                  </a:lnTo>
                  <a:lnTo>
                    <a:pt x="48404" y="40256"/>
                  </a:lnTo>
                  <a:lnTo>
                    <a:pt x="46964" y="40837"/>
                  </a:lnTo>
                  <a:lnTo>
                    <a:pt x="45523" y="42869"/>
                  </a:lnTo>
                  <a:lnTo>
                    <a:pt x="42354" y="47513"/>
                  </a:lnTo>
                  <a:lnTo>
                    <a:pt x="38896" y="51867"/>
                  </a:lnTo>
                  <a:lnTo>
                    <a:pt x="36015" y="56511"/>
                  </a:lnTo>
                  <a:lnTo>
                    <a:pt x="34574" y="58833"/>
                  </a:lnTo>
                  <a:lnTo>
                    <a:pt x="32846" y="59704"/>
                  </a:lnTo>
                  <a:lnTo>
                    <a:pt x="29676" y="58833"/>
                  </a:lnTo>
                  <a:lnTo>
                    <a:pt x="31693" y="55060"/>
                  </a:lnTo>
                  <a:lnTo>
                    <a:pt x="33998" y="51576"/>
                  </a:lnTo>
                  <a:lnTo>
                    <a:pt x="36015" y="48384"/>
                  </a:lnTo>
                  <a:lnTo>
                    <a:pt x="38320" y="44901"/>
                  </a:lnTo>
                  <a:lnTo>
                    <a:pt x="40913" y="41708"/>
                  </a:lnTo>
                  <a:lnTo>
                    <a:pt x="43506" y="38225"/>
                  </a:lnTo>
                  <a:lnTo>
                    <a:pt x="39761" y="35903"/>
                  </a:lnTo>
                  <a:lnTo>
                    <a:pt x="36303" y="33581"/>
                  </a:lnTo>
                  <a:lnTo>
                    <a:pt x="32558" y="31549"/>
                  </a:lnTo>
                  <a:lnTo>
                    <a:pt x="29964" y="31839"/>
                  </a:lnTo>
                  <a:lnTo>
                    <a:pt x="29100" y="32420"/>
                  </a:lnTo>
                  <a:lnTo>
                    <a:pt x="19712" y="40882"/>
                  </a:lnTo>
                  <a:lnTo>
                    <a:pt x="11231" y="50354"/>
                  </a:lnTo>
                  <a:lnTo>
                    <a:pt x="6338" y="56801"/>
                  </a:lnTo>
                  <a:lnTo>
                    <a:pt x="4898" y="59123"/>
                  </a:lnTo>
                  <a:lnTo>
                    <a:pt x="2881" y="59704"/>
                  </a:lnTo>
                  <a:lnTo>
                    <a:pt x="7292" y="48267"/>
                  </a:lnTo>
                  <a:lnTo>
                    <a:pt x="15767" y="38893"/>
                  </a:lnTo>
                  <a:lnTo>
                    <a:pt x="26896" y="28754"/>
                  </a:lnTo>
                  <a:lnTo>
                    <a:pt x="37316" y="21001"/>
                  </a:lnTo>
                  <a:lnTo>
                    <a:pt x="48269" y="14416"/>
                  </a:lnTo>
                  <a:lnTo>
                    <a:pt x="59769" y="9027"/>
                  </a:lnTo>
                  <a:lnTo>
                    <a:pt x="71826" y="4866"/>
                  </a:lnTo>
                  <a:lnTo>
                    <a:pt x="84453" y="1961"/>
                  </a:lnTo>
                  <a:lnTo>
                    <a:pt x="92776" y="782"/>
                  </a:lnTo>
                  <a:lnTo>
                    <a:pt x="108866" y="0"/>
                  </a:lnTo>
                  <a:lnTo>
                    <a:pt x="123980" y="976"/>
                  </a:lnTo>
                  <a:lnTo>
                    <a:pt x="138106" y="3522"/>
                  </a:lnTo>
                  <a:lnTo>
                    <a:pt x="151235" y="7447"/>
                  </a:lnTo>
                  <a:lnTo>
                    <a:pt x="163358" y="12563"/>
                  </a:lnTo>
                  <a:lnTo>
                    <a:pt x="151553" y="12682"/>
                  </a:lnTo>
                  <a:lnTo>
                    <a:pt x="148095" y="10650"/>
                  </a:lnTo>
                  <a:lnTo>
                    <a:pt x="145214" y="11231"/>
                  </a:lnTo>
                  <a:lnTo>
                    <a:pt x="142621" y="15295"/>
                  </a:lnTo>
                  <a:lnTo>
                    <a:pt x="153509" y="21944"/>
                  </a:lnTo>
                  <a:lnTo>
                    <a:pt x="163392" y="29910"/>
                  </a:lnTo>
                  <a:lnTo>
                    <a:pt x="167112" y="33290"/>
                  </a:lnTo>
                  <a:lnTo>
                    <a:pt x="167688" y="33871"/>
                  </a:lnTo>
                  <a:lnTo>
                    <a:pt x="169417" y="33871"/>
                  </a:lnTo>
                  <a:lnTo>
                    <a:pt x="169993" y="33581"/>
                  </a:lnTo>
                  <a:lnTo>
                    <a:pt x="172586" y="32420"/>
                  </a:lnTo>
                  <a:lnTo>
                    <a:pt x="174891" y="30968"/>
                  </a:lnTo>
                  <a:lnTo>
                    <a:pt x="177196" y="29517"/>
                  </a:lnTo>
                  <a:lnTo>
                    <a:pt x="179501" y="28066"/>
                  </a:lnTo>
                  <a:lnTo>
                    <a:pt x="184540" y="25610"/>
                  </a:lnTo>
                  <a:lnTo>
                    <a:pt x="193580" y="33161"/>
                  </a:lnTo>
                  <a:lnTo>
                    <a:pt x="201572" y="41146"/>
                  </a:lnTo>
                  <a:lnTo>
                    <a:pt x="208507" y="49375"/>
                  </a:lnTo>
                  <a:lnTo>
                    <a:pt x="214374" y="57658"/>
                  </a:lnTo>
                  <a:lnTo>
                    <a:pt x="214940" y="58543"/>
                  </a:lnTo>
                  <a:lnTo>
                    <a:pt x="212923" y="59704"/>
                  </a:lnTo>
                  <a:lnTo>
                    <a:pt x="210907" y="59704"/>
                  </a:lnTo>
                  <a:lnTo>
                    <a:pt x="209466" y="57672"/>
                  </a:lnTo>
                  <a:lnTo>
                    <a:pt x="205432" y="52737"/>
                  </a:lnTo>
                  <a:lnTo>
                    <a:pt x="201687" y="47513"/>
                  </a:lnTo>
                  <a:lnTo>
                    <a:pt x="197077" y="42869"/>
                  </a:lnTo>
                  <a:lnTo>
                    <a:pt x="193331" y="38805"/>
                  </a:lnTo>
                  <a:lnTo>
                    <a:pt x="189009" y="35032"/>
                  </a:lnTo>
                  <a:lnTo>
                    <a:pt x="184687" y="31549"/>
                  </a:lnTo>
                  <a:lnTo>
                    <a:pt x="184111" y="30968"/>
                  </a:lnTo>
                  <a:lnTo>
                    <a:pt x="182382" y="31259"/>
                  </a:lnTo>
                  <a:lnTo>
                    <a:pt x="181806" y="31839"/>
                  </a:lnTo>
                  <a:lnTo>
                    <a:pt x="179213" y="33000"/>
                  </a:lnTo>
                  <a:lnTo>
                    <a:pt x="176620" y="34742"/>
                  </a:lnTo>
                  <a:lnTo>
                    <a:pt x="174027" y="36193"/>
                  </a:lnTo>
                  <a:lnTo>
                    <a:pt x="171433" y="37934"/>
                  </a:lnTo>
                  <a:lnTo>
                    <a:pt x="171433" y="38225"/>
                  </a:lnTo>
                  <a:lnTo>
                    <a:pt x="173162" y="40547"/>
                  </a:lnTo>
                  <a:lnTo>
                    <a:pt x="176908" y="45771"/>
                  </a:lnTo>
                  <a:lnTo>
                    <a:pt x="180365" y="50706"/>
                  </a:lnTo>
                  <a:lnTo>
                    <a:pt x="183823" y="55930"/>
                  </a:lnTo>
                  <a:lnTo>
                    <a:pt x="184399" y="56801"/>
                  </a:lnTo>
                  <a:lnTo>
                    <a:pt x="184687" y="57672"/>
                  </a:lnTo>
                  <a:lnTo>
                    <a:pt x="185263" y="58833"/>
                  </a:lnTo>
                  <a:lnTo>
                    <a:pt x="182382" y="59704"/>
                  </a:lnTo>
                  <a:lnTo>
                    <a:pt x="180942" y="59123"/>
                  </a:lnTo>
                  <a:lnTo>
                    <a:pt x="179501" y="57091"/>
                  </a:lnTo>
                  <a:lnTo>
                    <a:pt x="176332" y="52157"/>
                  </a:lnTo>
                  <a:lnTo>
                    <a:pt x="172874" y="47513"/>
                  </a:lnTo>
                  <a:lnTo>
                    <a:pt x="169417" y="42579"/>
                  </a:lnTo>
                  <a:lnTo>
                    <a:pt x="168264" y="40547"/>
                  </a:lnTo>
                  <a:lnTo>
                    <a:pt x="166535" y="40256"/>
                  </a:lnTo>
                  <a:lnTo>
                    <a:pt x="164230" y="41127"/>
                  </a:lnTo>
                  <a:lnTo>
                    <a:pt x="159044" y="43449"/>
                  </a:lnTo>
                  <a:lnTo>
                    <a:pt x="153858" y="45191"/>
                  </a:lnTo>
                  <a:lnTo>
                    <a:pt x="148672" y="46932"/>
                  </a:lnTo>
                  <a:lnTo>
                    <a:pt x="146367" y="47513"/>
                  </a:lnTo>
                  <a:lnTo>
                    <a:pt x="146079" y="48384"/>
                  </a:lnTo>
                  <a:lnTo>
                    <a:pt x="146943" y="50415"/>
                  </a:lnTo>
                  <a:lnTo>
                    <a:pt x="147807" y="52157"/>
                  </a:lnTo>
                  <a:lnTo>
                    <a:pt x="148672" y="54189"/>
                  </a:lnTo>
                  <a:lnTo>
                    <a:pt x="149248" y="55930"/>
                  </a:lnTo>
                  <a:lnTo>
                    <a:pt x="149248" y="58833"/>
                  </a:lnTo>
                  <a:lnTo>
                    <a:pt x="148672" y="59123"/>
                  </a:lnTo>
                  <a:lnTo>
                    <a:pt x="147231" y="59704"/>
                  </a:lnTo>
                  <a:lnTo>
                    <a:pt x="145790" y="59413"/>
                  </a:lnTo>
                  <a:lnTo>
                    <a:pt x="145214" y="57672"/>
                  </a:lnTo>
                  <a:lnTo>
                    <a:pt x="144350" y="55350"/>
                  </a:lnTo>
                  <a:lnTo>
                    <a:pt x="143485" y="53318"/>
                  </a:lnTo>
                  <a:lnTo>
                    <a:pt x="142621" y="50996"/>
                  </a:lnTo>
                  <a:lnTo>
                    <a:pt x="142045" y="49254"/>
                  </a:lnTo>
                  <a:lnTo>
                    <a:pt x="141180" y="48964"/>
                  </a:lnTo>
                  <a:lnTo>
                    <a:pt x="139164" y="49254"/>
                  </a:lnTo>
                  <a:lnTo>
                    <a:pt x="126553" y="50863"/>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74" name="Google Shape;2774;p39"/>
            <p:cNvSpPr/>
            <p:nvPr/>
          </p:nvSpPr>
          <p:spPr>
            <a:xfrm>
              <a:off x="621567" y="7029075"/>
              <a:ext cx="4321" cy="11641"/>
            </a:xfrm>
            <a:custGeom>
              <a:avLst/>
              <a:gdLst/>
              <a:ahLst/>
              <a:cxnLst/>
              <a:rect l="l" t="t" r="r" b="b"/>
              <a:pathLst>
                <a:path w="4321" h="11641" extrusionOk="0">
                  <a:moveTo>
                    <a:pt x="864" y="8158"/>
                  </a:moveTo>
                  <a:lnTo>
                    <a:pt x="1728" y="5546"/>
                  </a:lnTo>
                  <a:lnTo>
                    <a:pt x="2881" y="3224"/>
                  </a:lnTo>
                  <a:lnTo>
                    <a:pt x="3948" y="0"/>
                  </a:lnTo>
                  <a:lnTo>
                    <a:pt x="4321" y="11351"/>
                  </a:lnTo>
                  <a:lnTo>
                    <a:pt x="2593" y="11641"/>
                  </a:lnTo>
                  <a:lnTo>
                    <a:pt x="0" y="10770"/>
                  </a:lnTo>
                  <a:lnTo>
                    <a:pt x="864" y="8158"/>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75" name="Google Shape;2775;p39"/>
            <p:cNvSpPr/>
            <p:nvPr/>
          </p:nvSpPr>
          <p:spPr>
            <a:xfrm>
              <a:off x="605432" y="6998920"/>
              <a:ext cx="18728" cy="18576"/>
            </a:xfrm>
            <a:custGeom>
              <a:avLst/>
              <a:gdLst/>
              <a:ahLst/>
              <a:cxnLst/>
              <a:rect l="l" t="t" r="r" b="b"/>
              <a:pathLst>
                <a:path w="18728" h="18576" extrusionOk="0">
                  <a:moveTo>
                    <a:pt x="6050" y="9578"/>
                  </a:moveTo>
                  <a:lnTo>
                    <a:pt x="12389" y="4934"/>
                  </a:lnTo>
                  <a:lnTo>
                    <a:pt x="18728" y="0"/>
                  </a:lnTo>
                  <a:lnTo>
                    <a:pt x="17287" y="5805"/>
                  </a:lnTo>
                  <a:lnTo>
                    <a:pt x="13541" y="8707"/>
                  </a:lnTo>
                  <a:lnTo>
                    <a:pt x="9508" y="11610"/>
                  </a:lnTo>
                  <a:lnTo>
                    <a:pt x="6050" y="15093"/>
                  </a:lnTo>
                  <a:lnTo>
                    <a:pt x="1728" y="18576"/>
                  </a:lnTo>
                  <a:lnTo>
                    <a:pt x="0" y="14803"/>
                  </a:lnTo>
                  <a:lnTo>
                    <a:pt x="6050" y="9578"/>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76" name="Google Shape;2776;p39"/>
            <p:cNvSpPr/>
            <p:nvPr/>
          </p:nvSpPr>
          <p:spPr>
            <a:xfrm>
              <a:off x="557676" y="7208821"/>
              <a:ext cx="38639" cy="56841"/>
            </a:xfrm>
            <a:custGeom>
              <a:avLst/>
              <a:gdLst/>
              <a:ahLst/>
              <a:cxnLst/>
              <a:rect l="l" t="t" r="r" b="b"/>
              <a:pathLst>
                <a:path w="38639" h="56841" extrusionOk="0">
                  <a:moveTo>
                    <a:pt x="36082" y="7751"/>
                  </a:moveTo>
                  <a:lnTo>
                    <a:pt x="37503" y="10334"/>
                  </a:lnTo>
                  <a:lnTo>
                    <a:pt x="38355" y="13205"/>
                  </a:lnTo>
                  <a:lnTo>
                    <a:pt x="38355" y="19808"/>
                  </a:lnTo>
                  <a:lnTo>
                    <a:pt x="37503" y="22966"/>
                  </a:lnTo>
                  <a:lnTo>
                    <a:pt x="35798" y="26124"/>
                  </a:lnTo>
                  <a:lnTo>
                    <a:pt x="34093" y="29282"/>
                  </a:lnTo>
                  <a:lnTo>
                    <a:pt x="31252" y="32726"/>
                  </a:lnTo>
                  <a:lnTo>
                    <a:pt x="26706" y="36171"/>
                  </a:lnTo>
                  <a:lnTo>
                    <a:pt x="24149" y="38468"/>
                  </a:lnTo>
                  <a:lnTo>
                    <a:pt x="22445" y="39903"/>
                  </a:lnTo>
                  <a:lnTo>
                    <a:pt x="21592" y="40765"/>
                  </a:lnTo>
                  <a:lnTo>
                    <a:pt x="20740" y="41626"/>
                  </a:lnTo>
                  <a:lnTo>
                    <a:pt x="19603" y="42774"/>
                  </a:lnTo>
                  <a:lnTo>
                    <a:pt x="18467" y="44210"/>
                  </a:lnTo>
                  <a:lnTo>
                    <a:pt x="38639" y="44210"/>
                  </a:lnTo>
                  <a:lnTo>
                    <a:pt x="38639" y="56841"/>
                  </a:lnTo>
                  <a:lnTo>
                    <a:pt x="0" y="56841"/>
                  </a:lnTo>
                  <a:lnTo>
                    <a:pt x="568" y="52248"/>
                  </a:lnTo>
                  <a:lnTo>
                    <a:pt x="1704" y="47942"/>
                  </a:lnTo>
                  <a:lnTo>
                    <a:pt x="3977" y="43922"/>
                  </a:lnTo>
                  <a:lnTo>
                    <a:pt x="6250" y="39903"/>
                  </a:lnTo>
                  <a:lnTo>
                    <a:pt x="10512" y="35023"/>
                  </a:lnTo>
                  <a:lnTo>
                    <a:pt x="16762" y="29569"/>
                  </a:lnTo>
                  <a:lnTo>
                    <a:pt x="20456" y="26124"/>
                  </a:lnTo>
                  <a:lnTo>
                    <a:pt x="22729" y="23540"/>
                  </a:lnTo>
                  <a:lnTo>
                    <a:pt x="23865" y="21817"/>
                  </a:lnTo>
                  <a:lnTo>
                    <a:pt x="25002" y="20095"/>
                  </a:lnTo>
                  <a:lnTo>
                    <a:pt x="25570" y="18373"/>
                  </a:lnTo>
                  <a:lnTo>
                    <a:pt x="25570" y="15215"/>
                  </a:lnTo>
                  <a:lnTo>
                    <a:pt x="25002" y="13779"/>
                  </a:lnTo>
                  <a:lnTo>
                    <a:pt x="23865" y="12344"/>
                  </a:lnTo>
                  <a:lnTo>
                    <a:pt x="23013" y="11196"/>
                  </a:lnTo>
                  <a:lnTo>
                    <a:pt x="21592" y="10621"/>
                  </a:lnTo>
                  <a:lnTo>
                    <a:pt x="18467" y="10621"/>
                  </a:lnTo>
                  <a:lnTo>
                    <a:pt x="17046" y="11196"/>
                  </a:lnTo>
                  <a:lnTo>
                    <a:pt x="15910" y="12631"/>
                  </a:lnTo>
                  <a:lnTo>
                    <a:pt x="14774" y="13779"/>
                  </a:lnTo>
                  <a:lnTo>
                    <a:pt x="14205" y="16076"/>
                  </a:lnTo>
                  <a:lnTo>
                    <a:pt x="13921" y="19234"/>
                  </a:lnTo>
                  <a:lnTo>
                    <a:pt x="852" y="17798"/>
                  </a:lnTo>
                  <a:lnTo>
                    <a:pt x="1420" y="13492"/>
                  </a:lnTo>
                  <a:lnTo>
                    <a:pt x="2272" y="10047"/>
                  </a:lnTo>
                  <a:lnTo>
                    <a:pt x="3693" y="7751"/>
                  </a:lnTo>
                  <a:lnTo>
                    <a:pt x="5114" y="5167"/>
                  </a:lnTo>
                  <a:lnTo>
                    <a:pt x="7102" y="3444"/>
                  </a:lnTo>
                  <a:lnTo>
                    <a:pt x="9375" y="2009"/>
                  </a:lnTo>
                  <a:lnTo>
                    <a:pt x="11932" y="574"/>
                  </a:lnTo>
                  <a:lnTo>
                    <a:pt x="15342" y="0"/>
                  </a:lnTo>
                  <a:lnTo>
                    <a:pt x="24149" y="0"/>
                  </a:lnTo>
                  <a:lnTo>
                    <a:pt x="27559" y="574"/>
                  </a:lnTo>
                  <a:lnTo>
                    <a:pt x="30116" y="2009"/>
                  </a:lnTo>
                  <a:lnTo>
                    <a:pt x="32673" y="3157"/>
                  </a:lnTo>
                  <a:lnTo>
                    <a:pt x="34662" y="5167"/>
                  </a:lnTo>
                  <a:lnTo>
                    <a:pt x="36082" y="775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77" name="Google Shape;2777;p39"/>
            <p:cNvSpPr/>
            <p:nvPr/>
          </p:nvSpPr>
          <p:spPr>
            <a:xfrm>
              <a:off x="602355" y="7210026"/>
              <a:ext cx="37432" cy="55631"/>
            </a:xfrm>
            <a:custGeom>
              <a:avLst/>
              <a:gdLst/>
              <a:ahLst/>
              <a:cxnLst/>
              <a:rect l="l" t="t" r="r" b="b"/>
              <a:pathLst>
                <a:path w="37432" h="55631" extrusionOk="0">
                  <a:moveTo>
                    <a:pt x="22796" y="13123"/>
                  </a:moveTo>
                  <a:lnTo>
                    <a:pt x="0" y="13123"/>
                  </a:lnTo>
                  <a:lnTo>
                    <a:pt x="0" y="0"/>
                  </a:lnTo>
                  <a:lnTo>
                    <a:pt x="37432" y="0"/>
                  </a:lnTo>
                  <a:lnTo>
                    <a:pt x="37432" y="10555"/>
                  </a:lnTo>
                  <a:lnTo>
                    <a:pt x="34054" y="13979"/>
                  </a:lnTo>
                  <a:lnTo>
                    <a:pt x="31240" y="17973"/>
                  </a:lnTo>
                  <a:lnTo>
                    <a:pt x="29270" y="21967"/>
                  </a:lnTo>
                  <a:lnTo>
                    <a:pt x="26455" y="27102"/>
                  </a:lnTo>
                  <a:lnTo>
                    <a:pt x="24485" y="32523"/>
                  </a:lnTo>
                  <a:lnTo>
                    <a:pt x="23078" y="38799"/>
                  </a:lnTo>
                  <a:lnTo>
                    <a:pt x="21671" y="43649"/>
                  </a:lnTo>
                  <a:lnTo>
                    <a:pt x="20826" y="49070"/>
                  </a:lnTo>
                  <a:lnTo>
                    <a:pt x="20545" y="55631"/>
                  </a:lnTo>
                  <a:lnTo>
                    <a:pt x="7880" y="55631"/>
                  </a:lnTo>
                  <a:lnTo>
                    <a:pt x="8724" y="46502"/>
                  </a:lnTo>
                  <a:lnTo>
                    <a:pt x="10413" y="39084"/>
                  </a:lnTo>
                  <a:lnTo>
                    <a:pt x="12664" y="32808"/>
                  </a:lnTo>
                  <a:lnTo>
                    <a:pt x="14635" y="26817"/>
                  </a:lnTo>
                  <a:lnTo>
                    <a:pt x="18012" y="20255"/>
                  </a:lnTo>
                  <a:lnTo>
                    <a:pt x="22796" y="1312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78" name="Google Shape;2778;p39"/>
            <p:cNvSpPr/>
            <p:nvPr/>
          </p:nvSpPr>
          <p:spPr>
            <a:xfrm>
              <a:off x="664997" y="7208812"/>
              <a:ext cx="6101" cy="14081"/>
            </a:xfrm>
            <a:custGeom>
              <a:avLst/>
              <a:gdLst/>
              <a:ahLst/>
              <a:cxnLst/>
              <a:rect l="l" t="t" r="r" b="b"/>
              <a:pathLst>
                <a:path w="6101" h="14081" extrusionOk="0">
                  <a:moveTo>
                    <a:pt x="0" y="10345"/>
                  </a:moveTo>
                  <a:lnTo>
                    <a:pt x="290" y="0"/>
                  </a:lnTo>
                  <a:lnTo>
                    <a:pt x="3486" y="0"/>
                  </a:lnTo>
                  <a:lnTo>
                    <a:pt x="6101" y="574"/>
                  </a:lnTo>
                  <a:lnTo>
                    <a:pt x="4648" y="14081"/>
                  </a:lnTo>
                  <a:lnTo>
                    <a:pt x="3776" y="11782"/>
                  </a:lnTo>
                  <a:lnTo>
                    <a:pt x="2033" y="10345"/>
                  </a:lnTo>
                  <a:lnTo>
                    <a:pt x="0" y="1034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79" name="Google Shape;2779;p39"/>
            <p:cNvSpPr/>
            <p:nvPr/>
          </p:nvSpPr>
          <p:spPr>
            <a:xfrm>
              <a:off x="645823" y="7208812"/>
              <a:ext cx="38639" cy="58050"/>
            </a:xfrm>
            <a:custGeom>
              <a:avLst/>
              <a:gdLst/>
              <a:ahLst/>
              <a:cxnLst/>
              <a:rect l="l" t="t" r="r" b="b"/>
              <a:pathLst>
                <a:path w="38639" h="58050" extrusionOk="0">
                  <a:moveTo>
                    <a:pt x="13364" y="16955"/>
                  </a:moveTo>
                  <a:lnTo>
                    <a:pt x="13073" y="21840"/>
                  </a:lnTo>
                  <a:lnTo>
                    <a:pt x="13073" y="35922"/>
                  </a:lnTo>
                  <a:lnTo>
                    <a:pt x="13364" y="40807"/>
                  </a:lnTo>
                  <a:lnTo>
                    <a:pt x="14526" y="43394"/>
                  </a:lnTo>
                  <a:lnTo>
                    <a:pt x="15688" y="45980"/>
                  </a:lnTo>
                  <a:lnTo>
                    <a:pt x="17140" y="47417"/>
                  </a:lnTo>
                  <a:lnTo>
                    <a:pt x="20627" y="47417"/>
                  </a:lnTo>
                  <a:lnTo>
                    <a:pt x="21789" y="46842"/>
                  </a:lnTo>
                  <a:lnTo>
                    <a:pt x="22660" y="45693"/>
                  </a:lnTo>
                  <a:lnTo>
                    <a:pt x="23532" y="44543"/>
                  </a:lnTo>
                  <a:lnTo>
                    <a:pt x="24404" y="42819"/>
                  </a:lnTo>
                  <a:lnTo>
                    <a:pt x="24694" y="40520"/>
                  </a:lnTo>
                  <a:lnTo>
                    <a:pt x="25275" y="37933"/>
                  </a:lnTo>
                  <a:lnTo>
                    <a:pt x="25566" y="34197"/>
                  </a:lnTo>
                  <a:lnTo>
                    <a:pt x="25566" y="21840"/>
                  </a:lnTo>
                  <a:lnTo>
                    <a:pt x="24985" y="16667"/>
                  </a:lnTo>
                  <a:lnTo>
                    <a:pt x="23822" y="14081"/>
                  </a:lnTo>
                  <a:lnTo>
                    <a:pt x="25275" y="574"/>
                  </a:lnTo>
                  <a:lnTo>
                    <a:pt x="27309" y="1436"/>
                  </a:lnTo>
                  <a:lnTo>
                    <a:pt x="29342" y="2299"/>
                  </a:lnTo>
                  <a:lnTo>
                    <a:pt x="31086" y="3448"/>
                  </a:lnTo>
                  <a:lnTo>
                    <a:pt x="32538" y="5172"/>
                  </a:lnTo>
                  <a:lnTo>
                    <a:pt x="33700" y="6609"/>
                  </a:lnTo>
                  <a:lnTo>
                    <a:pt x="34862" y="8046"/>
                  </a:lnTo>
                  <a:lnTo>
                    <a:pt x="35443" y="9770"/>
                  </a:lnTo>
                  <a:lnTo>
                    <a:pt x="36315" y="11495"/>
                  </a:lnTo>
                  <a:lnTo>
                    <a:pt x="36896" y="13219"/>
                  </a:lnTo>
                  <a:lnTo>
                    <a:pt x="37187" y="15518"/>
                  </a:lnTo>
                  <a:lnTo>
                    <a:pt x="38058" y="19541"/>
                  </a:lnTo>
                  <a:lnTo>
                    <a:pt x="38639" y="24139"/>
                  </a:lnTo>
                  <a:lnTo>
                    <a:pt x="38639" y="38795"/>
                  </a:lnTo>
                  <a:lnTo>
                    <a:pt x="37187" y="46267"/>
                  </a:lnTo>
                  <a:lnTo>
                    <a:pt x="34281" y="50865"/>
                  </a:lnTo>
                  <a:lnTo>
                    <a:pt x="31376" y="55463"/>
                  </a:lnTo>
                  <a:lnTo>
                    <a:pt x="26437" y="58050"/>
                  </a:lnTo>
                  <a:lnTo>
                    <a:pt x="15107" y="58050"/>
                  </a:lnTo>
                  <a:lnTo>
                    <a:pt x="11911" y="57188"/>
                  </a:lnTo>
                  <a:lnTo>
                    <a:pt x="9587" y="55751"/>
                  </a:lnTo>
                  <a:lnTo>
                    <a:pt x="6972" y="54314"/>
                  </a:lnTo>
                  <a:lnTo>
                    <a:pt x="4938" y="52015"/>
                  </a:lnTo>
                  <a:lnTo>
                    <a:pt x="3486" y="49141"/>
                  </a:lnTo>
                  <a:lnTo>
                    <a:pt x="2324" y="47129"/>
                  </a:lnTo>
                  <a:lnTo>
                    <a:pt x="1452" y="44256"/>
                  </a:lnTo>
                  <a:lnTo>
                    <a:pt x="871" y="40520"/>
                  </a:lnTo>
                  <a:lnTo>
                    <a:pt x="290" y="37071"/>
                  </a:lnTo>
                  <a:lnTo>
                    <a:pt x="0" y="33048"/>
                  </a:lnTo>
                  <a:lnTo>
                    <a:pt x="0" y="18104"/>
                  </a:lnTo>
                  <a:lnTo>
                    <a:pt x="1452" y="10632"/>
                  </a:lnTo>
                  <a:lnTo>
                    <a:pt x="4648" y="6322"/>
                  </a:lnTo>
                  <a:lnTo>
                    <a:pt x="7844" y="2011"/>
                  </a:lnTo>
                  <a:lnTo>
                    <a:pt x="12783" y="0"/>
                  </a:lnTo>
                  <a:lnTo>
                    <a:pt x="19465" y="0"/>
                  </a:lnTo>
                  <a:lnTo>
                    <a:pt x="19174" y="10345"/>
                  </a:lnTo>
                  <a:lnTo>
                    <a:pt x="16850" y="10345"/>
                  </a:lnTo>
                  <a:lnTo>
                    <a:pt x="15397" y="11782"/>
                  </a:lnTo>
                  <a:lnTo>
                    <a:pt x="14526" y="14368"/>
                  </a:lnTo>
                  <a:lnTo>
                    <a:pt x="13364" y="1695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80" name="Google Shape;2780;p39"/>
            <p:cNvSpPr/>
            <p:nvPr/>
          </p:nvSpPr>
          <p:spPr>
            <a:xfrm>
              <a:off x="708465" y="7208808"/>
              <a:ext cx="6101" cy="14081"/>
            </a:xfrm>
            <a:custGeom>
              <a:avLst/>
              <a:gdLst/>
              <a:ahLst/>
              <a:cxnLst/>
              <a:rect l="l" t="t" r="r" b="b"/>
              <a:pathLst>
                <a:path w="6101" h="14081" extrusionOk="0">
                  <a:moveTo>
                    <a:pt x="0" y="10345"/>
                  </a:moveTo>
                  <a:lnTo>
                    <a:pt x="290" y="0"/>
                  </a:lnTo>
                  <a:lnTo>
                    <a:pt x="3486" y="0"/>
                  </a:lnTo>
                  <a:lnTo>
                    <a:pt x="6101" y="574"/>
                  </a:lnTo>
                  <a:lnTo>
                    <a:pt x="4648" y="14081"/>
                  </a:lnTo>
                  <a:lnTo>
                    <a:pt x="3776" y="11782"/>
                  </a:lnTo>
                  <a:lnTo>
                    <a:pt x="2033" y="10345"/>
                  </a:lnTo>
                  <a:lnTo>
                    <a:pt x="0" y="1034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81" name="Google Shape;2781;p39"/>
            <p:cNvSpPr/>
            <p:nvPr/>
          </p:nvSpPr>
          <p:spPr>
            <a:xfrm>
              <a:off x="689291" y="7208808"/>
              <a:ext cx="38639" cy="58049"/>
            </a:xfrm>
            <a:custGeom>
              <a:avLst/>
              <a:gdLst/>
              <a:ahLst/>
              <a:cxnLst/>
              <a:rect l="l" t="t" r="r" b="b"/>
              <a:pathLst>
                <a:path w="38639" h="58049" extrusionOk="0">
                  <a:moveTo>
                    <a:pt x="13364" y="16955"/>
                  </a:moveTo>
                  <a:lnTo>
                    <a:pt x="13073" y="21840"/>
                  </a:lnTo>
                  <a:lnTo>
                    <a:pt x="13073" y="35922"/>
                  </a:lnTo>
                  <a:lnTo>
                    <a:pt x="13364" y="40807"/>
                  </a:lnTo>
                  <a:lnTo>
                    <a:pt x="14526" y="43393"/>
                  </a:lnTo>
                  <a:lnTo>
                    <a:pt x="15688" y="45980"/>
                  </a:lnTo>
                  <a:lnTo>
                    <a:pt x="17141" y="47417"/>
                  </a:lnTo>
                  <a:lnTo>
                    <a:pt x="20627" y="47417"/>
                  </a:lnTo>
                  <a:lnTo>
                    <a:pt x="21789" y="46842"/>
                  </a:lnTo>
                  <a:lnTo>
                    <a:pt x="22661" y="45692"/>
                  </a:lnTo>
                  <a:lnTo>
                    <a:pt x="23823" y="44543"/>
                  </a:lnTo>
                  <a:lnTo>
                    <a:pt x="24404" y="42818"/>
                  </a:lnTo>
                  <a:lnTo>
                    <a:pt x="24985" y="40519"/>
                  </a:lnTo>
                  <a:lnTo>
                    <a:pt x="25275" y="37933"/>
                  </a:lnTo>
                  <a:lnTo>
                    <a:pt x="25566" y="34197"/>
                  </a:lnTo>
                  <a:lnTo>
                    <a:pt x="25566" y="21840"/>
                  </a:lnTo>
                  <a:lnTo>
                    <a:pt x="24985" y="16667"/>
                  </a:lnTo>
                  <a:lnTo>
                    <a:pt x="23823" y="14081"/>
                  </a:lnTo>
                  <a:lnTo>
                    <a:pt x="25275" y="574"/>
                  </a:lnTo>
                  <a:lnTo>
                    <a:pt x="27599" y="1436"/>
                  </a:lnTo>
                  <a:lnTo>
                    <a:pt x="29633" y="2299"/>
                  </a:lnTo>
                  <a:lnTo>
                    <a:pt x="31086" y="3448"/>
                  </a:lnTo>
                  <a:lnTo>
                    <a:pt x="32538" y="5172"/>
                  </a:lnTo>
                  <a:lnTo>
                    <a:pt x="33700" y="6609"/>
                  </a:lnTo>
                  <a:lnTo>
                    <a:pt x="34863" y="8046"/>
                  </a:lnTo>
                  <a:lnTo>
                    <a:pt x="35444" y="9770"/>
                  </a:lnTo>
                  <a:lnTo>
                    <a:pt x="36315" y="11494"/>
                  </a:lnTo>
                  <a:lnTo>
                    <a:pt x="36896" y="13219"/>
                  </a:lnTo>
                  <a:lnTo>
                    <a:pt x="37477" y="15518"/>
                  </a:lnTo>
                  <a:lnTo>
                    <a:pt x="38349" y="19541"/>
                  </a:lnTo>
                  <a:lnTo>
                    <a:pt x="38639" y="24139"/>
                  </a:lnTo>
                  <a:lnTo>
                    <a:pt x="38639" y="38795"/>
                  </a:lnTo>
                  <a:lnTo>
                    <a:pt x="37187" y="46267"/>
                  </a:lnTo>
                  <a:lnTo>
                    <a:pt x="34282" y="50865"/>
                  </a:lnTo>
                  <a:lnTo>
                    <a:pt x="31376" y="55463"/>
                  </a:lnTo>
                  <a:lnTo>
                    <a:pt x="26437" y="58049"/>
                  </a:lnTo>
                  <a:lnTo>
                    <a:pt x="15397" y="58049"/>
                  </a:lnTo>
                  <a:lnTo>
                    <a:pt x="11911" y="57187"/>
                  </a:lnTo>
                  <a:lnTo>
                    <a:pt x="9587" y="55750"/>
                  </a:lnTo>
                  <a:lnTo>
                    <a:pt x="7263" y="54313"/>
                  </a:lnTo>
                  <a:lnTo>
                    <a:pt x="5229" y="52015"/>
                  </a:lnTo>
                  <a:lnTo>
                    <a:pt x="3486" y="49141"/>
                  </a:lnTo>
                  <a:lnTo>
                    <a:pt x="2324" y="47129"/>
                  </a:lnTo>
                  <a:lnTo>
                    <a:pt x="1452" y="44255"/>
                  </a:lnTo>
                  <a:lnTo>
                    <a:pt x="871" y="40519"/>
                  </a:lnTo>
                  <a:lnTo>
                    <a:pt x="290" y="37071"/>
                  </a:lnTo>
                  <a:lnTo>
                    <a:pt x="0" y="33048"/>
                  </a:lnTo>
                  <a:lnTo>
                    <a:pt x="0" y="18104"/>
                  </a:lnTo>
                  <a:lnTo>
                    <a:pt x="1452" y="10632"/>
                  </a:lnTo>
                  <a:lnTo>
                    <a:pt x="4648" y="6322"/>
                  </a:lnTo>
                  <a:lnTo>
                    <a:pt x="8134" y="2011"/>
                  </a:lnTo>
                  <a:lnTo>
                    <a:pt x="13073" y="0"/>
                  </a:lnTo>
                  <a:lnTo>
                    <a:pt x="19465" y="0"/>
                  </a:lnTo>
                  <a:lnTo>
                    <a:pt x="19174" y="10345"/>
                  </a:lnTo>
                  <a:lnTo>
                    <a:pt x="16850" y="10345"/>
                  </a:lnTo>
                  <a:lnTo>
                    <a:pt x="15397" y="11782"/>
                  </a:lnTo>
                  <a:lnTo>
                    <a:pt x="14526" y="14368"/>
                  </a:lnTo>
                  <a:lnTo>
                    <a:pt x="13364" y="1695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82" name="Google Shape;2782;p39"/>
            <p:cNvSpPr/>
            <p:nvPr/>
          </p:nvSpPr>
          <p:spPr>
            <a:xfrm>
              <a:off x="735174" y="7208839"/>
              <a:ext cx="27772" cy="56843"/>
            </a:xfrm>
            <a:custGeom>
              <a:avLst/>
              <a:gdLst/>
              <a:ahLst/>
              <a:cxnLst/>
              <a:rect l="l" t="t" r="r" b="b"/>
              <a:pathLst>
                <a:path w="27772" h="56843" extrusionOk="0">
                  <a:moveTo>
                    <a:pt x="5613" y="25550"/>
                  </a:moveTo>
                  <a:lnTo>
                    <a:pt x="3249" y="26698"/>
                  </a:lnTo>
                  <a:lnTo>
                    <a:pt x="0" y="27847"/>
                  </a:lnTo>
                  <a:lnTo>
                    <a:pt x="0" y="14928"/>
                  </a:lnTo>
                  <a:lnTo>
                    <a:pt x="4431" y="13205"/>
                  </a:lnTo>
                  <a:lnTo>
                    <a:pt x="7977" y="11196"/>
                  </a:lnTo>
                  <a:lnTo>
                    <a:pt x="10636" y="8899"/>
                  </a:lnTo>
                  <a:lnTo>
                    <a:pt x="13295" y="6602"/>
                  </a:lnTo>
                  <a:lnTo>
                    <a:pt x="15068" y="3445"/>
                  </a:lnTo>
                  <a:lnTo>
                    <a:pt x="16545" y="0"/>
                  </a:lnTo>
                  <a:lnTo>
                    <a:pt x="27772" y="0"/>
                  </a:lnTo>
                  <a:lnTo>
                    <a:pt x="27772" y="56843"/>
                  </a:lnTo>
                  <a:lnTo>
                    <a:pt x="14181" y="56843"/>
                  </a:lnTo>
                  <a:lnTo>
                    <a:pt x="14181" y="19521"/>
                  </a:lnTo>
                  <a:lnTo>
                    <a:pt x="11818" y="21531"/>
                  </a:lnTo>
                  <a:lnTo>
                    <a:pt x="9749" y="23254"/>
                  </a:lnTo>
                  <a:lnTo>
                    <a:pt x="7681" y="24402"/>
                  </a:lnTo>
                  <a:lnTo>
                    <a:pt x="5613" y="2555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nvGrpSpPr>
          <p:cNvPr id="2783" name="Google Shape;2783;p39"/>
          <p:cNvGrpSpPr/>
          <p:nvPr/>
        </p:nvGrpSpPr>
        <p:grpSpPr>
          <a:xfrm>
            <a:off x="3945835" y="789516"/>
            <a:ext cx="7695303" cy="1535805"/>
            <a:chOff x="3945835" y="1152329"/>
            <a:chExt cx="7695303" cy="1535805"/>
          </a:xfrm>
        </p:grpSpPr>
        <p:sp>
          <p:nvSpPr>
            <p:cNvPr id="2784" name="Google Shape;2784;p39"/>
            <p:cNvSpPr/>
            <p:nvPr/>
          </p:nvSpPr>
          <p:spPr>
            <a:xfrm>
              <a:off x="6991109" y="1152329"/>
              <a:ext cx="4650029" cy="1535805"/>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Our team of Business Translators fully understands business context and business language across sectors </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8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Working for the most demanding global consultancies</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8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Access to leading CAT tools</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8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Optimum confidentiality and integrity</a:t>
              </a:r>
              <a:br>
                <a:rPr lang="en-US" sz="1400" b="0" i="0" u="none" strike="noStrike" cap="none">
                  <a:solidFill>
                    <a:schemeClr val="dk1"/>
                  </a:solidFill>
                  <a:latin typeface="Calibri"/>
                  <a:ea typeface="Calibri"/>
                  <a:cs typeface="Calibri"/>
                  <a:sym typeface="Calibri"/>
                </a:rPr>
              </a:br>
              <a:r>
                <a:rPr lang="en-US" sz="1400" b="0" i="0" u="none" strike="noStrike" cap="none">
                  <a:solidFill>
                    <a:schemeClr val="dk1"/>
                  </a:solidFill>
                  <a:latin typeface="Calibri"/>
                  <a:ea typeface="Calibri"/>
                  <a:cs typeface="Calibri"/>
                  <a:sym typeface="Calibri"/>
                </a:rPr>
                <a:t>- ISO certified</a:t>
              </a:r>
              <a:endParaRPr sz="1400" b="0" i="0" u="none" strike="noStrike" cap="none">
                <a:solidFill>
                  <a:srgbClr val="000000"/>
                </a:solidFill>
                <a:latin typeface="Arial"/>
                <a:ea typeface="Arial"/>
                <a:cs typeface="Arial"/>
                <a:sym typeface="Arial"/>
              </a:endParaRPr>
            </a:p>
          </p:txBody>
        </p:sp>
        <p:sp>
          <p:nvSpPr>
            <p:cNvPr id="2785" name="Google Shape;2785;p39"/>
            <p:cNvSpPr/>
            <p:nvPr/>
          </p:nvSpPr>
          <p:spPr>
            <a:xfrm>
              <a:off x="5015880" y="1572496"/>
              <a:ext cx="1776363" cy="664797"/>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rgbClr val="000000"/>
                </a:buClr>
                <a:buSzPts val="1600"/>
                <a:buFont typeface="Arial"/>
                <a:buNone/>
              </a:pPr>
              <a:r>
                <a:rPr lang="en-US" sz="1600" b="0" i="0" u="none" strike="noStrike" cap="none">
                  <a:solidFill>
                    <a:schemeClr val="accent1"/>
                  </a:solidFill>
                  <a:latin typeface="Franklin Gothic"/>
                  <a:ea typeface="Franklin Gothic"/>
                  <a:cs typeface="Franklin Gothic"/>
                  <a:sym typeface="Franklin Gothic"/>
                </a:rPr>
                <a:t>World class translation capabilities</a:t>
              </a:r>
              <a:endParaRPr sz="1400" b="0" i="0" u="none" strike="noStrike" cap="none">
                <a:solidFill>
                  <a:srgbClr val="000000"/>
                </a:solidFill>
                <a:latin typeface="Arial"/>
                <a:ea typeface="Arial"/>
                <a:cs typeface="Arial"/>
                <a:sym typeface="Arial"/>
              </a:endParaRPr>
            </a:p>
          </p:txBody>
        </p:sp>
        <p:sp>
          <p:nvSpPr>
            <p:cNvPr id="2786" name="Google Shape;2786;p39"/>
            <p:cNvSpPr/>
            <p:nvPr/>
          </p:nvSpPr>
          <p:spPr>
            <a:xfrm>
              <a:off x="3945835" y="1442116"/>
              <a:ext cx="925556" cy="925556"/>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787" name="Google Shape;2787;p39"/>
            <p:cNvPicPr preferRelativeResize="0"/>
            <p:nvPr/>
          </p:nvPicPr>
          <p:blipFill rotWithShape="1">
            <a:blip r:embed="rId4">
              <a:alphaModFix/>
            </a:blip>
            <a:srcRect/>
            <a:stretch/>
          </p:blipFill>
          <p:spPr>
            <a:xfrm>
              <a:off x="4144306" y="1639015"/>
              <a:ext cx="531758" cy="531758"/>
            </a:xfrm>
            <a:prstGeom prst="rect">
              <a:avLst/>
            </a:prstGeom>
            <a:noFill/>
            <a:ln>
              <a:noFill/>
            </a:ln>
          </p:spPr>
        </p:pic>
      </p:grpSp>
      <p:grpSp>
        <p:nvGrpSpPr>
          <p:cNvPr id="2788" name="Google Shape;2788;p39"/>
          <p:cNvGrpSpPr/>
          <p:nvPr/>
        </p:nvGrpSpPr>
        <p:grpSpPr>
          <a:xfrm>
            <a:off x="3945835" y="2563429"/>
            <a:ext cx="7691815" cy="925556"/>
            <a:chOff x="3945835" y="2573448"/>
            <a:chExt cx="7691815" cy="925556"/>
          </a:xfrm>
        </p:grpSpPr>
        <p:sp>
          <p:nvSpPr>
            <p:cNvPr id="2789" name="Google Shape;2789;p39"/>
            <p:cNvSpPr/>
            <p:nvPr/>
          </p:nvSpPr>
          <p:spPr>
            <a:xfrm>
              <a:off x="6979209" y="2575587"/>
              <a:ext cx="4658441" cy="921278"/>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We can take care of work across document types and difficulties </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8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We are flexible to adapt to either deliver highest quality, fastest turn-around or hybrid focus</a:t>
              </a:r>
              <a:endParaRPr sz="1400" b="0" i="0" u="none" strike="noStrike" cap="none">
                <a:solidFill>
                  <a:srgbClr val="000000"/>
                </a:solidFill>
                <a:latin typeface="Arial"/>
                <a:ea typeface="Arial"/>
                <a:cs typeface="Arial"/>
                <a:sym typeface="Arial"/>
              </a:endParaRPr>
            </a:p>
          </p:txBody>
        </p:sp>
        <p:sp>
          <p:nvSpPr>
            <p:cNvPr id="2790" name="Google Shape;2790;p39"/>
            <p:cNvSpPr/>
            <p:nvPr/>
          </p:nvSpPr>
          <p:spPr>
            <a:xfrm>
              <a:off x="5013665" y="2919271"/>
              <a:ext cx="1779405" cy="233910"/>
            </a:xfrm>
            <a:prstGeom prst="rect">
              <a:avLst/>
            </a:prstGeom>
            <a:noFill/>
            <a:ln>
              <a:noFill/>
            </a:ln>
          </p:spPr>
          <p:txBody>
            <a:bodyPr spcFirstLastPara="1" wrap="square" lIns="0" tIns="0" rIns="0" bIns="0" anchor="ctr" anchorCtr="0">
              <a:spAutoFit/>
            </a:bodyPr>
            <a:lstStyle/>
            <a:p>
              <a:pPr marL="0" marR="0" lvl="0" indent="0" algn="l" rtl="0">
                <a:lnSpc>
                  <a:spcPct val="95000"/>
                </a:lnSpc>
                <a:spcBef>
                  <a:spcPts val="0"/>
                </a:spcBef>
                <a:spcAft>
                  <a:spcPts val="0"/>
                </a:spcAft>
                <a:buClr>
                  <a:srgbClr val="000000"/>
                </a:buClr>
                <a:buSzPts val="1600"/>
                <a:buFont typeface="Arial"/>
                <a:buNone/>
              </a:pPr>
              <a:r>
                <a:rPr lang="en-US" sz="1600" b="0" i="0" u="none" strike="noStrike" cap="none">
                  <a:solidFill>
                    <a:schemeClr val="accent1"/>
                  </a:solidFill>
                  <a:latin typeface="Franklin Gothic"/>
                  <a:ea typeface="Franklin Gothic"/>
                  <a:cs typeface="Franklin Gothic"/>
                  <a:sym typeface="Franklin Gothic"/>
                </a:rPr>
                <a:t>Adaptability</a:t>
              </a:r>
              <a:endParaRPr sz="1400" b="0" i="0" u="none" strike="noStrike" cap="none">
                <a:solidFill>
                  <a:srgbClr val="000000"/>
                </a:solidFill>
                <a:latin typeface="Arial"/>
                <a:ea typeface="Arial"/>
                <a:cs typeface="Arial"/>
                <a:sym typeface="Arial"/>
              </a:endParaRPr>
            </a:p>
          </p:txBody>
        </p:sp>
        <p:sp>
          <p:nvSpPr>
            <p:cNvPr id="2791" name="Google Shape;2791;p39"/>
            <p:cNvSpPr/>
            <p:nvPr/>
          </p:nvSpPr>
          <p:spPr>
            <a:xfrm>
              <a:off x="3945835" y="2573448"/>
              <a:ext cx="925556" cy="925556"/>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95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792" name="Google Shape;2792;p39"/>
            <p:cNvPicPr preferRelativeResize="0"/>
            <p:nvPr/>
          </p:nvPicPr>
          <p:blipFill rotWithShape="1">
            <a:blip r:embed="rId5">
              <a:alphaModFix/>
            </a:blip>
            <a:srcRect/>
            <a:stretch/>
          </p:blipFill>
          <p:spPr>
            <a:xfrm>
              <a:off x="4144618" y="2776152"/>
              <a:ext cx="520148" cy="520148"/>
            </a:xfrm>
            <a:prstGeom prst="rect">
              <a:avLst/>
            </a:prstGeom>
            <a:noFill/>
            <a:ln>
              <a:noFill/>
            </a:ln>
          </p:spPr>
        </p:pic>
      </p:grpSp>
      <p:grpSp>
        <p:nvGrpSpPr>
          <p:cNvPr id="2793" name="Google Shape;2793;p39"/>
          <p:cNvGrpSpPr/>
          <p:nvPr/>
        </p:nvGrpSpPr>
        <p:grpSpPr>
          <a:xfrm>
            <a:off x="3945835" y="3880647"/>
            <a:ext cx="7695300" cy="925556"/>
            <a:chOff x="3945835" y="4036050"/>
            <a:chExt cx="7695300" cy="925556"/>
          </a:xfrm>
        </p:grpSpPr>
        <p:sp>
          <p:nvSpPr>
            <p:cNvPr id="2794" name="Google Shape;2794;p39"/>
            <p:cNvSpPr/>
            <p:nvPr/>
          </p:nvSpPr>
          <p:spPr>
            <a:xfrm>
              <a:off x="6991106" y="4038189"/>
              <a:ext cx="4650029" cy="921278"/>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Leverage our scale, experience and expertise at your service – among the largest brainshoring team in EMEA with 200 permanent staff</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8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Different engagement models balancing price and flexibility</a:t>
              </a:r>
              <a:endParaRPr sz="1400" b="0" i="0" u="none" strike="noStrike" cap="none">
                <a:solidFill>
                  <a:srgbClr val="000000"/>
                </a:solidFill>
                <a:latin typeface="Arial"/>
                <a:ea typeface="Arial"/>
                <a:cs typeface="Arial"/>
                <a:sym typeface="Arial"/>
              </a:endParaRPr>
            </a:p>
          </p:txBody>
        </p:sp>
        <p:sp>
          <p:nvSpPr>
            <p:cNvPr id="2795" name="Google Shape;2795;p39"/>
            <p:cNvSpPr/>
            <p:nvPr/>
          </p:nvSpPr>
          <p:spPr>
            <a:xfrm>
              <a:off x="5013665" y="4264918"/>
              <a:ext cx="1779405" cy="467820"/>
            </a:xfrm>
            <a:prstGeom prst="rect">
              <a:avLst/>
            </a:prstGeom>
            <a:noFill/>
            <a:ln>
              <a:noFill/>
            </a:ln>
          </p:spPr>
          <p:txBody>
            <a:bodyPr spcFirstLastPara="1" wrap="square" lIns="0" tIns="0" rIns="0" bIns="0" anchor="ctr" anchorCtr="0">
              <a:spAutoFit/>
            </a:bodyPr>
            <a:lstStyle/>
            <a:p>
              <a:pPr marL="0" marR="0" lvl="0" indent="0" algn="l" rtl="0">
                <a:lnSpc>
                  <a:spcPct val="95000"/>
                </a:lnSpc>
                <a:spcBef>
                  <a:spcPts val="0"/>
                </a:spcBef>
                <a:spcAft>
                  <a:spcPts val="0"/>
                </a:spcAft>
                <a:buClr>
                  <a:srgbClr val="000000"/>
                </a:buClr>
                <a:buSzPts val="1600"/>
                <a:buFont typeface="Arial"/>
                <a:buNone/>
              </a:pPr>
              <a:r>
                <a:rPr lang="en-US" sz="1600" b="0" i="0" u="none" strike="noStrike" cap="none">
                  <a:solidFill>
                    <a:schemeClr val="accent1"/>
                  </a:solidFill>
                  <a:latin typeface="Franklin Gothic"/>
                  <a:ea typeface="Franklin Gothic"/>
                  <a:cs typeface="Franklin Gothic"/>
                  <a:sym typeface="Franklin Gothic"/>
                </a:rPr>
                <a:t>Offering flexibility and scalability</a:t>
              </a:r>
              <a:endParaRPr sz="1400" b="0" i="0" u="none" strike="noStrike" cap="none">
                <a:solidFill>
                  <a:srgbClr val="000000"/>
                </a:solidFill>
                <a:latin typeface="Arial"/>
                <a:ea typeface="Arial"/>
                <a:cs typeface="Arial"/>
                <a:sym typeface="Arial"/>
              </a:endParaRPr>
            </a:p>
          </p:txBody>
        </p:sp>
        <p:sp>
          <p:nvSpPr>
            <p:cNvPr id="2796" name="Google Shape;2796;p39"/>
            <p:cNvSpPr/>
            <p:nvPr/>
          </p:nvSpPr>
          <p:spPr>
            <a:xfrm>
              <a:off x="3945835" y="4036050"/>
              <a:ext cx="925556" cy="925556"/>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95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797" name="Google Shape;2797;p39"/>
            <p:cNvPicPr preferRelativeResize="0"/>
            <p:nvPr/>
          </p:nvPicPr>
          <p:blipFill rotWithShape="1">
            <a:blip r:embed="rId6">
              <a:alphaModFix/>
            </a:blip>
            <a:srcRect/>
            <a:stretch/>
          </p:blipFill>
          <p:spPr>
            <a:xfrm>
              <a:off x="4163484" y="4252650"/>
              <a:ext cx="492356" cy="492356"/>
            </a:xfrm>
            <a:prstGeom prst="rect">
              <a:avLst/>
            </a:prstGeom>
            <a:noFill/>
            <a:ln>
              <a:noFill/>
            </a:ln>
          </p:spPr>
        </p:pic>
      </p:grpSp>
      <p:grpSp>
        <p:nvGrpSpPr>
          <p:cNvPr id="2798" name="Google Shape;2798;p39"/>
          <p:cNvGrpSpPr/>
          <p:nvPr/>
        </p:nvGrpSpPr>
        <p:grpSpPr>
          <a:xfrm>
            <a:off x="3945835" y="5197864"/>
            <a:ext cx="7695300" cy="1125949"/>
            <a:chOff x="3945835" y="5012807"/>
            <a:chExt cx="7695300" cy="1125949"/>
          </a:xfrm>
        </p:grpSpPr>
        <p:sp>
          <p:nvSpPr>
            <p:cNvPr id="2799" name="Google Shape;2799;p39"/>
            <p:cNvSpPr/>
            <p:nvPr/>
          </p:nvSpPr>
          <p:spPr>
            <a:xfrm>
              <a:off x="6991106" y="5012807"/>
              <a:ext cx="4650029" cy="1125949"/>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Multiple advantages of our near shore location (Cairo): Reasonable cost base, although offering high quality of service (staff with critical sense, same time zone etc.)</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8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Benefits of pooling resources between several clients: vendor databases costs, etc.</a:t>
              </a:r>
              <a:endParaRPr sz="1400" b="0" i="0" u="none" strike="noStrike" cap="none">
                <a:solidFill>
                  <a:srgbClr val="000000"/>
                </a:solidFill>
                <a:latin typeface="Arial"/>
                <a:ea typeface="Arial"/>
                <a:cs typeface="Arial"/>
                <a:sym typeface="Arial"/>
              </a:endParaRPr>
            </a:p>
          </p:txBody>
        </p:sp>
        <p:sp>
          <p:nvSpPr>
            <p:cNvPr id="2800" name="Google Shape;2800;p39"/>
            <p:cNvSpPr/>
            <p:nvPr/>
          </p:nvSpPr>
          <p:spPr>
            <a:xfrm>
              <a:off x="5013665" y="5224916"/>
              <a:ext cx="1779405" cy="701731"/>
            </a:xfrm>
            <a:prstGeom prst="rect">
              <a:avLst/>
            </a:prstGeom>
            <a:noFill/>
            <a:ln>
              <a:noFill/>
            </a:ln>
          </p:spPr>
          <p:txBody>
            <a:bodyPr spcFirstLastPara="1" wrap="square" lIns="0" tIns="0" rIns="0" bIns="0" anchor="ctr" anchorCtr="0">
              <a:spAutoFit/>
            </a:bodyPr>
            <a:lstStyle/>
            <a:p>
              <a:pPr marL="0" marR="0" lvl="0" indent="0" algn="l" rtl="0">
                <a:lnSpc>
                  <a:spcPct val="95000"/>
                </a:lnSpc>
                <a:spcBef>
                  <a:spcPts val="0"/>
                </a:spcBef>
                <a:spcAft>
                  <a:spcPts val="0"/>
                </a:spcAft>
                <a:buClr>
                  <a:srgbClr val="000000"/>
                </a:buClr>
                <a:buSzPts val="1600"/>
                <a:buFont typeface="Arial"/>
                <a:buNone/>
              </a:pPr>
              <a:r>
                <a:rPr lang="en-US" sz="1600" b="0" i="0" u="none" strike="noStrike" cap="none">
                  <a:solidFill>
                    <a:schemeClr val="accent1"/>
                  </a:solidFill>
                  <a:latin typeface="Franklin Gothic"/>
                  <a:ea typeface="Franklin Gothic"/>
                  <a:cs typeface="Franklin Gothic"/>
                  <a:sym typeface="Franklin Gothic"/>
                </a:rPr>
                <a:t>Providing value added services at a competitive price</a:t>
              </a:r>
              <a:endParaRPr sz="1400" b="0" i="0" u="none" strike="noStrike" cap="none">
                <a:solidFill>
                  <a:srgbClr val="000000"/>
                </a:solidFill>
                <a:latin typeface="Arial"/>
                <a:ea typeface="Arial"/>
                <a:cs typeface="Arial"/>
                <a:sym typeface="Arial"/>
              </a:endParaRPr>
            </a:p>
          </p:txBody>
        </p:sp>
        <p:sp>
          <p:nvSpPr>
            <p:cNvPr id="2801" name="Google Shape;2801;p39"/>
            <p:cNvSpPr/>
            <p:nvPr/>
          </p:nvSpPr>
          <p:spPr>
            <a:xfrm>
              <a:off x="3945835" y="5113003"/>
              <a:ext cx="925556" cy="925556"/>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95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802" name="Google Shape;2802;p39"/>
            <p:cNvPicPr preferRelativeResize="0"/>
            <p:nvPr/>
          </p:nvPicPr>
          <p:blipFill rotWithShape="1">
            <a:blip r:embed="rId7">
              <a:alphaModFix/>
            </a:blip>
            <a:srcRect/>
            <a:stretch/>
          </p:blipFill>
          <p:spPr>
            <a:xfrm>
              <a:off x="4165600" y="5342101"/>
              <a:ext cx="467360" cy="467360"/>
            </a:xfrm>
            <a:prstGeom prst="rect">
              <a:avLst/>
            </a:prstGeom>
            <a:noFill/>
            <a:ln>
              <a:noFill/>
            </a:ln>
          </p:spPr>
        </p:pic>
      </p:grpSp>
      <p:cxnSp>
        <p:nvCxnSpPr>
          <p:cNvPr id="2803" name="Google Shape;2803;p39"/>
          <p:cNvCxnSpPr/>
          <p:nvPr/>
        </p:nvCxnSpPr>
        <p:spPr>
          <a:xfrm>
            <a:off x="5029200" y="2423745"/>
            <a:ext cx="6611938" cy="0"/>
          </a:xfrm>
          <a:prstGeom prst="straightConnector1">
            <a:avLst/>
          </a:prstGeom>
          <a:noFill/>
          <a:ln w="9525" cap="flat" cmpd="sng">
            <a:solidFill>
              <a:srgbClr val="7F7F7F"/>
            </a:solidFill>
            <a:prstDash val="solid"/>
            <a:miter lim="800000"/>
            <a:headEnd type="none" w="sm" len="sm"/>
            <a:tailEnd type="none" w="sm" len="sm"/>
          </a:ln>
        </p:spPr>
      </p:cxnSp>
      <p:cxnSp>
        <p:nvCxnSpPr>
          <p:cNvPr id="2804" name="Google Shape;2804;p39"/>
          <p:cNvCxnSpPr/>
          <p:nvPr/>
        </p:nvCxnSpPr>
        <p:spPr>
          <a:xfrm>
            <a:off x="5029200" y="3684816"/>
            <a:ext cx="6611938" cy="0"/>
          </a:xfrm>
          <a:prstGeom prst="straightConnector1">
            <a:avLst/>
          </a:prstGeom>
          <a:noFill/>
          <a:ln w="9525" cap="flat" cmpd="sng">
            <a:solidFill>
              <a:srgbClr val="7F7F7F"/>
            </a:solidFill>
            <a:prstDash val="solid"/>
            <a:miter lim="800000"/>
            <a:headEnd type="none" w="sm" len="sm"/>
            <a:tailEnd type="none" w="sm" len="sm"/>
          </a:ln>
        </p:spPr>
      </p:cxnSp>
      <p:cxnSp>
        <p:nvCxnSpPr>
          <p:cNvPr id="2805" name="Google Shape;2805;p39"/>
          <p:cNvCxnSpPr/>
          <p:nvPr/>
        </p:nvCxnSpPr>
        <p:spPr>
          <a:xfrm>
            <a:off x="5029200" y="5002034"/>
            <a:ext cx="6611938" cy="0"/>
          </a:xfrm>
          <a:prstGeom prst="straightConnector1">
            <a:avLst/>
          </a:prstGeom>
          <a:noFill/>
          <a:ln w="9525" cap="flat" cmpd="sng">
            <a:solidFill>
              <a:srgbClr val="7F7F7F"/>
            </a:solidFill>
            <a:prstDash val="solid"/>
            <a:miter lim="800000"/>
            <a:headEnd type="none" w="sm" len="sm"/>
            <a:tailEnd type="none" w="sm" len="sm"/>
          </a:ln>
        </p:spPr>
      </p:cxn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38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D12684-BF2D-36DF-BC22-3B98C9072B98}"/>
              </a:ext>
            </a:extLst>
          </p:cNvPr>
          <p:cNvGraphicFramePr>
            <a:graphicFrameLocks noChangeAspect="1"/>
          </p:cNvGraphicFramePr>
          <p:nvPr>
            <p:custDataLst>
              <p:tags r:id="rId1"/>
            </p:custDataLst>
            <p:extLst>
              <p:ext uri="{D42A27DB-BD31-4B8C-83A1-F6EECF244321}">
                <p14:modId xmlns:p14="http://schemas.microsoft.com/office/powerpoint/2010/main" val="2726517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88" name="Google Shape;1388;p74"/>
          <p:cNvSpPr txBox="1">
            <a:spLocks noGrp="1"/>
          </p:cNvSpPr>
          <p:nvPr>
            <p:ph type="title"/>
          </p:nvPr>
        </p:nvSpPr>
        <p:spPr>
          <a:xfrm>
            <a:off x="737591" y="4477767"/>
            <a:ext cx="8494899" cy="830997"/>
          </a:xfrm>
          <a:prstGeom prst="rect">
            <a:avLst/>
          </a:prstGeom>
          <a:noFill/>
          <a:ln>
            <a:noFill/>
          </a:ln>
          <a:effectLst>
            <a:outerShdw blurRad="190500" algn="tl" rotWithShape="0">
              <a:srgbClr val="000000">
                <a:alpha val="27843"/>
              </a:srgbClr>
            </a:outerShdw>
          </a:effectLst>
        </p:spPr>
        <p:txBody>
          <a:bodyPr spcFirstLastPara="1" wrap="square" lIns="0" tIns="0" rIns="0" bIns="0" anchor="ctr" anchorCtr="0">
            <a:spAutoFit/>
          </a:bodyPr>
          <a:lstStyle/>
          <a:p>
            <a:pPr marL="0" lvl="0" indent="0" algn="l" rtl="0">
              <a:lnSpc>
                <a:spcPct val="90000"/>
              </a:lnSpc>
              <a:spcBef>
                <a:spcPts val="0"/>
              </a:spcBef>
              <a:spcAft>
                <a:spcPts val="0"/>
              </a:spcAft>
              <a:buClr>
                <a:schemeClr val="lt1"/>
              </a:buClr>
              <a:buSzPts val="6000"/>
              <a:buFont typeface="Franklin Gothic"/>
              <a:buNone/>
            </a:pPr>
            <a:r>
              <a:rPr lang="en-US" dirty="0"/>
              <a:t>Data Analytics</a:t>
            </a:r>
            <a:endParaRPr dirty="0"/>
          </a:p>
        </p:txBody>
      </p:sp>
      <p:sp>
        <p:nvSpPr>
          <p:cNvPr id="1389" name="Google Shape;1389;p74"/>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lvl="0" indent="0" algn="r" rtl="0">
              <a:lnSpc>
                <a:spcPct val="90000"/>
              </a:lnSpc>
              <a:spcBef>
                <a:spcPts val="0"/>
              </a:spcBef>
              <a:spcAft>
                <a:spcPts val="0"/>
              </a:spcAft>
              <a:buSzPts val="1000"/>
              <a:buNone/>
            </a:pPr>
            <a:fld id="{00000000-1234-1234-1234-123412341234}" type="slidenum">
              <a:rPr lang="en-US"/>
              <a:t>44</a:t>
            </a:fld>
            <a:endParaRPr/>
          </a:p>
        </p:txBody>
      </p:sp>
    </p:spTree>
    <p:extLst>
      <p:ext uri="{BB962C8B-B14F-4D97-AF65-F5344CB8AC3E}">
        <p14:creationId xmlns:p14="http://schemas.microsoft.com/office/powerpoint/2010/main" val="3668033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39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A31E36-F37D-35BF-1D9C-E46E1E6E149B}"/>
              </a:ext>
            </a:extLst>
          </p:cNvPr>
          <p:cNvGraphicFramePr>
            <a:graphicFrameLocks noChangeAspect="1"/>
          </p:cNvGraphicFramePr>
          <p:nvPr>
            <p:custDataLst>
              <p:tags r:id="rId1"/>
            </p:custDataLst>
            <p:extLst>
              <p:ext uri="{D42A27DB-BD31-4B8C-83A1-F6EECF244321}">
                <p14:modId xmlns:p14="http://schemas.microsoft.com/office/powerpoint/2010/main" val="73805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94" name="Google Shape;1394;p8"/>
          <p:cNvSpPr txBox="1">
            <a:spLocks noGrp="1"/>
          </p:cNvSpPr>
          <p:nvPr>
            <p:ph type="title"/>
          </p:nvPr>
        </p:nvSpPr>
        <p:spPr>
          <a:xfrm>
            <a:off x="539400" y="562841"/>
            <a:ext cx="5205071" cy="886397"/>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dirty="0"/>
              <a:t>Infomineo has a unique</a:t>
            </a:r>
            <a:br>
              <a:rPr lang="en-US" dirty="0"/>
            </a:br>
            <a:r>
              <a:rPr lang="en-US" dirty="0"/>
              <a:t>approach to Data Analytics</a:t>
            </a:r>
            <a:endParaRPr dirty="0"/>
          </a:p>
        </p:txBody>
      </p:sp>
      <p:sp>
        <p:nvSpPr>
          <p:cNvPr id="1395" name="Google Shape;1395;p8"/>
          <p:cNvSpPr txBox="1"/>
          <p:nvPr/>
        </p:nvSpPr>
        <p:spPr>
          <a:xfrm>
            <a:off x="550863" y="2343394"/>
            <a:ext cx="5193608" cy="3693319"/>
          </a:xfrm>
          <a:prstGeom prst="rect">
            <a:avLst/>
          </a:prstGeom>
          <a:noFill/>
          <a:ln>
            <a:noFill/>
          </a:ln>
        </p:spPr>
        <p:txBody>
          <a:bodyPr spcFirstLastPara="1" wrap="square" lIns="0" tIns="0" rIns="0" bIns="0" anchor="t" anchorCtr="0">
            <a:spAutoFit/>
          </a:bodyPr>
          <a:lstStyle/>
          <a:p>
            <a:pPr marL="176213" marR="0" lvl="1" indent="-176213" algn="just" rtl="0">
              <a:lnSpc>
                <a:spcPct val="100000"/>
              </a:lnSpc>
              <a:spcBef>
                <a:spcPts val="0"/>
              </a:spcBef>
              <a:spcAft>
                <a:spcPts val="0"/>
              </a:spcAft>
              <a:buClr>
                <a:schemeClr val="dk2"/>
              </a:buClr>
              <a:buSzPts val="1440"/>
              <a:buFont typeface="Noto Sans Symbols"/>
              <a:buChar char="▪"/>
            </a:pPr>
            <a:r>
              <a:rPr lang="en-US" sz="1600" b="0" i="0" u="none" strike="noStrike" cap="none" dirty="0">
                <a:solidFill>
                  <a:schemeClr val="dk1"/>
                </a:solidFill>
                <a:latin typeface="Calibri"/>
                <a:ea typeface="Calibri"/>
                <a:cs typeface="Calibri"/>
                <a:sym typeface="Calibri"/>
              </a:rPr>
              <a:t>Most Data analytics companies provide </a:t>
            </a:r>
            <a:r>
              <a:rPr lang="en-US" sz="1600" b="1" i="0" u="none" strike="noStrike" cap="none" dirty="0">
                <a:solidFill>
                  <a:schemeClr val="dk1"/>
                </a:solidFill>
                <a:latin typeface="Calibri"/>
                <a:ea typeface="Calibri"/>
                <a:cs typeface="Calibri"/>
                <a:sym typeface="Calibri"/>
              </a:rPr>
              <a:t>standard models </a:t>
            </a:r>
            <a:r>
              <a:rPr lang="en-US" sz="1600" i="0" u="none" strike="noStrike" cap="none" dirty="0">
                <a:solidFill>
                  <a:schemeClr val="dk1"/>
                </a:solidFill>
                <a:latin typeface="Calibri"/>
                <a:ea typeface="Calibri"/>
                <a:cs typeface="Calibri"/>
                <a:sym typeface="Calibri"/>
              </a:rPr>
              <a:t>that they transpose from a client to another. </a:t>
            </a:r>
            <a:r>
              <a:rPr lang="en-US" sz="1600" b="0" i="0" u="none" strike="noStrike" cap="none" dirty="0">
                <a:solidFill>
                  <a:schemeClr val="dk1"/>
                </a:solidFill>
                <a:latin typeface="Calibri"/>
                <a:ea typeface="Calibri"/>
                <a:cs typeface="Calibri"/>
                <a:sym typeface="Calibri"/>
              </a:rPr>
              <a:t>Such models very often remain at </a:t>
            </a:r>
            <a:r>
              <a:rPr lang="en-US" sz="1600" dirty="0">
                <a:solidFill>
                  <a:schemeClr val="dk1"/>
                </a:solidFill>
                <a:latin typeface="Calibri"/>
                <a:ea typeface="Calibri"/>
                <a:cs typeface="Calibri"/>
                <a:sym typeface="Calibri"/>
              </a:rPr>
              <a:t>Proof-Of-Concept stage, ads integration with IT systems is not complete</a:t>
            </a:r>
          </a:p>
          <a:p>
            <a:pPr marL="176213" marR="0" lvl="1" indent="-176213" algn="l" rtl="0">
              <a:lnSpc>
                <a:spcPct val="100000"/>
              </a:lnSpc>
              <a:spcBef>
                <a:spcPts val="0"/>
              </a:spcBef>
              <a:spcAft>
                <a:spcPts val="0"/>
              </a:spcAft>
              <a:buClr>
                <a:schemeClr val="dk2"/>
              </a:buClr>
              <a:buSzPts val="1440"/>
              <a:buFont typeface="Noto Sans Symbols"/>
              <a:buChar char="▪"/>
            </a:pPr>
            <a:endParaRPr lang="en-US" sz="1600" dirty="0">
              <a:solidFill>
                <a:schemeClr val="dk1"/>
              </a:solidFill>
              <a:latin typeface="Calibri"/>
              <a:ea typeface="Calibri"/>
              <a:cs typeface="Calibri"/>
              <a:sym typeface="Calibri"/>
            </a:endParaRPr>
          </a:p>
          <a:p>
            <a:pPr marL="176213" marR="0" lvl="1" indent="-176213" algn="l" rtl="0">
              <a:lnSpc>
                <a:spcPct val="100000"/>
              </a:lnSpc>
              <a:spcBef>
                <a:spcPts val="0"/>
              </a:spcBef>
              <a:spcAft>
                <a:spcPts val="0"/>
              </a:spcAft>
              <a:buClr>
                <a:schemeClr val="dk2"/>
              </a:buClr>
              <a:buSzPts val="1440"/>
              <a:buFont typeface="Noto Sans Symbols"/>
              <a:buChar char="▪"/>
            </a:pPr>
            <a:r>
              <a:rPr lang="en-US" sz="1600" b="0" i="0" u="none" strike="noStrike" cap="none" dirty="0">
                <a:solidFill>
                  <a:schemeClr val="dk1"/>
                </a:solidFill>
                <a:latin typeface="Calibri"/>
                <a:ea typeface="Calibri"/>
                <a:cs typeface="Calibri"/>
                <a:sym typeface="Calibri"/>
              </a:rPr>
              <a:t>Most Data analytics providers are specialized in Visualization tools, e.g. Tableau, Power Bi etc.</a:t>
            </a:r>
          </a:p>
          <a:p>
            <a:pPr marL="176213" marR="0" lvl="1" indent="-176213" algn="l" rtl="0">
              <a:lnSpc>
                <a:spcPct val="100000"/>
              </a:lnSpc>
              <a:spcBef>
                <a:spcPts val="0"/>
              </a:spcBef>
              <a:spcAft>
                <a:spcPts val="0"/>
              </a:spcAft>
              <a:buClr>
                <a:schemeClr val="dk2"/>
              </a:buClr>
              <a:buSzPts val="1440"/>
              <a:buFont typeface="Noto Sans Symbols"/>
              <a:buChar char="▪"/>
            </a:pPr>
            <a:endParaRPr lang="en-US" sz="1600" dirty="0">
              <a:solidFill>
                <a:schemeClr val="dk1"/>
              </a:solidFill>
              <a:latin typeface="Calibri"/>
              <a:ea typeface="Calibri"/>
              <a:cs typeface="Calibri"/>
              <a:sym typeface="Calibri"/>
            </a:endParaRPr>
          </a:p>
          <a:p>
            <a:pPr marL="176213" lvl="1" indent="-176213">
              <a:buClr>
                <a:schemeClr val="dk2"/>
              </a:buClr>
              <a:buSzPts val="1440"/>
              <a:buFont typeface="Noto Sans Symbols"/>
              <a:buChar char="▪"/>
            </a:pPr>
            <a:r>
              <a:rPr lang="en-US" sz="1600" b="0" i="0" u="none" strike="noStrike" cap="none" dirty="0">
                <a:solidFill>
                  <a:schemeClr val="dk1"/>
                </a:solidFill>
                <a:latin typeface="Calibri"/>
                <a:ea typeface="Calibri"/>
                <a:cs typeface="Calibri"/>
                <a:sym typeface="Calibri"/>
              </a:rPr>
              <a:t>Most providers work on a </a:t>
            </a:r>
            <a:r>
              <a:rPr lang="en-US" sz="1600" b="1" i="0" u="none" strike="noStrike" cap="none" dirty="0">
                <a:solidFill>
                  <a:schemeClr val="dk1"/>
                </a:solidFill>
                <a:latin typeface="Calibri"/>
                <a:ea typeface="Calibri"/>
                <a:cs typeface="Calibri"/>
                <a:sym typeface="Calibri"/>
              </a:rPr>
              <a:t>project basis – </a:t>
            </a:r>
            <a:r>
              <a:rPr lang="en-US" sz="1600" dirty="0">
                <a:solidFill>
                  <a:schemeClr val="dk1"/>
                </a:solidFill>
                <a:latin typeface="Calibri"/>
                <a:ea typeface="Calibri"/>
                <a:cs typeface="Calibri"/>
                <a:sym typeface="Calibri"/>
              </a:rPr>
              <a:t>After project completion the models can be hard for clients to maintain over time.</a:t>
            </a:r>
          </a:p>
          <a:p>
            <a:pPr marL="176213" marR="0" lvl="1" indent="-176213" algn="l" rtl="0">
              <a:lnSpc>
                <a:spcPct val="100000"/>
              </a:lnSpc>
              <a:spcBef>
                <a:spcPts val="0"/>
              </a:spcBef>
              <a:spcAft>
                <a:spcPts val="0"/>
              </a:spcAft>
              <a:buClr>
                <a:schemeClr val="dk2"/>
              </a:buClr>
              <a:buSzPts val="1440"/>
              <a:buFont typeface="Noto Sans Symbols"/>
              <a:buChar char="▪"/>
            </a:pPr>
            <a:endParaRPr lang="en-US" sz="1600" dirty="0">
              <a:solidFill>
                <a:schemeClr val="dk1"/>
              </a:solidFill>
              <a:latin typeface="Calibri"/>
              <a:ea typeface="Calibri"/>
              <a:cs typeface="Calibri"/>
              <a:sym typeface="Calibri"/>
            </a:endParaRPr>
          </a:p>
          <a:p>
            <a:pPr marL="176213" marR="0" lvl="1" indent="-176213" algn="l" rtl="0">
              <a:lnSpc>
                <a:spcPct val="100000"/>
              </a:lnSpc>
              <a:spcBef>
                <a:spcPts val="0"/>
              </a:spcBef>
              <a:spcAft>
                <a:spcPts val="0"/>
              </a:spcAft>
              <a:buClr>
                <a:schemeClr val="dk2"/>
              </a:buClr>
              <a:buSzPts val="1440"/>
              <a:buFont typeface="Noto Sans Symbols"/>
              <a:buChar char="▪"/>
            </a:pPr>
            <a:r>
              <a:rPr lang="en-US" sz="1600" b="0" i="0" u="none" strike="noStrike" cap="none" dirty="0">
                <a:solidFill>
                  <a:schemeClr val="dk1"/>
                </a:solidFill>
                <a:latin typeface="Calibri"/>
                <a:ea typeface="Calibri"/>
                <a:cs typeface="Calibri"/>
                <a:sym typeface="Calibri"/>
              </a:rPr>
              <a:t>Some providers retain rights on the Intellectual property they generate</a:t>
            </a:r>
            <a:br>
              <a:rPr lang="en-US" sz="1600" b="0" i="0" u="none" strike="noStrike" cap="none" dirty="0">
                <a:solidFill>
                  <a:schemeClr val="dk1"/>
                </a:solidFill>
                <a:latin typeface="Calibri"/>
                <a:ea typeface="Calibri"/>
                <a:cs typeface="Calibri"/>
                <a:sym typeface="Calibri"/>
              </a:rPr>
            </a:br>
            <a:endParaRPr sz="1600" b="0" i="0" u="none" strike="noStrike" cap="none" dirty="0">
              <a:solidFill>
                <a:schemeClr val="dk1"/>
              </a:solidFill>
              <a:latin typeface="Calibri"/>
              <a:ea typeface="Calibri"/>
              <a:cs typeface="Calibri"/>
              <a:sym typeface="Calibri"/>
            </a:endParaRPr>
          </a:p>
        </p:txBody>
      </p:sp>
      <p:sp>
        <p:nvSpPr>
          <p:cNvPr id="1396" name="Google Shape;1396;p8"/>
          <p:cNvSpPr txBox="1"/>
          <p:nvPr/>
        </p:nvSpPr>
        <p:spPr>
          <a:xfrm>
            <a:off x="550863" y="1857375"/>
            <a:ext cx="5193608" cy="292388"/>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2000"/>
              <a:buFont typeface="Arial"/>
              <a:buNone/>
            </a:pPr>
            <a:r>
              <a:rPr lang="en-US" sz="2000" b="0" i="0" u="none" strike="noStrike" cap="none">
                <a:solidFill>
                  <a:schemeClr val="accent1"/>
                </a:solidFill>
                <a:latin typeface="Lato Black"/>
                <a:ea typeface="Lato Black"/>
                <a:cs typeface="Lato Black"/>
                <a:sym typeface="Lato Black"/>
              </a:rPr>
              <a:t>Traditional model</a:t>
            </a:r>
            <a:endParaRPr sz="1400" b="0" i="0" u="none" strike="noStrike" cap="none">
              <a:solidFill>
                <a:srgbClr val="000000"/>
              </a:solidFill>
              <a:latin typeface="Arial"/>
              <a:ea typeface="Arial"/>
              <a:cs typeface="Arial"/>
              <a:sym typeface="Arial"/>
            </a:endParaRPr>
          </a:p>
        </p:txBody>
      </p:sp>
      <p:sp>
        <p:nvSpPr>
          <p:cNvPr id="1397" name="Google Shape;1397;p8"/>
          <p:cNvSpPr txBox="1"/>
          <p:nvPr/>
        </p:nvSpPr>
        <p:spPr>
          <a:xfrm>
            <a:off x="6447529" y="2343394"/>
            <a:ext cx="5193608" cy="4370427"/>
          </a:xfrm>
          <a:prstGeom prst="rect">
            <a:avLst/>
          </a:prstGeom>
          <a:noFill/>
          <a:ln>
            <a:noFill/>
          </a:ln>
        </p:spPr>
        <p:txBody>
          <a:bodyPr spcFirstLastPara="1" wrap="square" lIns="0" tIns="0" rIns="0" bIns="0" anchor="t" anchorCtr="0">
            <a:spAutoFit/>
          </a:bodyPr>
          <a:lstStyle/>
          <a:p>
            <a:pPr marL="176213" lvl="1" indent="-176213" algn="just">
              <a:buClr>
                <a:schemeClr val="accent1"/>
              </a:buClr>
              <a:buSzPts val="1440"/>
              <a:buFont typeface="Noto Sans Symbols"/>
              <a:buChar char="▪"/>
            </a:pPr>
            <a:r>
              <a:rPr lang="en-US" sz="1600" b="0" i="0" u="none" strike="noStrike" cap="none" dirty="0">
                <a:solidFill>
                  <a:schemeClr val="lt1"/>
                </a:solidFill>
                <a:latin typeface="Calibri"/>
                <a:ea typeface="Calibri"/>
                <a:cs typeface="Calibri"/>
                <a:sym typeface="Calibri"/>
              </a:rPr>
              <a:t>We are </a:t>
            </a:r>
            <a:r>
              <a:rPr lang="en-US" sz="1600" b="1" i="0" u="none" strike="noStrike" cap="none" dirty="0">
                <a:solidFill>
                  <a:schemeClr val="lt1"/>
                </a:solidFill>
                <a:latin typeface="Calibri"/>
                <a:ea typeface="Calibri"/>
                <a:cs typeface="Calibri"/>
                <a:sym typeface="Calibri"/>
              </a:rPr>
              <a:t>problem solvers</a:t>
            </a:r>
            <a:r>
              <a:rPr lang="en-US" sz="1600" b="0" i="0" u="none" strike="noStrike" cap="none" dirty="0">
                <a:solidFill>
                  <a:schemeClr val="lt1"/>
                </a:solidFill>
                <a:latin typeface="Calibri"/>
                <a:ea typeface="Calibri"/>
                <a:cs typeface="Calibri"/>
                <a:sym typeface="Calibri"/>
              </a:rPr>
              <a:t>, we need to understand your question or challenge and will find the data &amp; models that answers your questions. </a:t>
            </a:r>
            <a:r>
              <a:rPr lang="en-US" sz="1400" b="0" i="0" u="none" strike="noStrike" cap="none" dirty="0">
                <a:solidFill>
                  <a:schemeClr val="lt1"/>
                </a:solidFill>
                <a:latin typeface="Calibri"/>
                <a:ea typeface="Calibri"/>
                <a:cs typeface="Calibri"/>
                <a:sym typeface="Calibri"/>
              </a:rPr>
              <a:t>The output is co-constructed with our client and not a model taken off the shelf.</a:t>
            </a:r>
            <a:endParaRPr lang="en-US" sz="1200" b="0" i="0" u="none" strike="noStrike" cap="none" dirty="0">
              <a:solidFill>
                <a:srgbClr val="000000"/>
              </a:solidFill>
              <a:highlight>
                <a:srgbClr val="008000"/>
              </a:highlight>
              <a:latin typeface="Arial"/>
              <a:ea typeface="Arial"/>
              <a:cs typeface="Arial"/>
              <a:sym typeface="Arial"/>
            </a:endParaRPr>
          </a:p>
          <a:p>
            <a:pPr marL="176213" marR="0" lvl="1" indent="-176213" algn="just" rtl="0">
              <a:lnSpc>
                <a:spcPct val="100000"/>
              </a:lnSpc>
              <a:spcBef>
                <a:spcPts val="0"/>
              </a:spcBef>
              <a:spcAft>
                <a:spcPts val="0"/>
              </a:spcAft>
              <a:buClr>
                <a:schemeClr val="accent1"/>
              </a:buClr>
              <a:buSzPts val="1440"/>
              <a:buFont typeface="Noto Sans Symbols"/>
              <a:buChar char="▪"/>
            </a:pPr>
            <a:endParaRPr sz="1400" b="0" i="0" u="none" strike="noStrike" cap="none" dirty="0">
              <a:solidFill>
                <a:srgbClr val="000000"/>
              </a:solidFill>
              <a:latin typeface="Arial"/>
              <a:ea typeface="Arial"/>
              <a:cs typeface="Arial"/>
              <a:sym typeface="Arial"/>
            </a:endParaRPr>
          </a:p>
          <a:p>
            <a:pPr marL="176213" marR="0" lvl="1" indent="-84773" algn="just" rtl="0">
              <a:lnSpc>
                <a:spcPct val="100000"/>
              </a:lnSpc>
              <a:spcBef>
                <a:spcPts val="0"/>
              </a:spcBef>
              <a:spcAft>
                <a:spcPts val="0"/>
              </a:spcAft>
              <a:buClr>
                <a:schemeClr val="accent1"/>
              </a:buClr>
              <a:buSzPts val="1440"/>
              <a:buFont typeface="Noto Sans Symbols"/>
              <a:buNone/>
            </a:pPr>
            <a:endParaRPr sz="1600" b="0" i="0" u="none" strike="noStrike" cap="none" dirty="0">
              <a:solidFill>
                <a:schemeClr val="lt1"/>
              </a:solidFill>
              <a:latin typeface="Calibri"/>
              <a:ea typeface="Calibri"/>
              <a:cs typeface="Calibri"/>
              <a:sym typeface="Calibri"/>
            </a:endParaRPr>
          </a:p>
          <a:p>
            <a:pPr marL="176213" marR="0" lvl="1" indent="-176213" algn="just" rtl="0">
              <a:lnSpc>
                <a:spcPct val="100000"/>
              </a:lnSpc>
              <a:spcBef>
                <a:spcPts val="0"/>
              </a:spcBef>
              <a:spcAft>
                <a:spcPts val="0"/>
              </a:spcAft>
              <a:buClr>
                <a:schemeClr val="accent1"/>
              </a:buClr>
              <a:buSzPts val="1440"/>
              <a:buFont typeface="Noto Sans Symbols"/>
              <a:buChar char="▪"/>
            </a:pPr>
            <a:r>
              <a:rPr lang="en-US" sz="1600" b="0" i="0" u="none" strike="noStrike" cap="none" dirty="0">
                <a:solidFill>
                  <a:schemeClr val="lt1"/>
                </a:solidFill>
                <a:latin typeface="Calibri"/>
                <a:ea typeface="Calibri"/>
                <a:cs typeface="Calibri"/>
                <a:sym typeface="Calibri"/>
              </a:rPr>
              <a:t>We have a multi capabilities team that can provide you an end-to-end approach from cleaning the data to visualizing the model output.</a:t>
            </a:r>
            <a:endParaRPr sz="1400" b="0" i="0" u="none" strike="noStrike" cap="none" dirty="0">
              <a:solidFill>
                <a:srgbClr val="000000"/>
              </a:solidFill>
              <a:latin typeface="Arial"/>
              <a:ea typeface="Arial"/>
              <a:cs typeface="Arial"/>
              <a:sym typeface="Arial"/>
            </a:endParaRPr>
          </a:p>
          <a:p>
            <a:pPr marL="176213" marR="0" lvl="1" indent="-84773" algn="just" rtl="0">
              <a:lnSpc>
                <a:spcPct val="100000"/>
              </a:lnSpc>
              <a:spcBef>
                <a:spcPts val="0"/>
              </a:spcBef>
              <a:spcAft>
                <a:spcPts val="0"/>
              </a:spcAft>
              <a:buClr>
                <a:schemeClr val="accent1"/>
              </a:buClr>
              <a:buSzPts val="1440"/>
              <a:buFont typeface="Noto Sans Symbols"/>
              <a:buNone/>
            </a:pPr>
            <a:endParaRPr sz="1600" b="0" i="0" u="none" strike="noStrike" cap="none" dirty="0">
              <a:solidFill>
                <a:schemeClr val="lt1"/>
              </a:solidFill>
              <a:latin typeface="Calibri"/>
              <a:ea typeface="Calibri"/>
              <a:cs typeface="Calibri"/>
              <a:sym typeface="Calibri"/>
            </a:endParaRPr>
          </a:p>
          <a:p>
            <a:pPr marL="176213" marR="0" lvl="1" indent="-176213" algn="just" rtl="0">
              <a:lnSpc>
                <a:spcPct val="100000"/>
              </a:lnSpc>
              <a:spcBef>
                <a:spcPts val="0"/>
              </a:spcBef>
              <a:spcAft>
                <a:spcPts val="0"/>
              </a:spcAft>
              <a:buClr>
                <a:schemeClr val="accent1"/>
              </a:buClr>
              <a:buSzPts val="1440"/>
              <a:buFont typeface="Noto Sans Symbols"/>
              <a:buChar char="▪"/>
            </a:pPr>
            <a:r>
              <a:rPr lang="en-US" sz="1600" b="0" i="0" u="none" strike="noStrike" cap="none" dirty="0">
                <a:solidFill>
                  <a:schemeClr val="lt1"/>
                </a:solidFill>
                <a:latin typeface="Calibri"/>
                <a:ea typeface="Calibri"/>
                <a:cs typeface="Calibri"/>
                <a:sym typeface="Calibri"/>
              </a:rPr>
              <a:t>We work on a </a:t>
            </a:r>
            <a:r>
              <a:rPr lang="en-US" sz="1600" b="1" i="0" u="none" strike="noStrike" cap="none" dirty="0">
                <a:solidFill>
                  <a:schemeClr val="lt1"/>
                </a:solidFill>
                <a:latin typeface="Calibri"/>
                <a:ea typeface="Calibri"/>
                <a:cs typeface="Calibri"/>
                <a:sym typeface="Calibri"/>
              </a:rPr>
              <a:t>retainer basis</a:t>
            </a:r>
            <a:r>
              <a:rPr lang="en-US" sz="1600" b="0" i="0" u="none" strike="noStrike" cap="none" dirty="0">
                <a:solidFill>
                  <a:schemeClr val="lt1"/>
                </a:solidFill>
                <a:latin typeface="Calibri"/>
                <a:ea typeface="Calibri"/>
                <a:cs typeface="Calibri"/>
                <a:sym typeface="Calibri"/>
              </a:rPr>
              <a:t>, we are an extension of your team, and make it easy to work with us, which 1/minimizes the time you spend on paperwork and 2/allows you to work with us on an iterative basis.</a:t>
            </a:r>
          </a:p>
          <a:p>
            <a:pPr marL="176213" marR="0" lvl="1" indent="-176213" algn="just" rtl="0">
              <a:lnSpc>
                <a:spcPct val="100000"/>
              </a:lnSpc>
              <a:spcBef>
                <a:spcPts val="0"/>
              </a:spcBef>
              <a:spcAft>
                <a:spcPts val="0"/>
              </a:spcAft>
              <a:buClr>
                <a:schemeClr val="accent1"/>
              </a:buClr>
              <a:buSzPts val="1440"/>
              <a:buFont typeface="Noto Sans Symbols"/>
              <a:buChar char="▪"/>
            </a:pPr>
            <a:endParaRPr lang="en-US" sz="1600" dirty="0">
              <a:solidFill>
                <a:schemeClr val="lt1"/>
              </a:solidFill>
              <a:latin typeface="Calibri"/>
              <a:ea typeface="Calibri"/>
              <a:cs typeface="Calibri"/>
              <a:sym typeface="Calibri"/>
            </a:endParaRPr>
          </a:p>
          <a:p>
            <a:pPr marL="176213" marR="0" lvl="1" indent="-176213" algn="just" rtl="0">
              <a:lnSpc>
                <a:spcPct val="100000"/>
              </a:lnSpc>
              <a:spcBef>
                <a:spcPts val="0"/>
              </a:spcBef>
              <a:spcAft>
                <a:spcPts val="0"/>
              </a:spcAft>
              <a:buClr>
                <a:schemeClr val="accent1"/>
              </a:buClr>
              <a:buSzPts val="1440"/>
              <a:buFont typeface="Noto Sans Symbols"/>
              <a:buChar char="▪"/>
            </a:pPr>
            <a:r>
              <a:rPr lang="en-US" sz="1600" b="0" i="0" u="none" strike="noStrike" cap="none" dirty="0">
                <a:solidFill>
                  <a:schemeClr val="lt1"/>
                </a:solidFill>
                <a:latin typeface="Calibri"/>
                <a:ea typeface="Calibri"/>
                <a:cs typeface="Calibri"/>
                <a:sym typeface="Calibri"/>
              </a:rPr>
              <a:t>The output of our work will become a knowledge asset of our client who will hold the intellectual property of it.</a:t>
            </a:r>
            <a:endParaRPr sz="1400" b="0" i="0" u="none" strike="noStrike" cap="none" dirty="0">
              <a:solidFill>
                <a:srgbClr val="000000"/>
              </a:solidFill>
              <a:latin typeface="Arial"/>
              <a:ea typeface="Arial"/>
              <a:cs typeface="Arial"/>
              <a:sym typeface="Arial"/>
            </a:endParaRPr>
          </a:p>
          <a:p>
            <a:pPr marL="176213" marR="0" lvl="1" indent="-84773" algn="just" rtl="0">
              <a:lnSpc>
                <a:spcPct val="100000"/>
              </a:lnSpc>
              <a:spcBef>
                <a:spcPts val="0"/>
              </a:spcBef>
              <a:spcAft>
                <a:spcPts val="0"/>
              </a:spcAft>
              <a:buClr>
                <a:schemeClr val="accent1"/>
              </a:buClr>
              <a:buSzPts val="1440"/>
              <a:buFont typeface="Noto Sans Symbols"/>
              <a:buNone/>
            </a:pPr>
            <a:endParaRPr sz="1600" b="0" i="0" u="none" strike="noStrike" cap="none" dirty="0">
              <a:solidFill>
                <a:schemeClr val="lt1"/>
              </a:solidFill>
              <a:latin typeface="Calibri"/>
              <a:ea typeface="Calibri"/>
              <a:cs typeface="Calibri"/>
              <a:sym typeface="Calibri"/>
            </a:endParaRPr>
          </a:p>
        </p:txBody>
      </p:sp>
      <p:sp>
        <p:nvSpPr>
          <p:cNvPr id="1398" name="Google Shape;1398;p8"/>
          <p:cNvSpPr txBox="1"/>
          <p:nvPr/>
        </p:nvSpPr>
        <p:spPr>
          <a:xfrm>
            <a:off x="6447529" y="1857375"/>
            <a:ext cx="5193608" cy="292388"/>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2000"/>
              <a:buFont typeface="Arial"/>
              <a:buNone/>
            </a:pPr>
            <a:r>
              <a:rPr lang="en-US" sz="2000" b="0" i="0" u="none" strike="noStrike" cap="none">
                <a:solidFill>
                  <a:schemeClr val="accent1"/>
                </a:solidFill>
                <a:latin typeface="Lato Black"/>
                <a:ea typeface="Lato Black"/>
                <a:cs typeface="Lato Black"/>
                <a:sym typeface="Lato Black"/>
              </a:rPr>
              <a:t>Infomineo model</a:t>
            </a:r>
            <a:endParaRPr sz="1400" b="0" i="0" u="none" strike="noStrike" cap="none">
              <a:solidFill>
                <a:srgbClr val="000000"/>
              </a:solidFill>
              <a:latin typeface="Arial"/>
              <a:ea typeface="Arial"/>
              <a:cs typeface="Arial"/>
              <a:sym typeface="Arial"/>
            </a:endParaRPr>
          </a:p>
        </p:txBody>
      </p:sp>
      <p:grpSp>
        <p:nvGrpSpPr>
          <p:cNvPr id="1399" name="Google Shape;1399;p8"/>
          <p:cNvGrpSpPr/>
          <p:nvPr/>
        </p:nvGrpSpPr>
        <p:grpSpPr>
          <a:xfrm>
            <a:off x="10976464" y="135255"/>
            <a:ext cx="1046733" cy="468742"/>
            <a:chOff x="10976464" y="135255"/>
            <a:chExt cx="1046733" cy="468742"/>
          </a:xfrm>
        </p:grpSpPr>
        <p:sp>
          <p:nvSpPr>
            <p:cNvPr id="1400" name="Google Shape;1400;p8"/>
            <p:cNvSpPr txBox="1"/>
            <p:nvPr/>
          </p:nvSpPr>
          <p:spPr>
            <a:xfrm>
              <a:off x="10976464" y="292682"/>
              <a:ext cx="533800" cy="153888"/>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dirty="0">
                  <a:solidFill>
                    <a:schemeClr val="lt1"/>
                  </a:solidFill>
                  <a:latin typeface="Franklin Gothic"/>
                  <a:ea typeface="Franklin Gothic"/>
                  <a:cs typeface="Franklin Gothic"/>
                  <a:sym typeface="Franklin Gothic"/>
                </a:rPr>
                <a:t>Analytics</a:t>
              </a:r>
              <a:endParaRPr sz="1400" b="0" i="0" u="none" strike="noStrike" cap="none" dirty="0">
                <a:solidFill>
                  <a:srgbClr val="000000"/>
                </a:solidFill>
                <a:latin typeface="Arial"/>
                <a:ea typeface="Arial"/>
                <a:cs typeface="Arial"/>
                <a:sym typeface="Arial"/>
              </a:endParaRPr>
            </a:p>
          </p:txBody>
        </p:sp>
        <p:sp>
          <p:nvSpPr>
            <p:cNvPr id="1401" name="Google Shape;1401;p8"/>
            <p:cNvSpPr/>
            <p:nvPr/>
          </p:nvSpPr>
          <p:spPr>
            <a:xfrm>
              <a:off x="11554453" y="135255"/>
              <a:ext cx="468744" cy="468742"/>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pic>
        <p:nvPicPr>
          <p:cNvPr id="6" name="Picture 5">
            <a:extLst>
              <a:ext uri="{FF2B5EF4-FFF2-40B4-BE49-F238E27FC236}">
                <a16:creationId xmlns:a16="http://schemas.microsoft.com/office/drawing/2014/main" id="{DF02F8F0-C73C-571A-BF70-C42A2FFC5F62}"/>
              </a:ext>
            </a:extLst>
          </p:cNvPr>
          <p:cNvPicPr>
            <a:picLocks noChangeAspect="1"/>
          </p:cNvPicPr>
          <p:nvPr/>
        </p:nvPicPr>
        <p:blipFill>
          <a:blip r:embed="rId7">
            <a:alphaModFix/>
            <a:duotone>
              <a:schemeClr val="bg2">
                <a:shade val="45000"/>
                <a:satMod val="135000"/>
              </a:schemeClr>
              <a:prstClr val="white"/>
            </a:duotone>
          </a:blip>
          <a:stretch>
            <a:fillRect/>
          </a:stretch>
        </p:blipFill>
        <p:spPr>
          <a:xfrm>
            <a:off x="11612672" y="193473"/>
            <a:ext cx="352305" cy="352305"/>
          </a:xfrm>
          <a:prstGeom prst="rect">
            <a:avLst/>
          </a:prstGeom>
          <a:noFill/>
          <a:ln>
            <a:noFill/>
          </a:ln>
        </p:spPr>
      </p:pic>
    </p:spTree>
    <p:extLst>
      <p:ext uri="{BB962C8B-B14F-4D97-AF65-F5344CB8AC3E}">
        <p14:creationId xmlns:p14="http://schemas.microsoft.com/office/powerpoint/2010/main" val="2174587272"/>
      </p:ext>
    </p:extLst>
  </p:cSld>
  <p:clrMapOvr>
    <a:masterClrMapping/>
  </p:clrMapOvr>
  <p:extLst>
    <p:ext uri="{6950BFC3-D8DA-4A85-94F7-54DA5524770B}">
      <p188:commentRel xmlns:p188="http://schemas.microsoft.com/office/powerpoint/2018/8/main" r:id="rId4"/>
    </p:ext>
  </p:extLs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406"/>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26DEB3-3265-216D-7BC6-01475BCAF079}"/>
              </a:ext>
            </a:extLst>
          </p:cNvPr>
          <p:cNvGraphicFramePr>
            <a:graphicFrameLocks noChangeAspect="1"/>
          </p:cNvGraphicFramePr>
          <p:nvPr>
            <p:custDataLst>
              <p:tags r:id="rId1"/>
            </p:custDataLst>
            <p:extLst>
              <p:ext uri="{D42A27DB-BD31-4B8C-83A1-F6EECF244321}">
                <p14:modId xmlns:p14="http://schemas.microsoft.com/office/powerpoint/2010/main" val="2570053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07" name="Google Shape;1407;p9"/>
          <p:cNvSpPr/>
          <p:nvPr/>
        </p:nvSpPr>
        <p:spPr>
          <a:xfrm>
            <a:off x="550863" y="1562582"/>
            <a:ext cx="3387145" cy="4734829"/>
          </a:xfrm>
          <a:prstGeom prst="roundRect">
            <a:avLst>
              <a:gd name="adj" fmla="val 3729"/>
            </a:avLst>
          </a:prstGeom>
          <a:solidFill>
            <a:schemeClr val="lt1"/>
          </a:solidFill>
          <a:ln>
            <a:noFill/>
          </a:ln>
          <a:effectLst>
            <a:outerShdw blurRad="508000" algn="ctr" rotWithShape="0">
              <a:srgbClr val="000000">
                <a:alpha val="12941"/>
              </a:srgbClr>
            </a:outerShdw>
          </a:effectLst>
        </p:spPr>
        <p:txBody>
          <a:bodyPr spcFirstLastPara="1" wrap="square" lIns="144000" tIns="180000" rIns="144000" bIns="180000" anchor="t" anchorCtr="0">
            <a:noAutofit/>
          </a:bodyPr>
          <a:lstStyle/>
          <a:p>
            <a:pPr marL="0" marR="0" lvl="0" indent="0" algn="ctr" rtl="0">
              <a:lnSpc>
                <a:spcPct val="141666"/>
              </a:lnSpc>
              <a:spcBef>
                <a:spcPts val="0"/>
              </a:spcBef>
              <a:spcAft>
                <a:spcPts val="0"/>
              </a:spcAft>
              <a:buClr>
                <a:schemeClr val="accent1"/>
              </a:buClr>
              <a:buSzPts val="1200"/>
              <a:buFont typeface="Calibri"/>
              <a:buNone/>
            </a:pPr>
            <a:endParaRPr sz="1200" b="0" i="0" u="none" strike="noStrike" cap="none">
              <a:solidFill>
                <a:schemeClr val="dk1"/>
              </a:solidFill>
              <a:latin typeface="Calibri"/>
              <a:ea typeface="Calibri"/>
              <a:cs typeface="Calibri"/>
              <a:sym typeface="Calibri"/>
            </a:endParaRPr>
          </a:p>
        </p:txBody>
      </p:sp>
      <p:sp>
        <p:nvSpPr>
          <p:cNvPr id="1408" name="Google Shape;1408;p9"/>
          <p:cNvSpPr/>
          <p:nvPr/>
        </p:nvSpPr>
        <p:spPr>
          <a:xfrm>
            <a:off x="4355141" y="1651150"/>
            <a:ext cx="3387145" cy="4734829"/>
          </a:xfrm>
          <a:prstGeom prst="roundRect">
            <a:avLst>
              <a:gd name="adj" fmla="val 3729"/>
            </a:avLst>
          </a:prstGeom>
          <a:solidFill>
            <a:schemeClr val="lt1"/>
          </a:solidFill>
          <a:ln>
            <a:noFill/>
          </a:ln>
          <a:effectLst>
            <a:outerShdw blurRad="508000" algn="ctr" rotWithShape="0">
              <a:srgbClr val="000000">
                <a:alpha val="12941"/>
              </a:srgbClr>
            </a:outerShdw>
          </a:effectLst>
        </p:spPr>
        <p:txBody>
          <a:bodyPr spcFirstLastPara="1" wrap="square" lIns="144000" tIns="180000" rIns="144000" bIns="180000" anchor="t" anchorCtr="0">
            <a:noAutofit/>
          </a:bodyPr>
          <a:lstStyle/>
          <a:p>
            <a:pPr marL="0" marR="0" lvl="0" indent="0" algn="ctr" rtl="0">
              <a:lnSpc>
                <a:spcPct val="141666"/>
              </a:lnSpc>
              <a:spcBef>
                <a:spcPts val="0"/>
              </a:spcBef>
              <a:spcAft>
                <a:spcPts val="0"/>
              </a:spcAft>
              <a:buClr>
                <a:schemeClr val="accent1"/>
              </a:buClr>
              <a:buSzPts val="1200"/>
              <a:buFont typeface="Calibri"/>
              <a:buNone/>
            </a:pPr>
            <a:endParaRPr sz="1200" b="0" i="0" u="none" strike="noStrike" cap="none">
              <a:solidFill>
                <a:schemeClr val="dk1"/>
              </a:solidFill>
              <a:latin typeface="Calibri"/>
              <a:ea typeface="Calibri"/>
              <a:cs typeface="Calibri"/>
              <a:sym typeface="Calibri"/>
            </a:endParaRPr>
          </a:p>
        </p:txBody>
      </p:sp>
      <p:sp>
        <p:nvSpPr>
          <p:cNvPr id="1409" name="Google Shape;1409;p9"/>
          <p:cNvSpPr/>
          <p:nvPr/>
        </p:nvSpPr>
        <p:spPr>
          <a:xfrm>
            <a:off x="8273352" y="1562582"/>
            <a:ext cx="3387145" cy="4734829"/>
          </a:xfrm>
          <a:prstGeom prst="roundRect">
            <a:avLst>
              <a:gd name="adj" fmla="val 3729"/>
            </a:avLst>
          </a:prstGeom>
          <a:solidFill>
            <a:schemeClr val="lt1"/>
          </a:solidFill>
          <a:ln>
            <a:noFill/>
          </a:ln>
          <a:effectLst>
            <a:outerShdw blurRad="508000" algn="ctr" rotWithShape="0">
              <a:srgbClr val="000000">
                <a:alpha val="12941"/>
              </a:srgbClr>
            </a:outerShdw>
          </a:effectLst>
        </p:spPr>
        <p:txBody>
          <a:bodyPr spcFirstLastPara="1" wrap="square" lIns="144000" tIns="180000" rIns="144000" bIns="180000" anchor="t" anchorCtr="0">
            <a:noAutofit/>
          </a:bodyPr>
          <a:lstStyle/>
          <a:p>
            <a:pPr marL="0" marR="0" lvl="0" indent="0" algn="ctr" rtl="0">
              <a:lnSpc>
                <a:spcPct val="141666"/>
              </a:lnSpc>
              <a:spcBef>
                <a:spcPts val="0"/>
              </a:spcBef>
              <a:spcAft>
                <a:spcPts val="0"/>
              </a:spcAft>
              <a:buClr>
                <a:schemeClr val="accent1"/>
              </a:buClr>
              <a:buSzPts val="1200"/>
              <a:buFont typeface="Calibri"/>
              <a:buNone/>
            </a:pPr>
            <a:endParaRPr lang="en-US" sz="1200" b="0" i="0" u="none" strike="noStrike" cap="none" dirty="0">
              <a:solidFill>
                <a:schemeClr val="dk1"/>
              </a:solidFill>
              <a:latin typeface="Calibri"/>
              <a:ea typeface="Calibri"/>
              <a:cs typeface="Calibri"/>
              <a:sym typeface="Calibri"/>
            </a:endParaRPr>
          </a:p>
        </p:txBody>
      </p:sp>
      <p:sp>
        <p:nvSpPr>
          <p:cNvPr id="1410" name="Google Shape;1410;p9"/>
          <p:cNvSpPr txBox="1">
            <a:spLocks noGrp="1"/>
          </p:cNvSpPr>
          <p:nvPr>
            <p:ph type="title"/>
          </p:nvPr>
        </p:nvSpPr>
        <p:spPr>
          <a:xfrm>
            <a:off x="539400"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dirty="0" err="1"/>
              <a:t>Infomineo</a:t>
            </a:r>
            <a:r>
              <a:rPr lang="en-US" dirty="0"/>
              <a:t> offers a full suite of Data Analytics Services</a:t>
            </a:r>
            <a:endParaRPr dirty="0"/>
          </a:p>
        </p:txBody>
      </p:sp>
      <p:sp>
        <p:nvSpPr>
          <p:cNvPr id="1411" name="Google Shape;1411;p9"/>
          <p:cNvSpPr txBox="1"/>
          <p:nvPr/>
        </p:nvSpPr>
        <p:spPr>
          <a:xfrm>
            <a:off x="1922076" y="2395692"/>
            <a:ext cx="1942311" cy="969496"/>
          </a:xfrm>
          <a:prstGeom prst="rect">
            <a:avLst/>
          </a:prstGeom>
          <a:noFill/>
          <a:ln>
            <a:noFill/>
          </a:ln>
        </p:spPr>
        <p:txBody>
          <a:bodyPr spcFirstLastPara="1" wrap="square" lIns="0" tIns="0" rIns="0" bIns="0" anchor="t" anchorCtr="0">
            <a:spAutoFit/>
          </a:bodyPr>
          <a:lstStyle/>
          <a:p>
            <a:pPr marL="0" marR="0" lvl="1" indent="0" algn="l" rtl="0">
              <a:lnSpc>
                <a:spcPct val="90000"/>
              </a:lnSpc>
              <a:spcBef>
                <a:spcPts val="0"/>
              </a:spcBef>
              <a:spcAft>
                <a:spcPts val="0"/>
              </a:spcAft>
              <a:buClr>
                <a:schemeClr val="accent4"/>
              </a:buClr>
              <a:buSzPts val="1400"/>
              <a:buFont typeface="Noto Sans Symbols"/>
              <a:buNone/>
            </a:pPr>
            <a:r>
              <a:rPr lang="en-US" sz="1400" b="0" i="0" u="none" strike="noStrike" cap="none" dirty="0">
                <a:solidFill>
                  <a:srgbClr val="3D3D3D"/>
                </a:solidFill>
                <a:latin typeface="Calibri"/>
                <a:ea typeface="Calibri"/>
                <a:cs typeface="Calibri"/>
                <a:sym typeface="Calibri"/>
              </a:rPr>
              <a:t>Data Exploration &amp; Cleaning</a:t>
            </a:r>
          </a:p>
          <a:p>
            <a:pPr marL="0" marR="0" lvl="1" indent="0" algn="l" rtl="0">
              <a:lnSpc>
                <a:spcPct val="90000"/>
              </a:lnSpc>
              <a:spcBef>
                <a:spcPts val="0"/>
              </a:spcBef>
              <a:spcAft>
                <a:spcPts val="0"/>
              </a:spcAft>
              <a:buClr>
                <a:schemeClr val="accent4"/>
              </a:buClr>
              <a:buSzPts val="1400"/>
              <a:buFont typeface="Noto Sans Symbols"/>
              <a:buNone/>
            </a:pPr>
            <a:r>
              <a:rPr lang="en-US" dirty="0">
                <a:solidFill>
                  <a:srgbClr val="3D3D3D"/>
                </a:solidFill>
                <a:latin typeface="Calibri"/>
                <a:ea typeface="Calibri"/>
                <a:cs typeface="Calibri"/>
                <a:sym typeface="Calibri"/>
              </a:rPr>
              <a:t>Data Visualization : reports, automated dashboards</a:t>
            </a:r>
          </a:p>
        </p:txBody>
      </p:sp>
      <p:sp>
        <p:nvSpPr>
          <p:cNvPr id="1412" name="Google Shape;1412;p9"/>
          <p:cNvSpPr/>
          <p:nvPr/>
        </p:nvSpPr>
        <p:spPr>
          <a:xfrm>
            <a:off x="8690485" y="1772498"/>
            <a:ext cx="2552879" cy="2769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2000"/>
              <a:buFont typeface="Arial"/>
              <a:buNone/>
            </a:pPr>
            <a:r>
              <a:rPr lang="en-US" sz="2000" b="0" i="0" u="none" strike="noStrike" cap="none">
                <a:solidFill>
                  <a:schemeClr val="accent1"/>
                </a:solidFill>
                <a:latin typeface="Franklin Gothic"/>
                <a:ea typeface="Franklin Gothic"/>
                <a:cs typeface="Franklin Gothic"/>
                <a:sym typeface="Franklin Gothic"/>
              </a:rPr>
              <a:t>Three Types of Support</a:t>
            </a:r>
            <a:endParaRPr sz="1400" b="0" i="0" u="none" strike="noStrike" cap="none">
              <a:solidFill>
                <a:srgbClr val="000000"/>
              </a:solidFill>
              <a:latin typeface="Arial"/>
              <a:ea typeface="Arial"/>
              <a:cs typeface="Arial"/>
              <a:sym typeface="Arial"/>
            </a:endParaRPr>
          </a:p>
        </p:txBody>
      </p:sp>
      <p:sp>
        <p:nvSpPr>
          <p:cNvPr id="1413" name="Google Shape;1413;p9"/>
          <p:cNvSpPr/>
          <p:nvPr/>
        </p:nvSpPr>
        <p:spPr>
          <a:xfrm>
            <a:off x="4549902" y="1772498"/>
            <a:ext cx="3111557" cy="2769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2000"/>
              <a:buFont typeface="Arial"/>
              <a:buNone/>
            </a:pPr>
            <a:r>
              <a:rPr lang="en-US" sz="2000" b="0" i="0" u="none" strike="noStrike" cap="none" dirty="0">
                <a:solidFill>
                  <a:schemeClr val="accent1"/>
                </a:solidFill>
                <a:latin typeface="Franklin Gothic"/>
                <a:ea typeface="Franklin Gothic"/>
                <a:cs typeface="Franklin Gothic"/>
                <a:sym typeface="Franklin Gothic"/>
              </a:rPr>
              <a:t>Business Oriented Approach</a:t>
            </a:r>
            <a:endParaRPr sz="1400" b="0" i="0" u="none" strike="noStrike" cap="none" dirty="0">
              <a:solidFill>
                <a:srgbClr val="000000"/>
              </a:solidFill>
              <a:latin typeface="Arial"/>
              <a:ea typeface="Arial"/>
              <a:cs typeface="Arial"/>
              <a:sym typeface="Arial"/>
            </a:endParaRPr>
          </a:p>
        </p:txBody>
      </p:sp>
      <p:sp>
        <p:nvSpPr>
          <p:cNvPr id="1414" name="Google Shape;1414;p9"/>
          <p:cNvSpPr/>
          <p:nvPr/>
        </p:nvSpPr>
        <p:spPr>
          <a:xfrm>
            <a:off x="902337" y="1772498"/>
            <a:ext cx="2684196" cy="2769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2000"/>
              <a:buFont typeface="Arial"/>
              <a:buNone/>
            </a:pPr>
            <a:r>
              <a:rPr lang="en-US" sz="2000" b="0" i="0" u="none" strike="noStrike" cap="none" dirty="0">
                <a:solidFill>
                  <a:schemeClr val="accent1"/>
                </a:solidFill>
                <a:latin typeface="Franklin Gothic"/>
                <a:ea typeface="Franklin Gothic"/>
                <a:cs typeface="Franklin Gothic"/>
                <a:sym typeface="Franklin Gothic"/>
              </a:rPr>
              <a:t>Three Levels of Analytics</a:t>
            </a:r>
            <a:endParaRPr sz="1400" b="0" i="0" u="none" strike="noStrike" cap="none" dirty="0">
              <a:solidFill>
                <a:srgbClr val="000000"/>
              </a:solidFill>
              <a:latin typeface="Arial"/>
              <a:ea typeface="Arial"/>
              <a:cs typeface="Arial"/>
              <a:sym typeface="Arial"/>
            </a:endParaRPr>
          </a:p>
        </p:txBody>
      </p:sp>
      <p:sp>
        <p:nvSpPr>
          <p:cNvPr id="1415" name="Google Shape;1415;p9"/>
          <p:cNvSpPr/>
          <p:nvPr/>
        </p:nvSpPr>
        <p:spPr>
          <a:xfrm rot="5400000">
            <a:off x="631786" y="2392859"/>
            <a:ext cx="1280160" cy="1005840"/>
          </a:xfrm>
          <a:prstGeom prst="homePlate">
            <a:avLst>
              <a:gd name="adj" fmla="val 18367"/>
            </a:avLst>
          </a:prstGeom>
          <a:solidFill>
            <a:schemeClr val="lt1">
              <a:alpha val="47843"/>
            </a:schemeClr>
          </a:solidFill>
          <a:ln w="1905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16" name="Google Shape;1416;p9"/>
          <p:cNvSpPr/>
          <p:nvPr/>
        </p:nvSpPr>
        <p:spPr>
          <a:xfrm rot="5400000">
            <a:off x="638694" y="3701449"/>
            <a:ext cx="1280160" cy="1005840"/>
          </a:xfrm>
          <a:prstGeom prst="chevron">
            <a:avLst>
              <a:gd name="adj" fmla="val 17686"/>
            </a:avLst>
          </a:prstGeom>
          <a:solidFill>
            <a:schemeClr val="lt1">
              <a:alpha val="47843"/>
            </a:schemeClr>
          </a:solidFill>
          <a:ln w="1905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17" name="Google Shape;1417;p9"/>
          <p:cNvSpPr/>
          <p:nvPr/>
        </p:nvSpPr>
        <p:spPr>
          <a:xfrm rot="5400000">
            <a:off x="626667" y="5076686"/>
            <a:ext cx="1280160" cy="1029893"/>
          </a:xfrm>
          <a:prstGeom prst="chevron">
            <a:avLst>
              <a:gd name="adj" fmla="val 17686"/>
            </a:avLst>
          </a:prstGeom>
          <a:solidFill>
            <a:schemeClr val="lt1">
              <a:alpha val="47843"/>
            </a:schemeClr>
          </a:solidFill>
          <a:ln w="1905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19" name="Google Shape;1419;p9"/>
          <p:cNvSpPr txBox="1"/>
          <p:nvPr/>
        </p:nvSpPr>
        <p:spPr>
          <a:xfrm>
            <a:off x="799426" y="2701880"/>
            <a:ext cx="944880" cy="387798"/>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dirty="0">
                <a:solidFill>
                  <a:srgbClr val="3D3D3D"/>
                </a:solidFill>
                <a:latin typeface="Calibri"/>
                <a:ea typeface="Calibri"/>
                <a:cs typeface="Calibri"/>
                <a:sym typeface="Calibri"/>
              </a:rPr>
              <a:t>Data Analysis</a:t>
            </a:r>
            <a:endParaRPr sz="1200" b="0" i="0" u="none" strike="noStrike" cap="none" dirty="0">
              <a:solidFill>
                <a:schemeClr val="dk1"/>
              </a:solidFill>
              <a:latin typeface="Calibri"/>
              <a:ea typeface="Calibri"/>
              <a:cs typeface="Calibri"/>
              <a:sym typeface="Calibri"/>
            </a:endParaRPr>
          </a:p>
        </p:txBody>
      </p:sp>
      <p:sp>
        <p:nvSpPr>
          <p:cNvPr id="1420" name="Google Shape;1420;p9"/>
          <p:cNvSpPr txBox="1"/>
          <p:nvPr/>
        </p:nvSpPr>
        <p:spPr>
          <a:xfrm>
            <a:off x="806334" y="4062561"/>
            <a:ext cx="944880" cy="387798"/>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dirty="0">
                <a:solidFill>
                  <a:srgbClr val="3D3D3D"/>
                </a:solidFill>
                <a:latin typeface="Calibri"/>
                <a:ea typeface="Calibri"/>
                <a:cs typeface="Calibri"/>
                <a:sym typeface="Calibri"/>
              </a:rPr>
              <a:t>Data </a:t>
            </a:r>
          </a:p>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dirty="0">
                <a:solidFill>
                  <a:srgbClr val="3D3D3D"/>
                </a:solidFill>
                <a:latin typeface="Calibri"/>
                <a:ea typeface="Calibri"/>
                <a:cs typeface="Calibri"/>
                <a:sym typeface="Calibri"/>
              </a:rPr>
              <a:t>Science</a:t>
            </a:r>
            <a:endParaRPr sz="1200" b="0" i="0" u="none" strike="noStrike" cap="none" dirty="0">
              <a:solidFill>
                <a:srgbClr val="3D3D3D"/>
              </a:solidFill>
              <a:latin typeface="Calibri"/>
              <a:ea typeface="Calibri"/>
              <a:cs typeface="Calibri"/>
              <a:sym typeface="Calibri"/>
            </a:endParaRPr>
          </a:p>
        </p:txBody>
      </p:sp>
      <p:sp>
        <p:nvSpPr>
          <p:cNvPr id="1421" name="Google Shape;1421;p9"/>
          <p:cNvSpPr txBox="1"/>
          <p:nvPr/>
        </p:nvSpPr>
        <p:spPr>
          <a:xfrm>
            <a:off x="794307" y="5397733"/>
            <a:ext cx="944880" cy="387798"/>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dirty="0">
                <a:solidFill>
                  <a:srgbClr val="3D3D3D"/>
                </a:solidFill>
                <a:latin typeface="Calibri"/>
                <a:ea typeface="Calibri"/>
                <a:cs typeface="Calibri"/>
                <a:sym typeface="Calibri"/>
              </a:rPr>
              <a:t>Data Engineering</a:t>
            </a:r>
            <a:endParaRPr sz="1200" b="0" i="0" u="none" strike="noStrike" cap="none" dirty="0">
              <a:solidFill>
                <a:srgbClr val="3D3D3D"/>
              </a:solidFill>
              <a:latin typeface="Calibri"/>
              <a:ea typeface="Calibri"/>
              <a:cs typeface="Calibri"/>
              <a:sym typeface="Calibri"/>
            </a:endParaRPr>
          </a:p>
        </p:txBody>
      </p:sp>
      <p:sp>
        <p:nvSpPr>
          <p:cNvPr id="1423" name="Google Shape;1423;p9"/>
          <p:cNvSpPr txBox="1"/>
          <p:nvPr/>
        </p:nvSpPr>
        <p:spPr>
          <a:xfrm>
            <a:off x="1940230" y="3731597"/>
            <a:ext cx="1867604" cy="775597"/>
          </a:xfrm>
          <a:prstGeom prst="rect">
            <a:avLst/>
          </a:prstGeom>
          <a:noFill/>
          <a:ln>
            <a:noFill/>
          </a:ln>
        </p:spPr>
        <p:txBody>
          <a:bodyPr spcFirstLastPara="1" wrap="square" lIns="0" tIns="0" rIns="0" bIns="0" anchor="t" anchorCtr="0">
            <a:spAutoFit/>
          </a:bodyPr>
          <a:lstStyle/>
          <a:p>
            <a:pPr marL="0" marR="0" lvl="1" indent="0" algn="l" rtl="0">
              <a:lnSpc>
                <a:spcPct val="90000"/>
              </a:lnSpc>
              <a:spcBef>
                <a:spcPts val="0"/>
              </a:spcBef>
              <a:spcAft>
                <a:spcPts val="0"/>
              </a:spcAft>
              <a:buClr>
                <a:schemeClr val="accent4"/>
              </a:buClr>
              <a:buSzPts val="1400"/>
              <a:buFont typeface="Noto Sans Symbols"/>
              <a:buNone/>
            </a:pPr>
            <a:r>
              <a:rPr lang="en-US" sz="1400" b="0" i="0" u="none" strike="noStrike" cap="none" dirty="0">
                <a:solidFill>
                  <a:srgbClr val="3D3D3D"/>
                </a:solidFill>
                <a:latin typeface="Calibri"/>
                <a:ea typeface="Calibri"/>
                <a:cs typeface="Calibri"/>
                <a:sym typeface="Calibri"/>
              </a:rPr>
              <a:t>Statistical Analysis</a:t>
            </a:r>
          </a:p>
          <a:p>
            <a:pPr marL="0" marR="0" lvl="1" indent="0" algn="l" rtl="0">
              <a:lnSpc>
                <a:spcPct val="90000"/>
              </a:lnSpc>
              <a:spcBef>
                <a:spcPts val="0"/>
              </a:spcBef>
              <a:spcAft>
                <a:spcPts val="0"/>
              </a:spcAft>
              <a:buClr>
                <a:schemeClr val="accent4"/>
              </a:buClr>
              <a:buSzPts val="1400"/>
              <a:buFont typeface="Noto Sans Symbols"/>
              <a:buNone/>
            </a:pPr>
            <a:r>
              <a:rPr lang="en-US" sz="1400" b="0" i="0" u="none" strike="noStrike" cap="none" dirty="0">
                <a:solidFill>
                  <a:srgbClr val="3D3D3D"/>
                </a:solidFill>
                <a:latin typeface="Calibri"/>
                <a:ea typeface="Calibri"/>
                <a:cs typeface="Calibri"/>
                <a:sym typeface="Calibri"/>
              </a:rPr>
              <a:t>Model building &amp; tuning</a:t>
            </a:r>
          </a:p>
          <a:p>
            <a:pPr marL="0" marR="0" lvl="1" indent="0" algn="l" rtl="0">
              <a:lnSpc>
                <a:spcPct val="90000"/>
              </a:lnSpc>
              <a:spcBef>
                <a:spcPts val="0"/>
              </a:spcBef>
              <a:spcAft>
                <a:spcPts val="0"/>
              </a:spcAft>
              <a:buClr>
                <a:schemeClr val="accent4"/>
              </a:buClr>
              <a:buSzPts val="1400"/>
              <a:buFont typeface="Noto Sans Symbols"/>
              <a:buNone/>
            </a:pPr>
            <a:r>
              <a:rPr lang="en-US" dirty="0">
                <a:solidFill>
                  <a:srgbClr val="3D3D3D"/>
                </a:solidFill>
                <a:latin typeface="Calibri"/>
                <a:ea typeface="Calibri"/>
                <a:cs typeface="Calibri"/>
                <a:sym typeface="Calibri"/>
              </a:rPr>
              <a:t>Model evaluation &amp; </a:t>
            </a:r>
            <a:r>
              <a:rPr lang="en-US" sz="1400" b="0" i="0" u="none" strike="noStrike" cap="none" dirty="0">
                <a:solidFill>
                  <a:srgbClr val="3D3D3D"/>
                </a:solidFill>
                <a:latin typeface="Calibri"/>
                <a:ea typeface="Calibri"/>
                <a:cs typeface="Calibri"/>
                <a:sym typeface="Calibri"/>
              </a:rPr>
              <a:t>retraining </a:t>
            </a:r>
            <a:endParaRPr sz="1400" b="0" i="0" u="none" strike="noStrike" cap="none" dirty="0">
              <a:solidFill>
                <a:srgbClr val="000000"/>
              </a:solidFill>
              <a:latin typeface="Arial"/>
              <a:ea typeface="Arial"/>
              <a:cs typeface="Arial"/>
              <a:sym typeface="Arial"/>
            </a:endParaRPr>
          </a:p>
        </p:txBody>
      </p:sp>
      <p:sp>
        <p:nvSpPr>
          <p:cNvPr id="1424" name="Google Shape;1424;p9"/>
          <p:cNvSpPr txBox="1"/>
          <p:nvPr/>
        </p:nvSpPr>
        <p:spPr>
          <a:xfrm>
            <a:off x="1922076" y="5116310"/>
            <a:ext cx="2046412" cy="969496"/>
          </a:xfrm>
          <a:prstGeom prst="rect">
            <a:avLst/>
          </a:prstGeom>
          <a:noFill/>
          <a:ln>
            <a:noFill/>
          </a:ln>
        </p:spPr>
        <p:txBody>
          <a:bodyPr spcFirstLastPara="1" wrap="square" lIns="0" tIns="0" rIns="0" bIns="0" anchor="t" anchorCtr="0">
            <a:spAutoFit/>
          </a:bodyPr>
          <a:lstStyle/>
          <a:p>
            <a:pPr marL="0" marR="0" lvl="1" indent="0" algn="l" rtl="0">
              <a:lnSpc>
                <a:spcPct val="90000"/>
              </a:lnSpc>
              <a:spcBef>
                <a:spcPts val="0"/>
              </a:spcBef>
              <a:spcAft>
                <a:spcPts val="0"/>
              </a:spcAft>
              <a:buClr>
                <a:schemeClr val="accent4"/>
              </a:buClr>
              <a:buSzPts val="1400"/>
              <a:buFont typeface="Noto Sans Symbols"/>
              <a:buNone/>
            </a:pPr>
            <a:r>
              <a:rPr lang="en-US" sz="1400" u="none" strike="noStrike" cap="none" dirty="0">
                <a:solidFill>
                  <a:srgbClr val="3D3D3D"/>
                </a:solidFill>
                <a:latin typeface="Calibri"/>
                <a:ea typeface="Calibri"/>
                <a:cs typeface="Calibri"/>
                <a:sym typeface="Calibri"/>
              </a:rPr>
              <a:t>Featur</a:t>
            </a:r>
            <a:r>
              <a:rPr lang="en-US" dirty="0">
                <a:solidFill>
                  <a:srgbClr val="3D3D3D"/>
                </a:solidFill>
                <a:latin typeface="Calibri"/>
                <a:ea typeface="Calibri"/>
                <a:cs typeface="Calibri"/>
                <a:sym typeface="Calibri"/>
              </a:rPr>
              <a:t>e Engineering : </a:t>
            </a:r>
            <a:r>
              <a:rPr lang="en-US" sz="1400" b="0" i="0" u="none" strike="noStrike" cap="none" dirty="0">
                <a:solidFill>
                  <a:srgbClr val="3D3D3D"/>
                </a:solidFill>
                <a:latin typeface="Calibri"/>
                <a:ea typeface="Calibri"/>
                <a:cs typeface="Calibri"/>
                <a:sym typeface="Calibri"/>
              </a:rPr>
              <a:t>Data wrangling, Data transformation</a:t>
            </a:r>
          </a:p>
          <a:p>
            <a:pPr marL="0" marR="0" lvl="1" indent="0" algn="l" rtl="0">
              <a:lnSpc>
                <a:spcPct val="90000"/>
              </a:lnSpc>
              <a:spcBef>
                <a:spcPts val="0"/>
              </a:spcBef>
              <a:spcAft>
                <a:spcPts val="0"/>
              </a:spcAft>
              <a:buClr>
                <a:schemeClr val="accent4"/>
              </a:buClr>
              <a:buSzPts val="1400"/>
              <a:buFont typeface="Noto Sans Symbols"/>
              <a:buNone/>
            </a:pPr>
            <a:r>
              <a:rPr lang="en-US" sz="1400" b="0" i="0" u="none" strike="noStrike" cap="none" dirty="0">
                <a:solidFill>
                  <a:srgbClr val="3D3D3D"/>
                </a:solidFill>
                <a:latin typeface="Calibri"/>
                <a:ea typeface="Calibri"/>
                <a:cs typeface="Calibri"/>
                <a:sym typeface="Calibri"/>
              </a:rPr>
              <a:t>Model Deployment &amp; scalability</a:t>
            </a:r>
            <a:endParaRPr sz="1400" b="0" i="0" u="none" strike="noStrike" cap="none" dirty="0">
              <a:solidFill>
                <a:srgbClr val="000000"/>
              </a:solidFill>
              <a:latin typeface="Arial"/>
              <a:ea typeface="Arial"/>
              <a:cs typeface="Arial"/>
              <a:sym typeface="Arial"/>
            </a:endParaRPr>
          </a:p>
        </p:txBody>
      </p:sp>
      <p:grpSp>
        <p:nvGrpSpPr>
          <p:cNvPr id="1426" name="Google Shape;1426;p9"/>
          <p:cNvGrpSpPr/>
          <p:nvPr/>
        </p:nvGrpSpPr>
        <p:grpSpPr>
          <a:xfrm>
            <a:off x="4901566" y="3301318"/>
            <a:ext cx="2266638" cy="2074300"/>
            <a:chOff x="4972362" y="3358004"/>
            <a:chExt cx="2266638" cy="2074300"/>
          </a:xfrm>
        </p:grpSpPr>
        <p:sp>
          <p:nvSpPr>
            <p:cNvPr id="1427" name="Google Shape;1427;p9"/>
            <p:cNvSpPr/>
            <p:nvPr/>
          </p:nvSpPr>
          <p:spPr>
            <a:xfrm>
              <a:off x="4972362" y="3358004"/>
              <a:ext cx="1254110" cy="1254111"/>
            </a:xfrm>
            <a:prstGeom prst="flowChartConnector">
              <a:avLst/>
            </a:prstGeom>
            <a:ln>
              <a:headEnd type="none" w="sm" len="sm"/>
              <a:tailEnd type="none" w="sm" len="sm"/>
            </a:ln>
          </p:spPr>
          <p:style>
            <a:lnRef idx="3">
              <a:schemeClr val="lt1"/>
            </a:lnRef>
            <a:fillRef idx="1">
              <a:schemeClr val="accent1"/>
            </a:fillRef>
            <a:effectRef idx="1">
              <a:schemeClr val="accent1"/>
            </a:effectRef>
            <a:fontRef idx="minor">
              <a:schemeClr val="lt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28" name="Google Shape;1428;p9"/>
            <p:cNvSpPr/>
            <p:nvPr/>
          </p:nvSpPr>
          <p:spPr>
            <a:xfrm>
              <a:off x="5984890" y="3358004"/>
              <a:ext cx="1254110" cy="1254111"/>
            </a:xfrm>
            <a:prstGeom prst="flowChartConnector">
              <a:avLst/>
            </a:prstGeom>
            <a:ln>
              <a:headEnd type="none" w="sm" len="sm"/>
              <a:tailEnd type="none" w="sm" len="sm"/>
            </a:ln>
          </p:spPr>
          <p:style>
            <a:lnRef idx="3">
              <a:schemeClr val="lt1"/>
            </a:lnRef>
            <a:fillRef idx="1">
              <a:schemeClr val="accent1"/>
            </a:fillRef>
            <a:effectRef idx="1">
              <a:schemeClr val="accent1"/>
            </a:effectRef>
            <a:fontRef idx="minor">
              <a:schemeClr val="lt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29" name="Google Shape;1429;p9"/>
            <p:cNvSpPr/>
            <p:nvPr/>
          </p:nvSpPr>
          <p:spPr>
            <a:xfrm>
              <a:off x="5478626" y="4178193"/>
              <a:ext cx="1254110" cy="1254111"/>
            </a:xfrm>
            <a:prstGeom prst="flowChartConnector">
              <a:avLst/>
            </a:prstGeom>
            <a:ln>
              <a:headEnd type="none" w="sm" len="sm"/>
              <a:tailEnd type="none" w="sm" len="sm"/>
            </a:ln>
          </p:spPr>
          <p:style>
            <a:lnRef idx="3">
              <a:schemeClr val="lt1"/>
            </a:lnRef>
            <a:fillRef idx="1">
              <a:schemeClr val="accent1"/>
            </a:fillRef>
            <a:effectRef idx="1">
              <a:schemeClr val="accent1"/>
            </a:effectRef>
            <a:fontRef idx="minor">
              <a:schemeClr val="lt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430" name="Google Shape;1430;p9"/>
          <p:cNvSpPr txBox="1"/>
          <p:nvPr/>
        </p:nvSpPr>
        <p:spPr>
          <a:xfrm>
            <a:off x="4932913" y="3661259"/>
            <a:ext cx="982722" cy="498598"/>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200" b="1" i="0" u="none" strike="noStrike" cap="none" dirty="0">
                <a:solidFill>
                  <a:srgbClr val="3D3D3D"/>
                </a:solidFill>
                <a:latin typeface="Calibri"/>
                <a:ea typeface="Calibri"/>
                <a:cs typeface="Calibri"/>
                <a:sym typeface="Calibri"/>
              </a:rPr>
              <a:t>Business &amp; Data Understanding</a:t>
            </a:r>
            <a:endParaRPr sz="1100" b="0" i="0" u="none" strike="noStrike" cap="none" dirty="0">
              <a:solidFill>
                <a:schemeClr val="dk1"/>
              </a:solidFill>
              <a:latin typeface="Calibri"/>
              <a:ea typeface="Calibri"/>
              <a:cs typeface="Calibri"/>
              <a:sym typeface="Calibri"/>
            </a:endParaRPr>
          </a:p>
        </p:txBody>
      </p:sp>
      <p:sp>
        <p:nvSpPr>
          <p:cNvPr id="1431" name="Google Shape;1431;p9"/>
          <p:cNvSpPr txBox="1"/>
          <p:nvPr/>
        </p:nvSpPr>
        <p:spPr>
          <a:xfrm>
            <a:off x="6084385" y="3738973"/>
            <a:ext cx="863163" cy="3323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200" b="1" i="0" u="none" strike="noStrike" cap="none" dirty="0">
                <a:solidFill>
                  <a:srgbClr val="3D3D3D"/>
                </a:solidFill>
                <a:latin typeface="Calibri"/>
                <a:ea typeface="Calibri"/>
                <a:cs typeface="Calibri"/>
                <a:sym typeface="Calibri"/>
              </a:rPr>
              <a:t>Agile Methodology</a:t>
            </a:r>
            <a:endParaRPr sz="1100" b="0" i="0" u="none" strike="noStrike" cap="none" dirty="0">
              <a:solidFill>
                <a:schemeClr val="dk1"/>
              </a:solidFill>
              <a:latin typeface="Calibri"/>
              <a:ea typeface="Calibri"/>
              <a:cs typeface="Calibri"/>
              <a:sym typeface="Calibri"/>
            </a:endParaRPr>
          </a:p>
        </p:txBody>
      </p:sp>
      <p:sp>
        <p:nvSpPr>
          <p:cNvPr id="1432" name="Google Shape;1432;p9"/>
          <p:cNvSpPr txBox="1"/>
          <p:nvPr/>
        </p:nvSpPr>
        <p:spPr>
          <a:xfrm>
            <a:off x="5487345" y="4613479"/>
            <a:ext cx="1095080" cy="3323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200" b="1" i="0" u="none" strike="noStrike" cap="none" dirty="0">
                <a:solidFill>
                  <a:srgbClr val="3D3D3D"/>
                </a:solidFill>
                <a:latin typeface="Calibri"/>
                <a:ea typeface="Calibri"/>
                <a:cs typeface="Calibri"/>
                <a:sym typeface="Calibri"/>
              </a:rPr>
              <a:t>Delivery Management</a:t>
            </a:r>
            <a:endParaRPr sz="1100" b="0" i="0" u="none" strike="noStrike" cap="none" dirty="0">
              <a:solidFill>
                <a:schemeClr val="dk1"/>
              </a:solidFill>
              <a:latin typeface="Calibri"/>
              <a:ea typeface="Calibri"/>
              <a:cs typeface="Calibri"/>
              <a:sym typeface="Calibri"/>
            </a:endParaRPr>
          </a:p>
        </p:txBody>
      </p:sp>
      <p:sp>
        <p:nvSpPr>
          <p:cNvPr id="1433" name="Google Shape;1433;p9"/>
          <p:cNvSpPr txBox="1"/>
          <p:nvPr/>
        </p:nvSpPr>
        <p:spPr>
          <a:xfrm>
            <a:off x="4468656" y="2675679"/>
            <a:ext cx="1429647" cy="498598"/>
          </a:xfrm>
          <a:prstGeom prst="rect">
            <a:avLst/>
          </a:prstGeom>
          <a:noFill/>
          <a:ln>
            <a:noFill/>
          </a:ln>
        </p:spPr>
        <p:txBody>
          <a:bodyPr spcFirstLastPara="1" wrap="square" lIns="0" tIns="0" rIns="0" bIns="0" anchor="t" anchorCtr="0">
            <a:spAutoFit/>
          </a:bodyPr>
          <a:lstStyle/>
          <a:p>
            <a:pPr marL="0" marR="0" lvl="1" indent="0" algn="ctr" rtl="0">
              <a:lnSpc>
                <a:spcPct val="90000"/>
              </a:lnSpc>
              <a:spcBef>
                <a:spcPts val="0"/>
              </a:spcBef>
              <a:spcAft>
                <a:spcPts val="0"/>
              </a:spcAft>
              <a:buClr>
                <a:schemeClr val="accent4"/>
              </a:buClr>
              <a:buSzPts val="1400"/>
              <a:buFont typeface="Noto Sans Symbols"/>
              <a:buNone/>
            </a:pPr>
            <a:r>
              <a:rPr lang="en-US" sz="1200" dirty="0" err="1">
                <a:solidFill>
                  <a:srgbClr val="3D3D3D"/>
                </a:solidFill>
                <a:latin typeface="Calibri"/>
                <a:ea typeface="Calibri"/>
                <a:cs typeface="Calibri"/>
                <a:sym typeface="Calibri"/>
              </a:rPr>
              <a:t>Infomineo’s</a:t>
            </a:r>
            <a:r>
              <a:rPr lang="en-US" sz="1200" dirty="0">
                <a:solidFill>
                  <a:srgbClr val="3D3D3D"/>
                </a:solidFill>
                <a:latin typeface="Calibri"/>
                <a:ea typeface="Calibri"/>
                <a:cs typeface="Calibri"/>
                <a:sym typeface="Calibri"/>
              </a:rPr>
              <a:t> teams demonstrate a high Business sense</a:t>
            </a:r>
            <a:endParaRPr sz="1200" b="0" i="0" u="none" strike="noStrike" cap="none" dirty="0">
              <a:solidFill>
                <a:srgbClr val="000000"/>
              </a:solidFill>
              <a:latin typeface="Arial"/>
              <a:ea typeface="Arial"/>
              <a:cs typeface="Arial"/>
              <a:sym typeface="Arial"/>
            </a:endParaRPr>
          </a:p>
        </p:txBody>
      </p:sp>
      <p:sp>
        <p:nvSpPr>
          <p:cNvPr id="1434" name="Google Shape;1434;p9"/>
          <p:cNvSpPr txBox="1"/>
          <p:nvPr/>
        </p:nvSpPr>
        <p:spPr>
          <a:xfrm>
            <a:off x="6366517" y="2696861"/>
            <a:ext cx="1346242" cy="664797"/>
          </a:xfrm>
          <a:prstGeom prst="rect">
            <a:avLst/>
          </a:prstGeom>
          <a:noFill/>
          <a:ln>
            <a:noFill/>
          </a:ln>
        </p:spPr>
        <p:txBody>
          <a:bodyPr spcFirstLastPara="1" wrap="square" lIns="0" tIns="0" rIns="0" bIns="0" anchor="t" anchorCtr="0">
            <a:spAutoFit/>
          </a:bodyPr>
          <a:lstStyle/>
          <a:p>
            <a:pPr lvl="1" algn="ctr">
              <a:lnSpc>
                <a:spcPct val="90000"/>
              </a:lnSpc>
              <a:buClr>
                <a:schemeClr val="accent4"/>
              </a:buClr>
              <a:buSzPts val="1400"/>
            </a:pPr>
            <a:r>
              <a:rPr lang="en-US" sz="1200" dirty="0">
                <a:solidFill>
                  <a:srgbClr val="3D3D3D"/>
                </a:solidFill>
                <a:latin typeface="Calibri"/>
                <a:ea typeface="Calibri"/>
                <a:cs typeface="Calibri"/>
                <a:sym typeface="Calibri"/>
              </a:rPr>
              <a:t>We work in an iterative approach to fulfill clients needs quickly</a:t>
            </a:r>
            <a:endParaRPr sz="1200" dirty="0">
              <a:solidFill>
                <a:srgbClr val="3D3D3D"/>
              </a:solidFill>
              <a:latin typeface="Calibri"/>
              <a:ea typeface="Calibri"/>
              <a:cs typeface="Calibri"/>
            </a:endParaRPr>
          </a:p>
        </p:txBody>
      </p:sp>
      <p:sp>
        <p:nvSpPr>
          <p:cNvPr id="1435" name="Google Shape;1435;p9"/>
          <p:cNvSpPr txBox="1"/>
          <p:nvPr/>
        </p:nvSpPr>
        <p:spPr>
          <a:xfrm>
            <a:off x="5031283" y="5511020"/>
            <a:ext cx="2148794" cy="664797"/>
          </a:xfrm>
          <a:prstGeom prst="rect">
            <a:avLst/>
          </a:prstGeom>
          <a:noFill/>
          <a:ln>
            <a:noFill/>
          </a:ln>
        </p:spPr>
        <p:txBody>
          <a:bodyPr spcFirstLastPara="1" wrap="square" lIns="0" tIns="0" rIns="0" bIns="0" anchor="t" anchorCtr="0">
            <a:spAutoFit/>
          </a:bodyPr>
          <a:lstStyle/>
          <a:p>
            <a:pPr marL="0" marR="0" lvl="1" indent="0" algn="ctr" rtl="0">
              <a:lnSpc>
                <a:spcPct val="90000"/>
              </a:lnSpc>
              <a:spcBef>
                <a:spcPts val="0"/>
              </a:spcBef>
              <a:spcAft>
                <a:spcPts val="0"/>
              </a:spcAft>
              <a:buClr>
                <a:schemeClr val="accent4"/>
              </a:buClr>
              <a:buSzPts val="1400"/>
              <a:buFont typeface="Noto Sans Symbols"/>
              <a:buNone/>
            </a:pPr>
            <a:r>
              <a:rPr lang="en-US" sz="1200" b="0" i="0" u="none" strike="noStrike" cap="none" dirty="0">
                <a:solidFill>
                  <a:srgbClr val="3D3D3D"/>
                </a:solidFill>
                <a:latin typeface="Calibri"/>
                <a:ea typeface="Calibri"/>
                <a:cs typeface="Calibri"/>
                <a:sym typeface="Calibri"/>
              </a:rPr>
              <a:t>Release &amp; Change Management are handled: versioning, unit tests, model validation, code reviews, documentation…  </a:t>
            </a:r>
            <a:endParaRPr sz="1200" b="0" i="0" u="none" strike="noStrike" cap="none" dirty="0">
              <a:solidFill>
                <a:srgbClr val="000000"/>
              </a:solidFill>
              <a:latin typeface="Arial"/>
              <a:ea typeface="Arial"/>
              <a:cs typeface="Arial"/>
              <a:sym typeface="Arial"/>
            </a:endParaRPr>
          </a:p>
        </p:txBody>
      </p:sp>
      <p:sp>
        <p:nvSpPr>
          <p:cNvPr id="1436" name="Google Shape;1436;p9"/>
          <p:cNvSpPr/>
          <p:nvPr/>
        </p:nvSpPr>
        <p:spPr>
          <a:xfrm>
            <a:off x="8415054" y="2255699"/>
            <a:ext cx="1115025" cy="1115026"/>
          </a:xfrm>
          <a:prstGeom prst="flowChartConnector">
            <a:avLst/>
          </a:prstGeom>
          <a:noFill/>
          <a:ln w="2857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37" name="Google Shape;1437;p9"/>
          <p:cNvSpPr/>
          <p:nvPr/>
        </p:nvSpPr>
        <p:spPr>
          <a:xfrm>
            <a:off x="8415054" y="3633852"/>
            <a:ext cx="1115025" cy="1115026"/>
          </a:xfrm>
          <a:prstGeom prst="flowChartConnector">
            <a:avLst/>
          </a:prstGeom>
          <a:noFill/>
          <a:ln w="2857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38" name="Google Shape;1438;p9"/>
          <p:cNvSpPr/>
          <p:nvPr/>
        </p:nvSpPr>
        <p:spPr>
          <a:xfrm>
            <a:off x="8415054" y="5012004"/>
            <a:ext cx="1115025" cy="1115026"/>
          </a:xfrm>
          <a:prstGeom prst="flowChartConnector">
            <a:avLst/>
          </a:prstGeom>
          <a:noFill/>
          <a:ln w="2857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39" name="Google Shape;1439;p9"/>
          <p:cNvSpPr txBox="1"/>
          <p:nvPr/>
        </p:nvSpPr>
        <p:spPr>
          <a:xfrm>
            <a:off x="8385945" y="4018564"/>
            <a:ext cx="1144134" cy="387798"/>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dirty="0">
                <a:solidFill>
                  <a:srgbClr val="3D3D3D"/>
                </a:solidFill>
                <a:latin typeface="Calibri"/>
                <a:ea typeface="Calibri"/>
                <a:cs typeface="Calibri"/>
                <a:sym typeface="Calibri"/>
              </a:rPr>
              <a:t>Interactive Visualization</a:t>
            </a:r>
            <a:endParaRPr sz="1200" b="0" i="0" u="none" strike="noStrike" cap="none" dirty="0">
              <a:solidFill>
                <a:schemeClr val="dk1"/>
              </a:solidFill>
              <a:latin typeface="Calibri"/>
              <a:ea typeface="Calibri"/>
              <a:cs typeface="Calibri"/>
              <a:sym typeface="Calibri"/>
            </a:endParaRPr>
          </a:p>
        </p:txBody>
      </p:sp>
      <p:sp>
        <p:nvSpPr>
          <p:cNvPr id="1440" name="Google Shape;1440;p9"/>
          <p:cNvSpPr txBox="1"/>
          <p:nvPr/>
        </p:nvSpPr>
        <p:spPr>
          <a:xfrm>
            <a:off x="8463752" y="2619313"/>
            <a:ext cx="1049335" cy="387798"/>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dirty="0">
                <a:solidFill>
                  <a:srgbClr val="3D3D3D"/>
                </a:solidFill>
                <a:latin typeface="Calibri"/>
                <a:ea typeface="Calibri"/>
                <a:cs typeface="Calibri"/>
                <a:sym typeface="Calibri"/>
              </a:rPr>
              <a:t>Data Preparation</a:t>
            </a:r>
            <a:endParaRPr sz="1200" b="0" i="0" u="none" strike="noStrike" cap="none" dirty="0">
              <a:solidFill>
                <a:schemeClr val="dk1"/>
              </a:solidFill>
              <a:latin typeface="Calibri"/>
              <a:ea typeface="Calibri"/>
              <a:cs typeface="Calibri"/>
              <a:sym typeface="Calibri"/>
            </a:endParaRPr>
          </a:p>
        </p:txBody>
      </p:sp>
      <p:sp>
        <p:nvSpPr>
          <p:cNvPr id="1441" name="Google Shape;1441;p9"/>
          <p:cNvSpPr txBox="1"/>
          <p:nvPr/>
        </p:nvSpPr>
        <p:spPr>
          <a:xfrm>
            <a:off x="8503916" y="5472567"/>
            <a:ext cx="988026" cy="1938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400" b="1" i="0" u="none" strike="noStrike" cap="none" dirty="0">
                <a:solidFill>
                  <a:srgbClr val="3D3D3D"/>
                </a:solidFill>
                <a:latin typeface="Calibri"/>
                <a:ea typeface="Calibri"/>
                <a:cs typeface="Calibri"/>
                <a:sym typeface="Calibri"/>
              </a:rPr>
              <a:t>Modeling</a:t>
            </a:r>
            <a:endParaRPr sz="1200" b="0" i="0" u="none" strike="noStrike" cap="none" dirty="0">
              <a:solidFill>
                <a:schemeClr val="dk1"/>
              </a:solidFill>
              <a:latin typeface="Calibri"/>
              <a:ea typeface="Calibri"/>
              <a:cs typeface="Calibri"/>
              <a:sym typeface="Calibri"/>
            </a:endParaRPr>
          </a:p>
        </p:txBody>
      </p:sp>
      <p:sp>
        <p:nvSpPr>
          <p:cNvPr id="1442" name="Google Shape;1442;p9"/>
          <p:cNvSpPr txBox="1"/>
          <p:nvPr/>
        </p:nvSpPr>
        <p:spPr>
          <a:xfrm>
            <a:off x="9645638" y="5244993"/>
            <a:ext cx="1790489" cy="775597"/>
          </a:xfrm>
          <a:prstGeom prst="rect">
            <a:avLst/>
          </a:prstGeom>
          <a:noFill/>
          <a:ln>
            <a:noFill/>
          </a:ln>
        </p:spPr>
        <p:txBody>
          <a:bodyPr spcFirstLastPara="1" wrap="square" lIns="0" tIns="0" rIns="0" bIns="0" anchor="t" anchorCtr="0">
            <a:spAutoFit/>
          </a:bodyPr>
          <a:lstStyle/>
          <a:p>
            <a:pPr marL="0" marR="0" lvl="1" indent="0" algn="l" rtl="0">
              <a:lnSpc>
                <a:spcPct val="90000"/>
              </a:lnSpc>
              <a:spcBef>
                <a:spcPts val="0"/>
              </a:spcBef>
              <a:spcAft>
                <a:spcPts val="0"/>
              </a:spcAft>
              <a:buClr>
                <a:schemeClr val="accent4"/>
              </a:buClr>
              <a:buSzPts val="1400"/>
              <a:buFont typeface="Noto Sans Symbols"/>
              <a:buNone/>
            </a:pPr>
            <a:r>
              <a:rPr lang="en-US" sz="1400" b="0" i="0" u="none" strike="noStrike" cap="none" dirty="0">
                <a:solidFill>
                  <a:srgbClr val="3D3D3D"/>
                </a:solidFill>
                <a:latin typeface="Calibri"/>
                <a:ea typeface="Calibri"/>
                <a:cs typeface="Calibri"/>
                <a:sym typeface="Calibri"/>
              </a:rPr>
              <a:t>Building </a:t>
            </a:r>
            <a:r>
              <a:rPr lang="en-US" dirty="0">
                <a:solidFill>
                  <a:srgbClr val="3D3D3D"/>
                </a:solidFill>
                <a:latin typeface="Calibri"/>
                <a:ea typeface="Calibri"/>
                <a:cs typeface="Calibri"/>
                <a:sym typeface="Calibri"/>
              </a:rPr>
              <a:t>p</a:t>
            </a:r>
            <a:r>
              <a:rPr lang="en-US" sz="1400" b="0" i="0" u="none" strike="noStrike" cap="none" dirty="0">
                <a:solidFill>
                  <a:srgbClr val="3D3D3D"/>
                </a:solidFill>
                <a:latin typeface="Calibri"/>
                <a:ea typeface="Calibri"/>
                <a:cs typeface="Calibri"/>
                <a:sym typeface="Calibri"/>
              </a:rPr>
              <a:t>redictive and prescriptive models &amp; possibility to deploy to production</a:t>
            </a:r>
            <a:endParaRPr sz="1400" b="0" i="0" u="none" strike="noStrike" cap="none" dirty="0">
              <a:solidFill>
                <a:srgbClr val="000000"/>
              </a:solidFill>
              <a:latin typeface="Arial"/>
              <a:ea typeface="Arial"/>
              <a:cs typeface="Arial"/>
              <a:sym typeface="Arial"/>
            </a:endParaRPr>
          </a:p>
        </p:txBody>
      </p:sp>
      <p:sp>
        <p:nvSpPr>
          <p:cNvPr id="1444" name="Google Shape;1444;p9"/>
          <p:cNvSpPr txBox="1"/>
          <p:nvPr/>
        </p:nvSpPr>
        <p:spPr>
          <a:xfrm>
            <a:off x="9653405" y="3973591"/>
            <a:ext cx="1790489" cy="581698"/>
          </a:xfrm>
          <a:prstGeom prst="rect">
            <a:avLst/>
          </a:prstGeom>
          <a:noFill/>
          <a:ln>
            <a:noFill/>
          </a:ln>
        </p:spPr>
        <p:txBody>
          <a:bodyPr spcFirstLastPara="1" wrap="square" lIns="0" tIns="0" rIns="0" bIns="0" anchor="ctr" anchorCtr="0">
            <a:spAutoFit/>
          </a:bodyPr>
          <a:lstStyle/>
          <a:p>
            <a:pPr marL="0" marR="0" lvl="1" indent="0" algn="l" rtl="0">
              <a:lnSpc>
                <a:spcPct val="90000"/>
              </a:lnSpc>
              <a:spcBef>
                <a:spcPts val="0"/>
              </a:spcBef>
              <a:spcAft>
                <a:spcPts val="0"/>
              </a:spcAft>
              <a:buClr>
                <a:schemeClr val="accent4"/>
              </a:buClr>
              <a:buSzPts val="1400"/>
              <a:buFont typeface="Noto Sans Symbols"/>
              <a:buNone/>
            </a:pPr>
            <a:r>
              <a:rPr lang="en-US" sz="1400" b="0" i="0" u="none" strike="noStrike" cap="none" dirty="0">
                <a:solidFill>
                  <a:srgbClr val="3D3D3D"/>
                </a:solidFill>
                <a:latin typeface="Calibri"/>
                <a:ea typeface="Calibri"/>
                <a:cs typeface="Calibri"/>
                <a:sym typeface="Calibri"/>
              </a:rPr>
              <a:t>Building and maintaining self service analytics</a:t>
            </a:r>
            <a:endParaRPr sz="1400" b="0" i="0" u="none" strike="noStrike" cap="none" dirty="0">
              <a:solidFill>
                <a:srgbClr val="000000"/>
              </a:solidFill>
              <a:latin typeface="Arial"/>
              <a:ea typeface="Arial"/>
              <a:cs typeface="Arial"/>
              <a:sym typeface="Arial"/>
            </a:endParaRPr>
          </a:p>
        </p:txBody>
      </p:sp>
      <p:sp>
        <p:nvSpPr>
          <p:cNvPr id="3" name="Google Shape;1400;p8">
            <a:extLst>
              <a:ext uri="{FF2B5EF4-FFF2-40B4-BE49-F238E27FC236}">
                <a16:creationId xmlns:a16="http://schemas.microsoft.com/office/drawing/2014/main" id="{09B7420E-07FF-5A01-0077-413D903814B3}"/>
              </a:ext>
            </a:extLst>
          </p:cNvPr>
          <p:cNvSpPr txBox="1"/>
          <p:nvPr/>
        </p:nvSpPr>
        <p:spPr>
          <a:xfrm>
            <a:off x="10976464" y="292682"/>
            <a:ext cx="533800" cy="153888"/>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dirty="0">
                <a:solidFill>
                  <a:schemeClr val="bg2"/>
                </a:solidFill>
                <a:latin typeface="Franklin Gothic"/>
                <a:ea typeface="Franklin Gothic"/>
                <a:cs typeface="Franklin Gothic"/>
                <a:sym typeface="Franklin Gothic"/>
              </a:rPr>
              <a:t>Analytics</a:t>
            </a:r>
            <a:endParaRPr sz="1400" b="0" i="0" u="none" strike="noStrike" cap="none" dirty="0">
              <a:solidFill>
                <a:schemeClr val="bg2"/>
              </a:solidFill>
              <a:latin typeface="Arial"/>
              <a:ea typeface="Arial"/>
              <a:cs typeface="Arial"/>
              <a:sym typeface="Arial"/>
            </a:endParaRPr>
          </a:p>
        </p:txBody>
      </p:sp>
      <p:grpSp>
        <p:nvGrpSpPr>
          <p:cNvPr id="8" name="Group 7">
            <a:extLst>
              <a:ext uri="{FF2B5EF4-FFF2-40B4-BE49-F238E27FC236}">
                <a16:creationId xmlns:a16="http://schemas.microsoft.com/office/drawing/2014/main" id="{CBEF7809-1304-BB3B-8466-062E965920D1}"/>
              </a:ext>
            </a:extLst>
          </p:cNvPr>
          <p:cNvGrpSpPr/>
          <p:nvPr/>
        </p:nvGrpSpPr>
        <p:grpSpPr>
          <a:xfrm>
            <a:off x="11557889" y="135255"/>
            <a:ext cx="468744" cy="468742"/>
            <a:chOff x="11706853" y="287655"/>
            <a:chExt cx="468744" cy="468742"/>
          </a:xfrm>
        </p:grpSpPr>
        <p:sp>
          <p:nvSpPr>
            <p:cNvPr id="6" name="Google Shape;1401;p8">
              <a:extLst>
                <a:ext uri="{FF2B5EF4-FFF2-40B4-BE49-F238E27FC236}">
                  <a16:creationId xmlns:a16="http://schemas.microsoft.com/office/drawing/2014/main" id="{45037A39-E961-9573-1D46-AE6362AE12DD}"/>
                </a:ext>
              </a:extLst>
            </p:cNvPr>
            <p:cNvSpPr/>
            <p:nvPr/>
          </p:nvSpPr>
          <p:spPr>
            <a:xfrm>
              <a:off x="11706853" y="287655"/>
              <a:ext cx="468744" cy="468742"/>
            </a:xfrm>
            <a:prstGeom prst="ellipse">
              <a:avLst/>
            </a:prstGeom>
            <a:solidFill>
              <a:schemeClr val="bg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pic>
          <p:nvPicPr>
            <p:cNvPr id="5" name="Picture 4">
              <a:extLst>
                <a:ext uri="{FF2B5EF4-FFF2-40B4-BE49-F238E27FC236}">
                  <a16:creationId xmlns:a16="http://schemas.microsoft.com/office/drawing/2014/main" id="{CD00EA03-4E69-E82D-B336-107B61E96826}"/>
                </a:ext>
              </a:extLst>
            </p:cNvPr>
            <p:cNvPicPr>
              <a:picLocks noChangeAspect="1"/>
            </p:cNvPicPr>
            <p:nvPr/>
          </p:nvPicPr>
          <p:blipFill>
            <a:blip r:embed="rId6">
              <a:lum bright="70000" contrast="-70000"/>
              <a:alphaModFix/>
            </a:blip>
            <a:stretch>
              <a:fillRect/>
            </a:stretch>
          </p:blipFill>
          <p:spPr>
            <a:xfrm>
              <a:off x="11795074" y="375875"/>
              <a:ext cx="292302" cy="292302"/>
            </a:xfrm>
            <a:prstGeom prst="rect">
              <a:avLst/>
            </a:prstGeom>
            <a:noFill/>
            <a:ln>
              <a:noFill/>
            </a:ln>
          </p:spPr>
        </p:pic>
      </p:grpSp>
      <p:sp>
        <p:nvSpPr>
          <p:cNvPr id="9" name="Google Shape;1444;p9">
            <a:extLst>
              <a:ext uri="{FF2B5EF4-FFF2-40B4-BE49-F238E27FC236}">
                <a16:creationId xmlns:a16="http://schemas.microsoft.com/office/drawing/2014/main" id="{D34CF46D-A9DF-C000-16E7-7A9F46D01D46}"/>
              </a:ext>
            </a:extLst>
          </p:cNvPr>
          <p:cNvSpPr txBox="1"/>
          <p:nvPr/>
        </p:nvSpPr>
        <p:spPr>
          <a:xfrm>
            <a:off x="9653405" y="2328465"/>
            <a:ext cx="1790489" cy="969496"/>
          </a:xfrm>
          <a:prstGeom prst="rect">
            <a:avLst/>
          </a:prstGeom>
          <a:noFill/>
          <a:ln>
            <a:noFill/>
          </a:ln>
        </p:spPr>
        <p:txBody>
          <a:bodyPr spcFirstLastPara="1" wrap="square" lIns="0" tIns="0" rIns="0" bIns="0" anchor="ctr" anchorCtr="0">
            <a:spAutoFit/>
          </a:bodyPr>
          <a:lstStyle/>
          <a:p>
            <a:pPr marL="0" marR="0" lvl="1" indent="0" algn="l" rtl="0">
              <a:lnSpc>
                <a:spcPct val="90000"/>
              </a:lnSpc>
              <a:spcBef>
                <a:spcPts val="0"/>
              </a:spcBef>
              <a:spcAft>
                <a:spcPts val="0"/>
              </a:spcAft>
              <a:buClr>
                <a:schemeClr val="accent4"/>
              </a:buClr>
              <a:buSzPts val="1400"/>
              <a:buFont typeface="Noto Sans Symbols"/>
              <a:buNone/>
            </a:pPr>
            <a:r>
              <a:rPr lang="en-US" sz="1400" b="0" i="0" u="none" strike="noStrike" cap="none" dirty="0">
                <a:solidFill>
                  <a:srgbClr val="3D3D3D"/>
                </a:solidFill>
                <a:latin typeface="Calibri"/>
                <a:ea typeface="Calibri"/>
                <a:cs typeface="Calibri"/>
                <a:sym typeface="Calibri"/>
              </a:rPr>
              <a:t>Gathering Data from various storage, Assessing Data Quality and processing cleaning and wrangling</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19181854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452"/>
        <p:cNvGrpSpPr/>
        <p:nvPr/>
      </p:nvGrpSpPr>
      <p:grpSpPr>
        <a:xfrm>
          <a:off x="0" y="0"/>
          <a:ext cx="0" cy="0"/>
          <a:chOff x="0" y="0"/>
          <a:chExt cx="0" cy="0"/>
        </a:xfrm>
      </p:grpSpPr>
      <p:sp>
        <p:nvSpPr>
          <p:cNvPr id="1453" name="Google Shape;1453;p10"/>
          <p:cNvSpPr/>
          <p:nvPr/>
        </p:nvSpPr>
        <p:spPr>
          <a:xfrm>
            <a:off x="969649" y="894574"/>
            <a:ext cx="1997022" cy="1014395"/>
          </a:xfrm>
          <a:custGeom>
            <a:avLst/>
            <a:gdLst/>
            <a:ahLst/>
            <a:cxnLst/>
            <a:rect l="l" t="t" r="r" b="b"/>
            <a:pathLst>
              <a:path w="1997022" h="1014395" extrusionOk="0">
                <a:moveTo>
                  <a:pt x="998511" y="0"/>
                </a:moveTo>
                <a:cubicBezTo>
                  <a:pt x="1549973" y="0"/>
                  <a:pt x="1997022" y="447048"/>
                  <a:pt x="1997022" y="998510"/>
                </a:cubicBezTo>
                <a:lnTo>
                  <a:pt x="1996220" y="1014395"/>
                </a:lnTo>
                <a:lnTo>
                  <a:pt x="802" y="1014395"/>
                </a:lnTo>
                <a:lnTo>
                  <a:pt x="0" y="998510"/>
                </a:lnTo>
                <a:cubicBezTo>
                  <a:pt x="0" y="447048"/>
                  <a:pt x="447049" y="0"/>
                  <a:pt x="998511" y="0"/>
                </a:cubicBezTo>
                <a:close/>
              </a:path>
            </a:pathLst>
          </a:custGeom>
          <a:gradFill>
            <a:gsLst>
              <a:gs pos="0">
                <a:srgbClr val="E5E5E5"/>
              </a:gs>
              <a:gs pos="73000">
                <a:srgbClr val="F0F0F0">
                  <a:alpha val="47843"/>
                </a:srgbClr>
              </a:gs>
              <a:gs pos="100000">
                <a:srgbClr val="FFFFFF">
                  <a:alpha val="0"/>
                </a:srgbClr>
              </a:gs>
            </a:gsLst>
            <a:lin ang="54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54" name="Google Shape;1454;p10"/>
          <p:cNvSpPr/>
          <p:nvPr/>
        </p:nvSpPr>
        <p:spPr>
          <a:xfrm>
            <a:off x="5338130" y="894574"/>
            <a:ext cx="1997022" cy="1014395"/>
          </a:xfrm>
          <a:custGeom>
            <a:avLst/>
            <a:gdLst/>
            <a:ahLst/>
            <a:cxnLst/>
            <a:rect l="l" t="t" r="r" b="b"/>
            <a:pathLst>
              <a:path w="1997022" h="1014395" extrusionOk="0">
                <a:moveTo>
                  <a:pt x="998511" y="0"/>
                </a:moveTo>
                <a:cubicBezTo>
                  <a:pt x="1549973" y="0"/>
                  <a:pt x="1997022" y="447048"/>
                  <a:pt x="1997022" y="998510"/>
                </a:cubicBezTo>
                <a:lnTo>
                  <a:pt x="1996220" y="1014395"/>
                </a:lnTo>
                <a:lnTo>
                  <a:pt x="802" y="1014395"/>
                </a:lnTo>
                <a:lnTo>
                  <a:pt x="0" y="998510"/>
                </a:lnTo>
                <a:cubicBezTo>
                  <a:pt x="0" y="447048"/>
                  <a:pt x="447049" y="0"/>
                  <a:pt x="998511" y="0"/>
                </a:cubicBezTo>
                <a:close/>
              </a:path>
            </a:pathLst>
          </a:custGeom>
          <a:gradFill>
            <a:gsLst>
              <a:gs pos="0">
                <a:srgbClr val="E5E5E5"/>
              </a:gs>
              <a:gs pos="73000">
                <a:srgbClr val="F0F0F0">
                  <a:alpha val="47843"/>
                </a:srgbClr>
              </a:gs>
              <a:gs pos="100000">
                <a:srgbClr val="FFFFFF">
                  <a:alpha val="0"/>
                </a:srgbClr>
              </a:gs>
            </a:gsLst>
            <a:lin ang="54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55" name="Google Shape;1455;p10"/>
          <p:cNvSpPr/>
          <p:nvPr/>
        </p:nvSpPr>
        <p:spPr>
          <a:xfrm>
            <a:off x="8570032" y="894574"/>
            <a:ext cx="1997022" cy="1014395"/>
          </a:xfrm>
          <a:custGeom>
            <a:avLst/>
            <a:gdLst/>
            <a:ahLst/>
            <a:cxnLst/>
            <a:rect l="l" t="t" r="r" b="b"/>
            <a:pathLst>
              <a:path w="1997022" h="1014395" extrusionOk="0">
                <a:moveTo>
                  <a:pt x="998511" y="0"/>
                </a:moveTo>
                <a:cubicBezTo>
                  <a:pt x="1549973" y="0"/>
                  <a:pt x="1997022" y="447048"/>
                  <a:pt x="1997022" y="998510"/>
                </a:cubicBezTo>
                <a:lnTo>
                  <a:pt x="1996220" y="1014395"/>
                </a:lnTo>
                <a:lnTo>
                  <a:pt x="802" y="1014395"/>
                </a:lnTo>
                <a:lnTo>
                  <a:pt x="0" y="998510"/>
                </a:lnTo>
                <a:cubicBezTo>
                  <a:pt x="0" y="447048"/>
                  <a:pt x="447049" y="0"/>
                  <a:pt x="998511" y="0"/>
                </a:cubicBezTo>
                <a:close/>
              </a:path>
            </a:pathLst>
          </a:custGeom>
          <a:gradFill>
            <a:gsLst>
              <a:gs pos="0">
                <a:srgbClr val="E5E5E5"/>
              </a:gs>
              <a:gs pos="73000">
                <a:srgbClr val="F0F0F0">
                  <a:alpha val="47843"/>
                </a:srgbClr>
              </a:gs>
              <a:gs pos="100000">
                <a:srgbClr val="FFFFFF">
                  <a:alpha val="0"/>
                </a:srgbClr>
              </a:gs>
            </a:gsLst>
            <a:lin ang="54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56" name="Google Shape;1456;p10"/>
          <p:cNvSpPr/>
          <p:nvPr/>
        </p:nvSpPr>
        <p:spPr>
          <a:xfrm>
            <a:off x="3544766" y="2737118"/>
            <a:ext cx="5568814" cy="3873231"/>
          </a:xfrm>
          <a:prstGeom prst="roundRect">
            <a:avLst>
              <a:gd name="adj" fmla="val 2870"/>
            </a:avLst>
          </a:prstGeom>
          <a:solidFill>
            <a:srgbClr val="CDD9FC">
              <a:alpha val="60000"/>
            </a:srgbClr>
          </a:solidFill>
          <a:ln>
            <a:noFill/>
          </a:ln>
        </p:spPr>
        <p:txBody>
          <a:bodyPr spcFirstLastPara="1" wrap="square" lIns="0" tIns="37325" rIns="0" bIns="37325" anchor="ctr" anchorCtr="0">
            <a:noAutofit/>
          </a:bodyPr>
          <a:lstStyle/>
          <a:p>
            <a:pPr marL="0" marR="0" lvl="0" indent="0" algn="ctr" rtl="0">
              <a:lnSpc>
                <a:spcPct val="90000"/>
              </a:lnSpc>
              <a:spcBef>
                <a:spcPts val="0"/>
              </a:spcBef>
              <a:spcAft>
                <a:spcPts val="0"/>
              </a:spcAft>
              <a:buClr>
                <a:srgbClr val="000000"/>
              </a:buClr>
              <a:buSzPts val="1600"/>
              <a:buFont typeface="Arial"/>
              <a:buNone/>
            </a:pPr>
            <a:endParaRPr sz="1600" b="1" i="0" u="none" strike="noStrike" cap="none">
              <a:solidFill>
                <a:schemeClr val="lt1"/>
              </a:solidFill>
              <a:latin typeface="Calibri"/>
              <a:ea typeface="Calibri"/>
              <a:cs typeface="Calibri"/>
              <a:sym typeface="Calibri"/>
            </a:endParaRPr>
          </a:p>
        </p:txBody>
      </p:sp>
      <p:sp>
        <p:nvSpPr>
          <p:cNvPr id="1457" name="Google Shape;1457;p10"/>
          <p:cNvSpPr txBox="1">
            <a:spLocks noGrp="1"/>
          </p:cNvSpPr>
          <p:nvPr>
            <p:ph type="title"/>
          </p:nvPr>
        </p:nvSpPr>
        <p:spPr>
          <a:xfrm>
            <a:off x="539400"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Our approach to helping you</a:t>
            </a:r>
            <a:endParaRPr/>
          </a:p>
        </p:txBody>
      </p:sp>
      <p:sp>
        <p:nvSpPr>
          <p:cNvPr id="1458" name="Google Shape;1458;p10"/>
          <p:cNvSpPr txBox="1"/>
          <p:nvPr/>
        </p:nvSpPr>
        <p:spPr>
          <a:xfrm>
            <a:off x="454519" y="2988731"/>
            <a:ext cx="1448398" cy="3164456"/>
          </a:xfrm>
          <a:prstGeom prst="rect">
            <a:avLst/>
          </a:prstGeom>
          <a:noFill/>
          <a:ln>
            <a:noFill/>
          </a:ln>
        </p:spPr>
        <p:txBody>
          <a:bodyPr spcFirstLastPara="1" wrap="square" lIns="0" tIns="0" rIns="0" bIns="0" anchor="t" anchorCtr="0">
            <a:spAutoFit/>
          </a:bodyPr>
          <a:lstStyle/>
          <a:p>
            <a:pPr marL="0" marR="0" lvl="1" indent="0" algn="l" rtl="0">
              <a:lnSpc>
                <a:spcPct val="80000"/>
              </a:lnSpc>
              <a:spcBef>
                <a:spcPts val="0"/>
              </a:spcBef>
              <a:spcAft>
                <a:spcPts val="0"/>
              </a:spcAft>
              <a:buClr>
                <a:schemeClr val="dk2"/>
              </a:buClr>
              <a:buSzPts val="1260"/>
              <a:buFont typeface="Noto Sans Symbols"/>
              <a:buNone/>
            </a:pPr>
            <a:r>
              <a:rPr lang="en-US" sz="1400" b="1" i="0" u="none" strike="noStrike" cap="none" dirty="0">
                <a:solidFill>
                  <a:schemeClr val="dk2"/>
                </a:solidFill>
                <a:latin typeface="Calibri"/>
                <a:ea typeface="Calibri"/>
                <a:cs typeface="Calibri"/>
                <a:sym typeface="Calibri"/>
              </a:rPr>
              <a:t>Understanding client needs and objective</a:t>
            </a:r>
            <a:endParaRPr sz="1400" b="0" i="0" u="none" strike="noStrike" cap="none" dirty="0">
              <a:solidFill>
                <a:srgbClr val="000000"/>
              </a:solidFill>
              <a:latin typeface="Arial"/>
              <a:ea typeface="Arial"/>
              <a:cs typeface="Arial"/>
              <a:sym typeface="Arial"/>
            </a:endParaRPr>
          </a:p>
          <a:p>
            <a:pPr marR="0" lvl="1" algn="l" rtl="0">
              <a:lnSpc>
                <a:spcPct val="90000"/>
              </a:lnSpc>
              <a:spcBef>
                <a:spcPts val="500"/>
              </a:spcBef>
              <a:spcAft>
                <a:spcPts val="0"/>
              </a:spcAft>
              <a:buClr>
                <a:schemeClr val="dk2"/>
              </a:buClr>
              <a:buSzPts val="1080"/>
            </a:pPr>
            <a:r>
              <a:rPr lang="en-US" sz="1200" b="0" i="0" u="none" strike="noStrike" cap="none" dirty="0">
                <a:solidFill>
                  <a:schemeClr val="dk1"/>
                </a:solidFill>
                <a:latin typeface="Calibri"/>
                <a:ea typeface="Calibri"/>
                <a:cs typeface="Calibri"/>
                <a:sym typeface="Calibri"/>
              </a:rPr>
              <a:t>Get a deep understanding of the client objectives: </a:t>
            </a:r>
          </a:p>
          <a:p>
            <a:pPr marL="176213" marR="0" lvl="1" indent="-176213" algn="l" rtl="0">
              <a:lnSpc>
                <a:spcPct val="90000"/>
              </a:lnSpc>
              <a:spcBef>
                <a:spcPts val="500"/>
              </a:spcBef>
              <a:spcAft>
                <a:spcPts val="0"/>
              </a:spcAft>
              <a:buClr>
                <a:schemeClr val="dk2"/>
              </a:buClr>
              <a:buSzPts val="1080"/>
              <a:buFont typeface="Noto Sans Symbols"/>
              <a:buChar char="▪"/>
            </a:pPr>
            <a:r>
              <a:rPr lang="en-US" sz="1200" b="0" i="0" u="none" strike="noStrike" cap="none" dirty="0">
                <a:solidFill>
                  <a:schemeClr val="dk1"/>
                </a:solidFill>
                <a:latin typeface="Calibri"/>
                <a:ea typeface="Calibri"/>
                <a:cs typeface="Calibri"/>
                <a:sym typeface="Calibri"/>
              </a:rPr>
              <a:t>Type of analytics support considered</a:t>
            </a:r>
          </a:p>
          <a:p>
            <a:pPr marL="176213" marR="0" lvl="1" indent="-176213" algn="l" rtl="0">
              <a:lnSpc>
                <a:spcPct val="90000"/>
              </a:lnSpc>
              <a:spcBef>
                <a:spcPts val="500"/>
              </a:spcBef>
              <a:spcAft>
                <a:spcPts val="0"/>
              </a:spcAft>
              <a:buClr>
                <a:schemeClr val="dk2"/>
              </a:buClr>
              <a:buSzPts val="1080"/>
              <a:buFont typeface="Noto Sans Symbols"/>
              <a:buChar char="▪"/>
            </a:pPr>
            <a:r>
              <a:rPr lang="en-US" sz="1200" b="0" i="0" u="none" strike="noStrike" cap="none" dirty="0">
                <a:solidFill>
                  <a:schemeClr val="dk1"/>
                </a:solidFill>
                <a:latin typeface="Calibri"/>
                <a:ea typeface="Calibri"/>
                <a:cs typeface="Calibri"/>
                <a:sym typeface="Calibri"/>
              </a:rPr>
              <a:t>Business questions to answer</a:t>
            </a:r>
          </a:p>
          <a:p>
            <a:pPr marL="176213" marR="0" lvl="1" indent="-176213" algn="l" rtl="0">
              <a:lnSpc>
                <a:spcPct val="90000"/>
              </a:lnSpc>
              <a:spcBef>
                <a:spcPts val="500"/>
              </a:spcBef>
              <a:spcAft>
                <a:spcPts val="0"/>
              </a:spcAft>
              <a:buClr>
                <a:schemeClr val="dk2"/>
              </a:buClr>
              <a:buSzPts val="1080"/>
              <a:buFont typeface="Noto Sans Symbols"/>
              <a:buChar char="▪"/>
            </a:pPr>
            <a:r>
              <a:rPr lang="en-US" sz="1200" dirty="0">
                <a:solidFill>
                  <a:schemeClr val="dk1"/>
                </a:solidFill>
                <a:latin typeface="Calibri"/>
                <a:ea typeface="Calibri"/>
                <a:cs typeface="Calibri"/>
                <a:sym typeface="Calibri"/>
              </a:rPr>
              <a:t>Assess a</a:t>
            </a:r>
            <a:r>
              <a:rPr lang="en-US" sz="1200" b="0" i="0" u="none" strike="noStrike" cap="none" dirty="0">
                <a:solidFill>
                  <a:schemeClr val="dk1"/>
                </a:solidFill>
                <a:latin typeface="Calibri"/>
                <a:ea typeface="Calibri"/>
                <a:cs typeface="Calibri"/>
                <a:sym typeface="Calibri"/>
              </a:rPr>
              <a:t>vailable </a:t>
            </a:r>
            <a:r>
              <a:rPr lang="en-US" sz="1200" dirty="0">
                <a:solidFill>
                  <a:schemeClr val="dk1"/>
                </a:solidFill>
                <a:latin typeface="Calibri"/>
                <a:ea typeface="Calibri"/>
                <a:cs typeface="Calibri"/>
                <a:sym typeface="Calibri"/>
              </a:rPr>
              <a:t>d</a:t>
            </a:r>
            <a:r>
              <a:rPr lang="en-US" sz="1200" b="0" i="0" u="none" strike="noStrike" cap="none" dirty="0">
                <a:solidFill>
                  <a:schemeClr val="dk1"/>
                </a:solidFill>
                <a:latin typeface="Calibri"/>
                <a:ea typeface="Calibri"/>
                <a:cs typeface="Calibri"/>
                <a:sym typeface="Calibri"/>
              </a:rPr>
              <a:t>ata, data needs if any, critical data elements to take care of</a:t>
            </a:r>
          </a:p>
          <a:p>
            <a:pPr marL="176213" marR="0" lvl="1" indent="-176213" algn="l" rtl="0">
              <a:lnSpc>
                <a:spcPct val="90000"/>
              </a:lnSpc>
              <a:spcBef>
                <a:spcPts val="500"/>
              </a:spcBef>
              <a:spcAft>
                <a:spcPts val="0"/>
              </a:spcAft>
              <a:buClr>
                <a:schemeClr val="dk2"/>
              </a:buClr>
              <a:buSzPts val="1080"/>
              <a:buFont typeface="Noto Sans Symbols"/>
              <a:buChar char="▪"/>
            </a:pPr>
            <a:r>
              <a:rPr lang="en-US" sz="1200" dirty="0">
                <a:solidFill>
                  <a:schemeClr val="dk1"/>
                </a:solidFill>
                <a:latin typeface="Calibri"/>
                <a:ea typeface="Calibri"/>
                <a:cs typeface="Calibri"/>
                <a:sym typeface="Calibri"/>
              </a:rPr>
              <a:t>P</a:t>
            </a:r>
            <a:r>
              <a:rPr lang="en-US" sz="1200" b="0" i="0" u="none" strike="noStrike" cap="none" dirty="0">
                <a:solidFill>
                  <a:schemeClr val="dk1"/>
                </a:solidFill>
                <a:latin typeface="Calibri"/>
                <a:ea typeface="Calibri"/>
                <a:cs typeface="Calibri"/>
                <a:sym typeface="Calibri"/>
              </a:rPr>
              <a:t>lanned use of the analytics outputs</a:t>
            </a:r>
            <a:endParaRPr sz="1400" b="0" i="0" u="none" strike="noStrike" cap="none" dirty="0">
              <a:solidFill>
                <a:srgbClr val="000000"/>
              </a:solidFill>
              <a:latin typeface="Arial"/>
              <a:ea typeface="Arial"/>
              <a:cs typeface="Arial"/>
              <a:sym typeface="Arial"/>
            </a:endParaRPr>
          </a:p>
        </p:txBody>
      </p:sp>
      <p:sp>
        <p:nvSpPr>
          <p:cNvPr id="1459" name="Google Shape;1459;p10"/>
          <p:cNvSpPr txBox="1"/>
          <p:nvPr/>
        </p:nvSpPr>
        <p:spPr>
          <a:xfrm>
            <a:off x="2037993" y="2988731"/>
            <a:ext cx="1260000" cy="2365263"/>
          </a:xfrm>
          <a:prstGeom prst="rect">
            <a:avLst/>
          </a:prstGeom>
          <a:noFill/>
          <a:ln>
            <a:noFill/>
          </a:ln>
        </p:spPr>
        <p:txBody>
          <a:bodyPr spcFirstLastPara="1" wrap="square" lIns="0" tIns="0" rIns="0" bIns="0" anchor="t" anchorCtr="0">
            <a:spAutoFit/>
          </a:bodyPr>
          <a:lstStyle/>
          <a:p>
            <a:pPr marL="0" marR="0" lvl="1" indent="0" algn="l" rtl="0">
              <a:lnSpc>
                <a:spcPct val="80000"/>
              </a:lnSpc>
              <a:spcBef>
                <a:spcPts val="0"/>
              </a:spcBef>
              <a:spcAft>
                <a:spcPts val="0"/>
              </a:spcAft>
              <a:buClr>
                <a:schemeClr val="dk2"/>
              </a:buClr>
              <a:buSzPts val="1260"/>
              <a:buFont typeface="Noto Sans Symbols"/>
              <a:buNone/>
            </a:pPr>
            <a:r>
              <a:rPr lang="en-US" sz="1400" b="1" i="0" u="none" strike="noStrike" cap="none" dirty="0">
                <a:solidFill>
                  <a:schemeClr val="dk2"/>
                </a:solidFill>
                <a:latin typeface="Calibri"/>
                <a:ea typeface="Calibri"/>
                <a:cs typeface="Calibri"/>
                <a:sym typeface="Calibri"/>
              </a:rPr>
              <a:t>Structuring approach</a:t>
            </a:r>
            <a:endParaRPr sz="1400" b="0" i="0" u="none" strike="noStrike" cap="none" dirty="0">
              <a:solidFill>
                <a:srgbClr val="000000"/>
              </a:solidFill>
              <a:latin typeface="Arial"/>
              <a:ea typeface="Arial"/>
              <a:cs typeface="Arial"/>
              <a:sym typeface="Arial"/>
            </a:endParaRPr>
          </a:p>
          <a:p>
            <a:pPr marL="176213" marR="0" lvl="1" indent="-176213" rtl="0">
              <a:lnSpc>
                <a:spcPct val="90000"/>
              </a:lnSpc>
              <a:spcBef>
                <a:spcPts val="500"/>
              </a:spcBef>
              <a:spcAft>
                <a:spcPts val="0"/>
              </a:spcAft>
              <a:buClr>
                <a:schemeClr val="dk2"/>
              </a:buClr>
              <a:buSzPts val="1080"/>
              <a:buFont typeface="Noto Sans Symbols"/>
              <a:buChar char="▪"/>
            </a:pPr>
            <a:r>
              <a:rPr lang="en-US" sz="1200" b="0" i="0" u="none" strike="noStrike" cap="none" dirty="0">
                <a:solidFill>
                  <a:schemeClr val="dk1"/>
                </a:solidFill>
                <a:latin typeface="Calibri"/>
                <a:ea typeface="Calibri"/>
                <a:cs typeface="Calibri"/>
                <a:sym typeface="Calibri"/>
              </a:rPr>
              <a:t>Define the best data analytics strategy to answer the client’s business objective</a:t>
            </a:r>
            <a:endParaRPr sz="1400" b="0" i="0" u="none" strike="noStrike" cap="none" dirty="0">
              <a:solidFill>
                <a:srgbClr val="000000"/>
              </a:solidFill>
              <a:latin typeface="Arial"/>
              <a:ea typeface="Arial"/>
              <a:cs typeface="Arial"/>
              <a:sym typeface="Arial"/>
            </a:endParaRPr>
          </a:p>
          <a:p>
            <a:pPr marL="176213" marR="0" lvl="1" indent="-176213" rtl="0">
              <a:lnSpc>
                <a:spcPct val="90000"/>
              </a:lnSpc>
              <a:spcBef>
                <a:spcPts val="500"/>
              </a:spcBef>
              <a:spcAft>
                <a:spcPts val="0"/>
              </a:spcAft>
              <a:buClr>
                <a:schemeClr val="dk2"/>
              </a:buClr>
              <a:buSzPts val="1080"/>
              <a:buFont typeface="Noto Sans Symbols"/>
              <a:buChar char="▪"/>
            </a:pPr>
            <a:r>
              <a:rPr lang="en-US" sz="1200" b="0" i="0" u="none" strike="noStrike" cap="none" dirty="0">
                <a:solidFill>
                  <a:schemeClr val="dk1"/>
                </a:solidFill>
                <a:latin typeface="Calibri"/>
                <a:ea typeface="Calibri"/>
                <a:cs typeface="Calibri"/>
                <a:sym typeface="Calibri"/>
              </a:rPr>
              <a:t>Estimate the time needed</a:t>
            </a:r>
            <a:endParaRPr sz="1400" b="0" i="0" u="none" strike="noStrike" cap="none" dirty="0">
              <a:solidFill>
                <a:srgbClr val="000000"/>
              </a:solidFill>
              <a:latin typeface="Arial"/>
              <a:ea typeface="Arial"/>
              <a:cs typeface="Arial"/>
              <a:sym typeface="Arial"/>
            </a:endParaRPr>
          </a:p>
          <a:p>
            <a:pPr marL="176213" marR="0" lvl="1" indent="-176213" rtl="0">
              <a:lnSpc>
                <a:spcPct val="90000"/>
              </a:lnSpc>
              <a:spcBef>
                <a:spcPts val="500"/>
              </a:spcBef>
              <a:spcAft>
                <a:spcPts val="0"/>
              </a:spcAft>
              <a:buClr>
                <a:schemeClr val="dk2"/>
              </a:buClr>
              <a:buSzPts val="1080"/>
              <a:buFont typeface="Noto Sans Symbols"/>
              <a:buChar char="▪"/>
            </a:pPr>
            <a:r>
              <a:rPr lang="en-US" sz="1200" b="0" i="0" u="none" strike="noStrike" cap="none" dirty="0">
                <a:solidFill>
                  <a:schemeClr val="dk1"/>
                </a:solidFill>
                <a:latin typeface="Calibri"/>
                <a:ea typeface="Calibri"/>
                <a:cs typeface="Calibri"/>
                <a:sym typeface="Calibri"/>
              </a:rPr>
              <a:t>Define the type of output needed</a:t>
            </a:r>
            <a:endParaRPr sz="1400" b="0" i="0" u="none" strike="noStrike" cap="none" dirty="0">
              <a:solidFill>
                <a:srgbClr val="000000"/>
              </a:solidFill>
              <a:latin typeface="Arial"/>
              <a:ea typeface="Arial"/>
              <a:cs typeface="Arial"/>
              <a:sym typeface="Arial"/>
            </a:endParaRPr>
          </a:p>
        </p:txBody>
      </p:sp>
      <p:sp>
        <p:nvSpPr>
          <p:cNvPr id="1460" name="Google Shape;1460;p10"/>
          <p:cNvSpPr txBox="1"/>
          <p:nvPr/>
        </p:nvSpPr>
        <p:spPr>
          <a:xfrm>
            <a:off x="3663377" y="3005431"/>
            <a:ext cx="1896405" cy="3730765"/>
          </a:xfrm>
          <a:prstGeom prst="rect">
            <a:avLst/>
          </a:prstGeom>
          <a:noFill/>
          <a:ln>
            <a:noFill/>
          </a:ln>
        </p:spPr>
        <p:txBody>
          <a:bodyPr spcFirstLastPara="1" wrap="square" lIns="0" tIns="0" rIns="0" bIns="0" anchor="t" anchorCtr="0">
            <a:spAutoFit/>
          </a:bodyPr>
          <a:lstStyle/>
          <a:p>
            <a:pPr marL="0" marR="0" lvl="1" indent="0" algn="l" rtl="0">
              <a:lnSpc>
                <a:spcPct val="80000"/>
              </a:lnSpc>
              <a:spcBef>
                <a:spcPts val="0"/>
              </a:spcBef>
              <a:spcAft>
                <a:spcPts val="0"/>
              </a:spcAft>
              <a:buClr>
                <a:schemeClr val="dk2"/>
              </a:buClr>
              <a:buSzPts val="1260"/>
              <a:buFont typeface="Noto Sans Symbols"/>
              <a:buNone/>
            </a:pPr>
            <a:r>
              <a:rPr lang="en-US" sz="1400" b="1" i="0" u="none" strike="noStrike" cap="none" dirty="0">
                <a:solidFill>
                  <a:schemeClr val="dk2"/>
                </a:solidFill>
                <a:latin typeface="Calibri"/>
                <a:ea typeface="Calibri"/>
                <a:cs typeface="Calibri"/>
                <a:sym typeface="Calibri"/>
              </a:rPr>
              <a:t>Executing Analytics</a:t>
            </a:r>
            <a:endParaRPr sz="1400" b="0" i="0" u="none" strike="noStrike" cap="none" dirty="0">
              <a:solidFill>
                <a:srgbClr val="000000"/>
              </a:solidFill>
              <a:latin typeface="Arial"/>
              <a:ea typeface="Arial"/>
              <a:cs typeface="Arial"/>
              <a:sym typeface="Arial"/>
            </a:endParaRPr>
          </a:p>
          <a:p>
            <a:pPr marL="0" marR="0" lvl="0" indent="0" algn="l" rtl="0">
              <a:lnSpc>
                <a:spcPct val="90000"/>
              </a:lnSpc>
              <a:spcBef>
                <a:spcPts val="500"/>
              </a:spcBef>
              <a:spcAft>
                <a:spcPts val="0"/>
              </a:spcAft>
              <a:buClr>
                <a:schemeClr val="dk1"/>
              </a:buClr>
              <a:buSzPts val="1200"/>
              <a:buFont typeface="Arial"/>
              <a:buNone/>
            </a:pPr>
            <a:r>
              <a:rPr lang="en-US" sz="1200" b="0" i="0" u="none" strike="noStrike" cap="none" dirty="0">
                <a:solidFill>
                  <a:schemeClr val="dk1"/>
                </a:solidFill>
                <a:latin typeface="Calibri"/>
                <a:ea typeface="Calibri"/>
                <a:cs typeface="Calibri"/>
                <a:sym typeface="Calibri"/>
              </a:rPr>
              <a:t>Leveraging a full range of analytics capabilities</a:t>
            </a:r>
            <a:endParaRPr sz="1400" b="0" i="0" u="none" strike="noStrike" cap="none" dirty="0">
              <a:solidFill>
                <a:srgbClr val="000000"/>
              </a:solidFill>
              <a:latin typeface="Arial"/>
              <a:ea typeface="Arial"/>
              <a:cs typeface="Arial"/>
              <a:sym typeface="Arial"/>
            </a:endParaRPr>
          </a:p>
          <a:p>
            <a:pPr marL="128588" marR="0" lvl="1" indent="-128588" algn="l" rtl="0">
              <a:lnSpc>
                <a:spcPct val="90000"/>
              </a:lnSpc>
              <a:spcBef>
                <a:spcPts val="500"/>
              </a:spcBef>
              <a:spcAft>
                <a:spcPts val="0"/>
              </a:spcAft>
              <a:buClr>
                <a:schemeClr val="dk2"/>
              </a:buClr>
              <a:buSzPts val="1080"/>
              <a:buFont typeface="Noto Sans Symbols"/>
              <a:buChar char="▪"/>
            </a:pPr>
            <a:endParaRPr lang="en-US" sz="1200" b="1" i="0" u="none" strike="noStrike" cap="none" dirty="0">
              <a:solidFill>
                <a:srgbClr val="222222"/>
              </a:solidFill>
              <a:latin typeface="Calibri"/>
              <a:ea typeface="Calibri"/>
              <a:cs typeface="Calibri"/>
              <a:sym typeface="Calibri"/>
            </a:endParaRPr>
          </a:p>
          <a:p>
            <a:pPr marR="0" lvl="1" algn="l" rtl="0">
              <a:lnSpc>
                <a:spcPct val="90000"/>
              </a:lnSpc>
              <a:spcBef>
                <a:spcPts val="500"/>
              </a:spcBef>
              <a:spcAft>
                <a:spcPts val="0"/>
              </a:spcAft>
              <a:buClr>
                <a:schemeClr val="dk2"/>
              </a:buClr>
              <a:buSzPts val="1080"/>
            </a:pPr>
            <a:r>
              <a:rPr lang="en-US" sz="1200" b="1" i="0" u="none" strike="noStrike" cap="none" dirty="0">
                <a:solidFill>
                  <a:srgbClr val="222222"/>
                </a:solidFill>
                <a:latin typeface="Calibri"/>
                <a:ea typeface="Calibri"/>
                <a:cs typeface="Calibri"/>
                <a:sym typeface="Calibri"/>
              </a:rPr>
              <a:t>Data Preparation</a:t>
            </a:r>
            <a:endParaRPr sz="1400" b="0" i="0" u="none" strike="noStrike" cap="none" dirty="0">
              <a:solidFill>
                <a:srgbClr val="000000"/>
              </a:solidFill>
              <a:latin typeface="Arial"/>
              <a:ea typeface="Arial"/>
              <a:cs typeface="Arial"/>
              <a:sym typeface="Arial"/>
            </a:endParaRPr>
          </a:p>
          <a:p>
            <a:pPr marL="176213" lvl="1" indent="-176213">
              <a:lnSpc>
                <a:spcPct val="90000"/>
              </a:lnSpc>
              <a:spcBef>
                <a:spcPts val="500"/>
              </a:spcBef>
              <a:buClr>
                <a:schemeClr val="dk2"/>
              </a:buClr>
              <a:buSzPts val="1080"/>
              <a:buFont typeface="Noto Sans Symbols"/>
              <a:buChar char="▪"/>
            </a:pPr>
            <a:r>
              <a:rPr lang="en-US" sz="1200" dirty="0">
                <a:solidFill>
                  <a:schemeClr val="dk1"/>
                </a:solidFill>
                <a:latin typeface="Calibri"/>
                <a:ea typeface="Calibri"/>
                <a:cs typeface="Calibri"/>
                <a:sym typeface="Calibri"/>
              </a:rPr>
              <a:t>Identifying Data Sources</a:t>
            </a:r>
          </a:p>
          <a:p>
            <a:pPr marL="176213" lvl="1" indent="-176213">
              <a:lnSpc>
                <a:spcPct val="90000"/>
              </a:lnSpc>
              <a:spcBef>
                <a:spcPts val="500"/>
              </a:spcBef>
              <a:buClr>
                <a:schemeClr val="dk2"/>
              </a:buClr>
              <a:buSzPts val="1080"/>
              <a:buFont typeface="Noto Sans Symbols"/>
              <a:buChar char="▪"/>
            </a:pPr>
            <a:r>
              <a:rPr lang="en-US" sz="1200" dirty="0">
                <a:solidFill>
                  <a:schemeClr val="dk1"/>
                </a:solidFill>
                <a:latin typeface="Calibri"/>
                <a:ea typeface="Calibri"/>
                <a:cs typeface="Calibri"/>
                <a:sym typeface="Calibri"/>
              </a:rPr>
              <a:t>Extracting &amp; Transferring Data</a:t>
            </a:r>
          </a:p>
          <a:p>
            <a:pPr marL="176213" lvl="1" indent="-176213">
              <a:lnSpc>
                <a:spcPct val="90000"/>
              </a:lnSpc>
              <a:spcBef>
                <a:spcPts val="500"/>
              </a:spcBef>
              <a:buClr>
                <a:schemeClr val="dk2"/>
              </a:buClr>
              <a:buSzPts val="1080"/>
              <a:buFont typeface="Noto Sans Symbols"/>
              <a:buChar char="▪"/>
            </a:pPr>
            <a:r>
              <a:rPr lang="en-US" sz="1200" dirty="0">
                <a:solidFill>
                  <a:schemeClr val="dk1"/>
                </a:solidFill>
                <a:latin typeface="Calibri"/>
                <a:ea typeface="Calibri"/>
                <a:cs typeface="Calibri"/>
                <a:sym typeface="Calibri"/>
              </a:rPr>
              <a:t>Metadata &amp; Dictionaries</a:t>
            </a:r>
          </a:p>
          <a:p>
            <a:pPr marL="176213" lvl="1" indent="-176213">
              <a:lnSpc>
                <a:spcPct val="90000"/>
              </a:lnSpc>
              <a:spcBef>
                <a:spcPts val="500"/>
              </a:spcBef>
              <a:buClr>
                <a:schemeClr val="dk2"/>
              </a:buClr>
              <a:buSzPts val="1080"/>
              <a:buFont typeface="Noto Sans Symbols"/>
              <a:buChar char="▪"/>
            </a:pPr>
            <a:r>
              <a:rPr lang="en-US" sz="1200" dirty="0">
                <a:solidFill>
                  <a:schemeClr val="dk1"/>
                </a:solidFill>
                <a:latin typeface="Calibri"/>
                <a:ea typeface="Calibri"/>
                <a:cs typeface="Calibri"/>
                <a:sym typeface="Calibri"/>
              </a:rPr>
              <a:t>Merging of various data sources &amp; adding new data</a:t>
            </a:r>
          </a:p>
          <a:p>
            <a:pPr marL="176213" lvl="1" indent="-176213">
              <a:lnSpc>
                <a:spcPct val="90000"/>
              </a:lnSpc>
              <a:spcBef>
                <a:spcPts val="500"/>
              </a:spcBef>
              <a:buClr>
                <a:schemeClr val="dk2"/>
              </a:buClr>
              <a:buSzPts val="1080"/>
              <a:buFont typeface="Noto Sans Symbols"/>
              <a:buChar char="▪"/>
            </a:pPr>
            <a:r>
              <a:rPr lang="en-US" sz="1200" dirty="0">
                <a:solidFill>
                  <a:schemeClr val="dk1"/>
                </a:solidFill>
                <a:latin typeface="Calibri"/>
                <a:ea typeface="Calibri"/>
                <a:cs typeface="Calibri"/>
                <a:sym typeface="Calibri"/>
              </a:rPr>
              <a:t>Assessing Data Quality</a:t>
            </a:r>
          </a:p>
          <a:p>
            <a:pPr marL="176213" lvl="1" indent="-176213">
              <a:lnSpc>
                <a:spcPct val="90000"/>
              </a:lnSpc>
              <a:spcBef>
                <a:spcPts val="500"/>
              </a:spcBef>
              <a:buClr>
                <a:schemeClr val="dk2"/>
              </a:buClr>
              <a:buSzPts val="1080"/>
              <a:buFont typeface="Noto Sans Symbols"/>
              <a:buChar char="▪"/>
            </a:pPr>
            <a:r>
              <a:rPr lang="en-US" sz="1200" dirty="0">
                <a:solidFill>
                  <a:schemeClr val="dk1"/>
                </a:solidFill>
                <a:latin typeface="Calibri"/>
                <a:ea typeface="Calibri"/>
                <a:cs typeface="Calibri"/>
                <a:sym typeface="Calibri"/>
              </a:rPr>
              <a:t>Handling Outliers</a:t>
            </a:r>
          </a:p>
          <a:p>
            <a:pPr marL="176213" lvl="1" indent="-176213">
              <a:lnSpc>
                <a:spcPct val="90000"/>
              </a:lnSpc>
              <a:spcBef>
                <a:spcPts val="500"/>
              </a:spcBef>
              <a:buClr>
                <a:schemeClr val="dk2"/>
              </a:buClr>
              <a:buSzPts val="1080"/>
              <a:buFont typeface="Noto Sans Symbols"/>
              <a:buChar char="▪"/>
            </a:pPr>
            <a:r>
              <a:rPr lang="en-US" sz="1200" dirty="0">
                <a:solidFill>
                  <a:schemeClr val="dk1"/>
                </a:solidFill>
                <a:latin typeface="Calibri"/>
                <a:ea typeface="Calibri"/>
                <a:cs typeface="Calibri"/>
                <a:sym typeface="Calibri"/>
              </a:rPr>
              <a:t>Restructuring Data for analysis</a:t>
            </a:r>
          </a:p>
          <a:p>
            <a:pPr marL="176213" lvl="1" indent="-176213">
              <a:lnSpc>
                <a:spcPct val="90000"/>
              </a:lnSpc>
              <a:spcBef>
                <a:spcPts val="500"/>
              </a:spcBef>
              <a:buClr>
                <a:schemeClr val="dk2"/>
              </a:buClr>
              <a:buSzPts val="1080"/>
              <a:buFont typeface="Noto Sans Symbols"/>
              <a:buChar char="▪"/>
            </a:pPr>
            <a:r>
              <a:rPr lang="en-US" sz="1200" dirty="0">
                <a:solidFill>
                  <a:schemeClr val="dk1"/>
                </a:solidFill>
                <a:latin typeface="Calibri"/>
                <a:ea typeface="Calibri"/>
                <a:cs typeface="Calibri"/>
                <a:sym typeface="Calibri"/>
              </a:rPr>
              <a:t>Making features extractions   </a:t>
            </a:r>
            <a:endParaRPr sz="1200" dirty="0">
              <a:solidFill>
                <a:schemeClr val="dk1"/>
              </a:solidFill>
              <a:latin typeface="Calibri"/>
              <a:ea typeface="Calibri"/>
              <a:cs typeface="Calibri"/>
            </a:endParaRPr>
          </a:p>
          <a:p>
            <a:pPr marL="268288" marR="0" lvl="2" indent="-134938" algn="l" rtl="0">
              <a:lnSpc>
                <a:spcPct val="90000"/>
              </a:lnSpc>
              <a:spcBef>
                <a:spcPts val="0"/>
              </a:spcBef>
              <a:spcAft>
                <a:spcPts val="0"/>
              </a:spcAft>
              <a:buClr>
                <a:schemeClr val="dk2"/>
              </a:buClr>
              <a:buSzPts val="1200"/>
              <a:buFont typeface="Calibri"/>
              <a:buChar char="−"/>
            </a:pPr>
            <a:endParaRPr sz="1400" b="0" i="0" u="none" strike="noStrike" cap="none" dirty="0">
              <a:solidFill>
                <a:srgbClr val="000000"/>
              </a:solidFill>
              <a:latin typeface="Arial"/>
              <a:ea typeface="Arial"/>
              <a:cs typeface="Arial"/>
              <a:sym typeface="Arial"/>
            </a:endParaRPr>
          </a:p>
        </p:txBody>
      </p:sp>
      <p:sp>
        <p:nvSpPr>
          <p:cNvPr id="1461" name="Google Shape;1461;p10"/>
          <p:cNvSpPr txBox="1"/>
          <p:nvPr/>
        </p:nvSpPr>
        <p:spPr>
          <a:xfrm>
            <a:off x="9289607" y="3025762"/>
            <a:ext cx="1121238" cy="2392963"/>
          </a:xfrm>
          <a:prstGeom prst="rect">
            <a:avLst/>
          </a:prstGeom>
          <a:noFill/>
          <a:ln>
            <a:noFill/>
          </a:ln>
        </p:spPr>
        <p:txBody>
          <a:bodyPr spcFirstLastPara="1" wrap="square" lIns="0" tIns="0" rIns="0" bIns="0" anchor="t" anchorCtr="0">
            <a:spAutoFit/>
          </a:bodyPr>
          <a:lstStyle/>
          <a:p>
            <a:pPr marL="0" marR="0" lvl="1" indent="0" algn="l" rtl="0">
              <a:lnSpc>
                <a:spcPct val="80000"/>
              </a:lnSpc>
              <a:spcBef>
                <a:spcPts val="0"/>
              </a:spcBef>
              <a:spcAft>
                <a:spcPts val="0"/>
              </a:spcAft>
              <a:buClr>
                <a:schemeClr val="dk2"/>
              </a:buClr>
              <a:buSzPts val="1260"/>
              <a:buFont typeface="Noto Sans Symbols"/>
              <a:buNone/>
            </a:pPr>
            <a:r>
              <a:rPr lang="en-US" sz="1400" b="1" i="0" u="none" strike="noStrike" cap="none" dirty="0">
                <a:solidFill>
                  <a:schemeClr val="dk2"/>
                </a:solidFill>
                <a:latin typeface="Calibri"/>
                <a:ea typeface="Calibri"/>
                <a:cs typeface="Calibri"/>
                <a:sym typeface="Calibri"/>
              </a:rPr>
              <a:t>Deriving</a:t>
            </a:r>
            <a:br>
              <a:rPr lang="en-US" sz="1400" b="1" i="0" u="none" strike="noStrike" cap="none" dirty="0">
                <a:solidFill>
                  <a:schemeClr val="dk2"/>
                </a:solidFill>
                <a:latin typeface="Calibri"/>
                <a:ea typeface="Calibri"/>
                <a:cs typeface="Calibri"/>
                <a:sym typeface="Calibri"/>
              </a:rPr>
            </a:br>
            <a:r>
              <a:rPr lang="en-US" sz="1400" b="1" i="0" u="none" strike="noStrike" cap="none" dirty="0">
                <a:solidFill>
                  <a:schemeClr val="dk2"/>
                </a:solidFill>
                <a:latin typeface="Calibri"/>
                <a:ea typeface="Calibri"/>
                <a:cs typeface="Calibri"/>
                <a:sym typeface="Calibri"/>
              </a:rPr>
              <a:t>insights</a:t>
            </a:r>
            <a:endParaRPr sz="1400" b="0" i="0" u="none" strike="noStrike" cap="none" dirty="0">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080"/>
              <a:buFont typeface="Noto Sans Symbols"/>
              <a:buChar char="▪"/>
            </a:pPr>
            <a:r>
              <a:rPr lang="en-US" sz="1200" b="0" i="0" u="none" strike="noStrike" cap="none" dirty="0">
                <a:solidFill>
                  <a:schemeClr val="dk1"/>
                </a:solidFill>
                <a:latin typeface="Calibri"/>
                <a:ea typeface="Calibri"/>
                <a:cs typeface="Calibri"/>
                <a:sym typeface="Calibri"/>
              </a:rPr>
              <a:t>Performing</a:t>
            </a:r>
            <a:br>
              <a:rPr lang="en-US" sz="1200" b="0" i="0" u="none" strike="noStrike" cap="none" dirty="0">
                <a:solidFill>
                  <a:schemeClr val="dk1"/>
                </a:solidFill>
                <a:latin typeface="Calibri"/>
                <a:ea typeface="Calibri"/>
                <a:cs typeface="Calibri"/>
                <a:sym typeface="Calibri"/>
              </a:rPr>
            </a:br>
            <a:r>
              <a:rPr lang="en-US" sz="1200" b="0" i="0" u="none" strike="noStrike" cap="none" dirty="0">
                <a:solidFill>
                  <a:schemeClr val="dk1"/>
                </a:solidFill>
                <a:latin typeface="Calibri"/>
                <a:ea typeface="Calibri"/>
                <a:cs typeface="Calibri"/>
                <a:sym typeface="Calibri"/>
              </a:rPr>
              <a:t>in-depth quality assurance</a:t>
            </a:r>
            <a:endParaRPr lang="en-US" sz="1200" dirty="0">
              <a:solidFill>
                <a:schemeClr val="dk1"/>
              </a:solidFill>
              <a:latin typeface="Calibri"/>
              <a:ea typeface="Calibri"/>
              <a:cs typeface="Calibri"/>
              <a:sym typeface="Calibri"/>
            </a:endParaRPr>
          </a:p>
          <a:p>
            <a:pPr marL="176213" marR="0" lvl="1" indent="-176213" algn="l" rtl="0">
              <a:lnSpc>
                <a:spcPct val="90000"/>
              </a:lnSpc>
              <a:spcBef>
                <a:spcPts val="500"/>
              </a:spcBef>
              <a:spcAft>
                <a:spcPts val="0"/>
              </a:spcAft>
              <a:buClr>
                <a:schemeClr val="dk2"/>
              </a:buClr>
              <a:buSzPts val="1080"/>
              <a:buFont typeface="Noto Sans Symbols"/>
              <a:buChar char="▪"/>
            </a:pPr>
            <a:r>
              <a:rPr lang="en-US" sz="1200" b="0" i="0" u="none" strike="noStrike" cap="none" dirty="0">
                <a:solidFill>
                  <a:schemeClr val="dk1"/>
                </a:solidFill>
                <a:latin typeface="Calibri"/>
                <a:ea typeface="Calibri"/>
                <a:cs typeface="Calibri"/>
                <a:sym typeface="Calibri"/>
              </a:rPr>
              <a:t>Analyzing the data outputs to derive insights in line with the initial client ask</a:t>
            </a:r>
          </a:p>
          <a:p>
            <a:pPr marR="0" lvl="1" algn="l" rtl="0">
              <a:lnSpc>
                <a:spcPct val="90000"/>
              </a:lnSpc>
              <a:spcBef>
                <a:spcPts val="500"/>
              </a:spcBef>
              <a:spcAft>
                <a:spcPts val="0"/>
              </a:spcAft>
              <a:buClr>
                <a:schemeClr val="dk2"/>
              </a:buClr>
              <a:buSzPts val="1080"/>
            </a:pPr>
            <a:endParaRPr sz="1400" b="0" i="0" u="none" strike="noStrike" cap="none" dirty="0">
              <a:solidFill>
                <a:srgbClr val="000000"/>
              </a:solidFill>
              <a:latin typeface="Arial"/>
              <a:ea typeface="Arial"/>
              <a:cs typeface="Arial"/>
              <a:sym typeface="Arial"/>
            </a:endParaRPr>
          </a:p>
        </p:txBody>
      </p:sp>
      <p:sp>
        <p:nvSpPr>
          <p:cNvPr id="1463" name="Google Shape;1463;p10"/>
          <p:cNvSpPr txBox="1"/>
          <p:nvPr/>
        </p:nvSpPr>
        <p:spPr>
          <a:xfrm>
            <a:off x="10516084" y="2988730"/>
            <a:ext cx="1533041" cy="3152145"/>
          </a:xfrm>
          <a:prstGeom prst="rect">
            <a:avLst/>
          </a:prstGeom>
          <a:noFill/>
          <a:ln>
            <a:noFill/>
          </a:ln>
        </p:spPr>
        <p:txBody>
          <a:bodyPr spcFirstLastPara="1" wrap="square" lIns="0" tIns="0" rIns="0" bIns="0" anchor="t" anchorCtr="0">
            <a:spAutoFit/>
          </a:bodyPr>
          <a:lstStyle/>
          <a:p>
            <a:pPr marL="0" marR="0" lvl="1" indent="0" algn="l" rtl="0">
              <a:lnSpc>
                <a:spcPct val="80000"/>
              </a:lnSpc>
              <a:spcBef>
                <a:spcPts val="0"/>
              </a:spcBef>
              <a:spcAft>
                <a:spcPts val="0"/>
              </a:spcAft>
              <a:buClr>
                <a:schemeClr val="dk2"/>
              </a:buClr>
              <a:buSzPts val="1260"/>
              <a:buFont typeface="Noto Sans Symbols"/>
              <a:buNone/>
            </a:pPr>
            <a:r>
              <a:rPr lang="en-US" sz="1400" b="1" i="0" u="none" strike="noStrike" cap="none" dirty="0">
                <a:solidFill>
                  <a:schemeClr val="dk2"/>
                </a:solidFill>
                <a:latin typeface="Calibri"/>
                <a:ea typeface="Calibri"/>
                <a:cs typeface="Calibri"/>
                <a:sym typeface="Calibri"/>
              </a:rPr>
              <a:t>Handover</a:t>
            </a:r>
            <a:endParaRPr sz="1400" b="0" i="0" u="none" strike="noStrike" cap="none" dirty="0">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080"/>
              <a:buFont typeface="Noto Sans Symbols"/>
              <a:buChar char="▪"/>
            </a:pPr>
            <a:r>
              <a:rPr lang="en-US" sz="1200" b="0" i="0" u="none" strike="noStrike" cap="none" dirty="0">
                <a:solidFill>
                  <a:schemeClr val="dk1"/>
                </a:solidFill>
                <a:latin typeface="Calibri"/>
                <a:ea typeface="Calibri"/>
                <a:cs typeface="Calibri"/>
                <a:sym typeface="Calibri"/>
              </a:rPr>
              <a:t>Presenting the approach, results and potential limitations</a:t>
            </a:r>
            <a:endParaRPr sz="1400" b="0" i="0" u="none" strike="noStrike" cap="none" dirty="0">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080"/>
              <a:buFont typeface="Noto Sans Symbols"/>
              <a:buChar char="▪"/>
            </a:pPr>
            <a:r>
              <a:rPr lang="en-US" sz="1200" b="0" i="0" u="none" strike="noStrike" cap="none" dirty="0">
                <a:solidFill>
                  <a:schemeClr val="dk1"/>
                </a:solidFill>
                <a:latin typeface="Calibri"/>
                <a:ea typeface="Calibri"/>
                <a:cs typeface="Calibri"/>
                <a:sym typeface="Calibri"/>
              </a:rPr>
              <a:t>Sharing all the documentation &amp; codes</a:t>
            </a:r>
            <a:endParaRPr sz="1400" b="0" i="0" u="none" strike="noStrike" cap="none" dirty="0">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080"/>
              <a:buFont typeface="Noto Sans Symbols"/>
              <a:buChar char="▪"/>
            </a:pPr>
            <a:r>
              <a:rPr lang="en-US" sz="1200" b="0" i="0" u="none" strike="noStrike" cap="none" dirty="0">
                <a:solidFill>
                  <a:schemeClr val="dk1"/>
                </a:solidFill>
                <a:latin typeface="Calibri"/>
                <a:ea typeface="Calibri"/>
                <a:cs typeface="Calibri"/>
                <a:sym typeface="Calibri"/>
              </a:rPr>
              <a:t>Getting client feedback</a:t>
            </a:r>
          </a:p>
          <a:p>
            <a:pPr marL="176213" marR="0" lvl="1" indent="-176213" algn="l" rtl="0">
              <a:lnSpc>
                <a:spcPct val="90000"/>
              </a:lnSpc>
              <a:spcBef>
                <a:spcPts val="500"/>
              </a:spcBef>
              <a:spcAft>
                <a:spcPts val="0"/>
              </a:spcAft>
              <a:buClr>
                <a:schemeClr val="dk2"/>
              </a:buClr>
              <a:buSzPts val="1080"/>
              <a:buFont typeface="Noto Sans Symbols"/>
              <a:buChar char="▪"/>
            </a:pPr>
            <a:r>
              <a:rPr lang="en-US" sz="1200" dirty="0" err="1">
                <a:solidFill>
                  <a:schemeClr val="dk1"/>
                </a:solidFill>
                <a:latin typeface="Calibri"/>
                <a:ea typeface="Calibri"/>
                <a:cs typeface="Calibri"/>
                <a:sym typeface="Calibri"/>
              </a:rPr>
              <a:t>Definining</a:t>
            </a:r>
            <a:r>
              <a:rPr lang="en-US" sz="1200" dirty="0">
                <a:solidFill>
                  <a:schemeClr val="dk1"/>
                </a:solidFill>
                <a:latin typeface="Calibri"/>
                <a:ea typeface="Calibri"/>
                <a:cs typeface="Calibri"/>
                <a:sym typeface="Calibri"/>
              </a:rPr>
              <a:t> scaling with clients’ IT Teams (to be scheduled if any)</a:t>
            </a:r>
            <a:endParaRPr sz="1400" b="0" i="0" u="none" strike="noStrike" cap="none" dirty="0">
              <a:solidFill>
                <a:srgbClr val="000000"/>
              </a:solidFill>
              <a:latin typeface="Arial"/>
              <a:ea typeface="Arial"/>
              <a:cs typeface="Arial"/>
              <a:sym typeface="Arial"/>
            </a:endParaRPr>
          </a:p>
          <a:p>
            <a:pPr marL="176213" marR="0" lvl="1" indent="-176213" algn="l" rtl="0">
              <a:lnSpc>
                <a:spcPct val="90000"/>
              </a:lnSpc>
              <a:spcBef>
                <a:spcPts val="500"/>
              </a:spcBef>
              <a:spcAft>
                <a:spcPts val="0"/>
              </a:spcAft>
              <a:buClr>
                <a:schemeClr val="dk2"/>
              </a:buClr>
              <a:buSzPts val="1080"/>
              <a:buFont typeface="Noto Sans Symbols"/>
              <a:buChar char="▪"/>
            </a:pPr>
            <a:r>
              <a:rPr lang="en-US" sz="1200" b="0" i="0" u="none" strike="noStrike" cap="none" dirty="0">
                <a:solidFill>
                  <a:schemeClr val="dk1"/>
                </a:solidFill>
                <a:latin typeface="Calibri"/>
                <a:ea typeface="Calibri"/>
                <a:cs typeface="Calibri"/>
                <a:sym typeface="Calibri"/>
              </a:rPr>
              <a:t>Performing regular model maintenance (to be scheduled if any)</a:t>
            </a:r>
            <a:endParaRPr sz="1400" b="0" i="0" u="none" strike="noStrike" cap="none" dirty="0">
              <a:solidFill>
                <a:srgbClr val="000000"/>
              </a:solidFill>
              <a:latin typeface="Arial"/>
              <a:ea typeface="Arial"/>
              <a:cs typeface="Arial"/>
              <a:sym typeface="Arial"/>
            </a:endParaRPr>
          </a:p>
        </p:txBody>
      </p:sp>
      <p:sp>
        <p:nvSpPr>
          <p:cNvPr id="1464" name="Google Shape;1464;p10"/>
          <p:cNvSpPr/>
          <p:nvPr/>
        </p:nvSpPr>
        <p:spPr>
          <a:xfrm>
            <a:off x="1344085" y="1768010"/>
            <a:ext cx="1349647" cy="338554"/>
          </a:xfrm>
          <a:prstGeom prst="rect">
            <a:avLst/>
          </a:prstGeom>
          <a:solidFill>
            <a:schemeClr val="lt1"/>
          </a:solidFill>
          <a:ln>
            <a:noFill/>
          </a:ln>
        </p:spPr>
        <p:txBody>
          <a:bodyPr spcFirstLastPara="1" wrap="square" lIns="72000" tIns="0" rIns="72000" bIns="0" anchor="ctr" anchorCtr="0">
            <a:spAutoFit/>
          </a:bodyPr>
          <a:lstStyle/>
          <a:p>
            <a:pPr marL="0" marR="0" lvl="0" indent="0" algn="ctr" rtl="0">
              <a:lnSpc>
                <a:spcPct val="100000"/>
              </a:lnSpc>
              <a:spcBef>
                <a:spcPts val="0"/>
              </a:spcBef>
              <a:spcAft>
                <a:spcPts val="0"/>
              </a:spcAft>
              <a:buClr>
                <a:srgbClr val="000000"/>
              </a:buClr>
              <a:buSzPts val="2200"/>
              <a:buFont typeface="Arial"/>
              <a:buNone/>
            </a:pPr>
            <a:r>
              <a:rPr lang="en-US" sz="2200" b="1" i="0" u="none" strike="noStrike" cap="none">
                <a:solidFill>
                  <a:schemeClr val="dk2"/>
                </a:solidFill>
                <a:latin typeface="Calibri"/>
                <a:ea typeface="Calibri"/>
                <a:cs typeface="Calibri"/>
                <a:sym typeface="Calibri"/>
              </a:rPr>
              <a:t>Intake</a:t>
            </a:r>
            <a:endParaRPr sz="2200" b="1" i="0" u="none" strike="noStrike" cap="none">
              <a:solidFill>
                <a:schemeClr val="dk2"/>
              </a:solidFill>
              <a:latin typeface="Calibri"/>
              <a:ea typeface="Calibri"/>
              <a:cs typeface="Calibri"/>
              <a:sym typeface="Calibri"/>
            </a:endParaRPr>
          </a:p>
        </p:txBody>
      </p:sp>
      <p:sp>
        <p:nvSpPr>
          <p:cNvPr id="1465" name="Google Shape;1465;p10"/>
          <p:cNvSpPr/>
          <p:nvPr/>
        </p:nvSpPr>
        <p:spPr>
          <a:xfrm>
            <a:off x="5692628" y="1768010"/>
            <a:ext cx="1288027" cy="338554"/>
          </a:xfrm>
          <a:prstGeom prst="rect">
            <a:avLst/>
          </a:prstGeom>
          <a:solidFill>
            <a:schemeClr val="lt1"/>
          </a:solidFill>
          <a:ln>
            <a:noFill/>
          </a:ln>
        </p:spPr>
        <p:txBody>
          <a:bodyPr spcFirstLastPara="1" wrap="square" lIns="72000" tIns="0" rIns="72000" bIns="0" anchor="ctr" anchorCtr="0">
            <a:spAutoFit/>
          </a:bodyPr>
          <a:lstStyle/>
          <a:p>
            <a:pPr marL="0" marR="0" lvl="0" indent="0" algn="ctr" rtl="0">
              <a:lnSpc>
                <a:spcPct val="100000"/>
              </a:lnSpc>
              <a:spcBef>
                <a:spcPts val="0"/>
              </a:spcBef>
              <a:spcAft>
                <a:spcPts val="0"/>
              </a:spcAft>
              <a:buClr>
                <a:srgbClr val="000000"/>
              </a:buClr>
              <a:buSzPts val="2200"/>
              <a:buFont typeface="Arial"/>
              <a:buNone/>
            </a:pPr>
            <a:r>
              <a:rPr lang="en-US" sz="2200" b="1" i="0" u="none" strike="noStrike" cap="none">
                <a:solidFill>
                  <a:schemeClr val="dk2"/>
                </a:solidFill>
                <a:latin typeface="Calibri"/>
                <a:ea typeface="Calibri"/>
                <a:cs typeface="Calibri"/>
                <a:sym typeface="Calibri"/>
              </a:rPr>
              <a:t>Execution</a:t>
            </a:r>
            <a:endParaRPr sz="2200" b="1" i="0" u="none" strike="noStrike" cap="none">
              <a:solidFill>
                <a:schemeClr val="dk2"/>
              </a:solidFill>
              <a:latin typeface="Calibri"/>
              <a:ea typeface="Calibri"/>
              <a:cs typeface="Calibri"/>
              <a:sym typeface="Calibri"/>
            </a:endParaRPr>
          </a:p>
        </p:txBody>
      </p:sp>
      <p:sp>
        <p:nvSpPr>
          <p:cNvPr id="1466" name="Google Shape;1466;p10"/>
          <p:cNvSpPr/>
          <p:nvPr/>
        </p:nvSpPr>
        <p:spPr>
          <a:xfrm>
            <a:off x="9907789" y="1768010"/>
            <a:ext cx="1112209" cy="338554"/>
          </a:xfrm>
          <a:prstGeom prst="rect">
            <a:avLst/>
          </a:prstGeom>
          <a:solidFill>
            <a:schemeClr val="lt1"/>
          </a:solidFill>
          <a:ln>
            <a:noFill/>
          </a:ln>
        </p:spPr>
        <p:txBody>
          <a:bodyPr spcFirstLastPara="1" wrap="square" lIns="72000" tIns="0" rIns="72000" bIns="0" anchor="ctr" anchorCtr="0">
            <a:spAutoFit/>
          </a:bodyPr>
          <a:lstStyle/>
          <a:p>
            <a:pPr marL="0" marR="0" lvl="0" indent="0" algn="ctr" rtl="0">
              <a:lnSpc>
                <a:spcPct val="100000"/>
              </a:lnSpc>
              <a:spcBef>
                <a:spcPts val="0"/>
              </a:spcBef>
              <a:spcAft>
                <a:spcPts val="0"/>
              </a:spcAft>
              <a:buClr>
                <a:srgbClr val="000000"/>
              </a:buClr>
              <a:buSzPts val="2200"/>
              <a:buFont typeface="Arial"/>
              <a:buNone/>
            </a:pPr>
            <a:r>
              <a:rPr lang="en-US" sz="2200" b="1" i="0" u="none" strike="noStrike" cap="none" dirty="0">
                <a:solidFill>
                  <a:schemeClr val="dk2"/>
                </a:solidFill>
                <a:latin typeface="Calibri"/>
                <a:ea typeface="Calibri"/>
                <a:cs typeface="Calibri"/>
                <a:sym typeface="Calibri"/>
              </a:rPr>
              <a:t>Delivery</a:t>
            </a:r>
            <a:endParaRPr sz="1400" b="0" i="0" u="none" strike="noStrike" cap="none" dirty="0">
              <a:solidFill>
                <a:srgbClr val="000000"/>
              </a:solidFill>
              <a:latin typeface="Arial"/>
              <a:ea typeface="Arial"/>
              <a:cs typeface="Arial"/>
              <a:sym typeface="Arial"/>
            </a:endParaRPr>
          </a:p>
        </p:txBody>
      </p:sp>
      <p:grpSp>
        <p:nvGrpSpPr>
          <p:cNvPr id="1467" name="Google Shape;1467;p10"/>
          <p:cNvGrpSpPr/>
          <p:nvPr/>
        </p:nvGrpSpPr>
        <p:grpSpPr>
          <a:xfrm>
            <a:off x="1672775" y="1077973"/>
            <a:ext cx="590770" cy="590768"/>
            <a:chOff x="2021329" y="1470497"/>
            <a:chExt cx="594555" cy="594555"/>
          </a:xfrm>
        </p:grpSpPr>
        <p:sp>
          <p:nvSpPr>
            <p:cNvPr id="1468" name="Google Shape;1468;p10"/>
            <p:cNvSpPr/>
            <p:nvPr/>
          </p:nvSpPr>
          <p:spPr>
            <a:xfrm>
              <a:off x="2568219" y="1786590"/>
              <a:ext cx="17560" cy="61046"/>
            </a:xfrm>
            <a:custGeom>
              <a:avLst/>
              <a:gdLst/>
              <a:ahLst/>
              <a:cxnLst/>
              <a:rect l="l" t="t" r="r" b="b"/>
              <a:pathLst>
                <a:path w="17560" h="61046" extrusionOk="0">
                  <a:moveTo>
                    <a:pt x="8780" y="0"/>
                  </a:moveTo>
                  <a:cubicBezTo>
                    <a:pt x="3934" y="-3"/>
                    <a:pt x="3" y="3924"/>
                    <a:pt x="0" y="8770"/>
                  </a:cubicBezTo>
                  <a:cubicBezTo>
                    <a:pt x="0" y="8774"/>
                    <a:pt x="0" y="8777"/>
                    <a:pt x="0" y="8780"/>
                  </a:cubicBezTo>
                  <a:lnTo>
                    <a:pt x="0" y="52266"/>
                  </a:lnTo>
                  <a:cubicBezTo>
                    <a:pt x="0" y="57115"/>
                    <a:pt x="3931" y="61046"/>
                    <a:pt x="8780" y="61046"/>
                  </a:cubicBezTo>
                  <a:cubicBezTo>
                    <a:pt x="13630" y="61046"/>
                    <a:pt x="17561" y="57115"/>
                    <a:pt x="17561" y="52266"/>
                  </a:cubicBezTo>
                  <a:lnTo>
                    <a:pt x="17561" y="8780"/>
                  </a:lnTo>
                  <a:cubicBezTo>
                    <a:pt x="17563" y="3934"/>
                    <a:pt x="13637" y="3"/>
                    <a:pt x="8790" y="0"/>
                  </a:cubicBezTo>
                  <a:cubicBezTo>
                    <a:pt x="8787" y="0"/>
                    <a:pt x="8784" y="0"/>
                    <a:pt x="8780" y="0"/>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69" name="Google Shape;1469;p10"/>
            <p:cNvSpPr/>
            <p:nvPr/>
          </p:nvSpPr>
          <p:spPr>
            <a:xfrm>
              <a:off x="2021329" y="1470497"/>
              <a:ext cx="594555" cy="594555"/>
            </a:xfrm>
            <a:custGeom>
              <a:avLst/>
              <a:gdLst/>
              <a:ahLst/>
              <a:cxnLst/>
              <a:rect l="l" t="t" r="r" b="b"/>
              <a:pathLst>
                <a:path w="594555" h="594555" extrusionOk="0">
                  <a:moveTo>
                    <a:pt x="555671" y="0"/>
                  </a:moveTo>
                  <a:lnTo>
                    <a:pt x="38884" y="0"/>
                  </a:lnTo>
                  <a:cubicBezTo>
                    <a:pt x="17419" y="25"/>
                    <a:pt x="25" y="17419"/>
                    <a:pt x="0" y="38884"/>
                  </a:cubicBezTo>
                  <a:lnTo>
                    <a:pt x="0" y="466914"/>
                  </a:lnTo>
                  <a:cubicBezTo>
                    <a:pt x="25" y="488379"/>
                    <a:pt x="17419" y="505774"/>
                    <a:pt x="38884" y="505798"/>
                  </a:cubicBezTo>
                  <a:lnTo>
                    <a:pt x="88757" y="505798"/>
                  </a:lnTo>
                  <a:lnTo>
                    <a:pt x="88757" y="555671"/>
                  </a:lnTo>
                  <a:cubicBezTo>
                    <a:pt x="88782" y="577136"/>
                    <a:pt x="106176" y="594530"/>
                    <a:pt x="127641" y="594555"/>
                  </a:cubicBezTo>
                  <a:lnTo>
                    <a:pt x="466914" y="594555"/>
                  </a:lnTo>
                  <a:cubicBezTo>
                    <a:pt x="488379" y="594530"/>
                    <a:pt x="505774" y="577136"/>
                    <a:pt x="505798" y="555671"/>
                  </a:cubicBezTo>
                  <a:lnTo>
                    <a:pt x="505798" y="505798"/>
                  </a:lnTo>
                  <a:lnTo>
                    <a:pt x="555671" y="505798"/>
                  </a:lnTo>
                  <a:cubicBezTo>
                    <a:pt x="577136" y="505774"/>
                    <a:pt x="594530" y="488379"/>
                    <a:pt x="594555" y="466914"/>
                  </a:cubicBezTo>
                  <a:lnTo>
                    <a:pt x="594555" y="38884"/>
                  </a:lnTo>
                  <a:cubicBezTo>
                    <a:pt x="594530" y="17419"/>
                    <a:pt x="577136" y="25"/>
                    <a:pt x="555671" y="0"/>
                  </a:cubicBezTo>
                  <a:close/>
                  <a:moveTo>
                    <a:pt x="17561" y="38884"/>
                  </a:moveTo>
                  <a:cubicBezTo>
                    <a:pt x="17575" y="27113"/>
                    <a:pt x="27113" y="17575"/>
                    <a:pt x="38884" y="17561"/>
                  </a:cubicBezTo>
                  <a:lnTo>
                    <a:pt x="555671" y="17561"/>
                  </a:lnTo>
                  <a:cubicBezTo>
                    <a:pt x="567443" y="17572"/>
                    <a:pt x="576983" y="27112"/>
                    <a:pt x="576995" y="38884"/>
                  </a:cubicBezTo>
                  <a:lnTo>
                    <a:pt x="576995" y="60208"/>
                  </a:lnTo>
                  <a:lnTo>
                    <a:pt x="17561" y="60208"/>
                  </a:lnTo>
                  <a:close/>
                  <a:moveTo>
                    <a:pt x="288497" y="363903"/>
                  </a:moveTo>
                  <a:lnTo>
                    <a:pt x="247305" y="330603"/>
                  </a:lnTo>
                  <a:cubicBezTo>
                    <a:pt x="243557" y="327526"/>
                    <a:pt x="238024" y="328070"/>
                    <a:pt x="234947" y="331818"/>
                  </a:cubicBezTo>
                  <a:cubicBezTo>
                    <a:pt x="231870" y="335566"/>
                    <a:pt x="232414" y="341099"/>
                    <a:pt x="236162" y="344176"/>
                  </a:cubicBezTo>
                  <a:cubicBezTo>
                    <a:pt x="236197" y="344204"/>
                    <a:pt x="236232" y="344232"/>
                    <a:pt x="236267" y="344260"/>
                  </a:cubicBezTo>
                  <a:lnTo>
                    <a:pt x="291759" y="389120"/>
                  </a:lnTo>
                  <a:cubicBezTo>
                    <a:pt x="294981" y="391713"/>
                    <a:pt x="299574" y="391713"/>
                    <a:pt x="302797" y="389120"/>
                  </a:cubicBezTo>
                  <a:lnTo>
                    <a:pt x="358289" y="344260"/>
                  </a:lnTo>
                  <a:cubicBezTo>
                    <a:pt x="362083" y="341241"/>
                    <a:pt x="362712" y="335717"/>
                    <a:pt x="359692" y="331922"/>
                  </a:cubicBezTo>
                  <a:cubicBezTo>
                    <a:pt x="356673" y="328128"/>
                    <a:pt x="351149" y="327499"/>
                    <a:pt x="347355" y="330518"/>
                  </a:cubicBezTo>
                  <a:cubicBezTo>
                    <a:pt x="347320" y="330546"/>
                    <a:pt x="347285" y="330574"/>
                    <a:pt x="347250" y="330603"/>
                  </a:cubicBezTo>
                  <a:lnTo>
                    <a:pt x="306058" y="363903"/>
                  </a:lnTo>
                  <a:lnTo>
                    <a:pt x="306058" y="306058"/>
                  </a:lnTo>
                  <a:lnTo>
                    <a:pt x="466914" y="306058"/>
                  </a:lnTo>
                  <a:cubicBezTo>
                    <a:pt x="468451" y="306073"/>
                    <a:pt x="469982" y="306256"/>
                    <a:pt x="471480" y="306605"/>
                  </a:cubicBezTo>
                  <a:lnTo>
                    <a:pt x="297278" y="447397"/>
                  </a:lnTo>
                  <a:lnTo>
                    <a:pt x="123075" y="306605"/>
                  </a:lnTo>
                  <a:cubicBezTo>
                    <a:pt x="124573" y="306256"/>
                    <a:pt x="126104" y="306073"/>
                    <a:pt x="127641" y="306058"/>
                  </a:cubicBezTo>
                  <a:lnTo>
                    <a:pt x="288497" y="306058"/>
                  </a:lnTo>
                  <a:close/>
                  <a:moveTo>
                    <a:pt x="488238" y="555671"/>
                  </a:moveTo>
                  <a:cubicBezTo>
                    <a:pt x="488224" y="567442"/>
                    <a:pt x="478685" y="576981"/>
                    <a:pt x="466914" y="576995"/>
                  </a:cubicBezTo>
                  <a:lnTo>
                    <a:pt x="127641" y="576995"/>
                  </a:lnTo>
                  <a:cubicBezTo>
                    <a:pt x="115870" y="576981"/>
                    <a:pt x="106331" y="567442"/>
                    <a:pt x="106318" y="555671"/>
                  </a:cubicBezTo>
                  <a:lnTo>
                    <a:pt x="106318" y="327382"/>
                  </a:lnTo>
                  <a:cubicBezTo>
                    <a:pt x="106354" y="323985"/>
                    <a:pt x="107215" y="320648"/>
                    <a:pt x="108826" y="317658"/>
                  </a:cubicBezTo>
                  <a:lnTo>
                    <a:pt x="291759" y="465514"/>
                  </a:lnTo>
                  <a:cubicBezTo>
                    <a:pt x="294978" y="468116"/>
                    <a:pt x="299577" y="468116"/>
                    <a:pt x="302797" y="465514"/>
                  </a:cubicBezTo>
                  <a:lnTo>
                    <a:pt x="485749" y="317653"/>
                  </a:lnTo>
                  <a:cubicBezTo>
                    <a:pt x="487357" y="320646"/>
                    <a:pt x="488218" y="323984"/>
                    <a:pt x="488258" y="327382"/>
                  </a:cubicBezTo>
                  <a:close/>
                  <a:moveTo>
                    <a:pt x="555671" y="488238"/>
                  </a:moveTo>
                  <a:lnTo>
                    <a:pt x="505798" y="488238"/>
                  </a:lnTo>
                  <a:lnTo>
                    <a:pt x="505798" y="327382"/>
                  </a:lnTo>
                  <a:cubicBezTo>
                    <a:pt x="505783" y="316496"/>
                    <a:pt x="501193" y="306118"/>
                    <a:pt x="493150" y="298783"/>
                  </a:cubicBezTo>
                  <a:lnTo>
                    <a:pt x="492844" y="298522"/>
                  </a:lnTo>
                  <a:lnTo>
                    <a:pt x="492678" y="298386"/>
                  </a:lnTo>
                  <a:cubicBezTo>
                    <a:pt x="485609" y="292017"/>
                    <a:pt x="476430" y="288494"/>
                    <a:pt x="466914" y="288497"/>
                  </a:cubicBezTo>
                  <a:lnTo>
                    <a:pt x="306058" y="288497"/>
                  </a:lnTo>
                  <a:lnTo>
                    <a:pt x="306058" y="204457"/>
                  </a:lnTo>
                  <a:cubicBezTo>
                    <a:pt x="306058" y="199608"/>
                    <a:pt x="302127" y="195676"/>
                    <a:pt x="297278" y="195676"/>
                  </a:cubicBezTo>
                  <a:cubicBezTo>
                    <a:pt x="292428" y="195676"/>
                    <a:pt x="288497" y="199608"/>
                    <a:pt x="288497" y="204457"/>
                  </a:cubicBezTo>
                  <a:lnTo>
                    <a:pt x="288497" y="288497"/>
                  </a:lnTo>
                  <a:lnTo>
                    <a:pt x="127641" y="288497"/>
                  </a:lnTo>
                  <a:cubicBezTo>
                    <a:pt x="118121" y="288483"/>
                    <a:pt x="108935" y="292003"/>
                    <a:pt x="101862" y="298376"/>
                  </a:cubicBezTo>
                  <a:lnTo>
                    <a:pt x="101727" y="298492"/>
                  </a:lnTo>
                  <a:lnTo>
                    <a:pt x="101466" y="298708"/>
                  </a:lnTo>
                  <a:cubicBezTo>
                    <a:pt x="93384" y="306052"/>
                    <a:pt x="88771" y="316461"/>
                    <a:pt x="88757" y="327382"/>
                  </a:cubicBezTo>
                  <a:lnTo>
                    <a:pt x="88757" y="488238"/>
                  </a:lnTo>
                  <a:lnTo>
                    <a:pt x="38884" y="488238"/>
                  </a:lnTo>
                  <a:cubicBezTo>
                    <a:pt x="27113" y="488224"/>
                    <a:pt x="17575" y="478685"/>
                    <a:pt x="17561" y="466914"/>
                  </a:cubicBezTo>
                  <a:lnTo>
                    <a:pt x="17561" y="77769"/>
                  </a:lnTo>
                  <a:lnTo>
                    <a:pt x="576995" y="77769"/>
                  </a:lnTo>
                  <a:lnTo>
                    <a:pt x="576995" y="466914"/>
                  </a:lnTo>
                  <a:cubicBezTo>
                    <a:pt x="576981" y="478685"/>
                    <a:pt x="567442" y="488224"/>
                    <a:pt x="555671" y="488238"/>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70" name="Google Shape;1470;p10"/>
            <p:cNvSpPr/>
            <p:nvPr/>
          </p:nvSpPr>
          <p:spPr>
            <a:xfrm>
              <a:off x="2478620" y="1501855"/>
              <a:ext cx="15052" cy="15052"/>
            </a:xfrm>
            <a:custGeom>
              <a:avLst/>
              <a:gdLst/>
              <a:ahLst/>
              <a:cxnLst/>
              <a:rect l="l" t="t" r="r" b="b"/>
              <a:pathLst>
                <a:path w="15052" h="15052" extrusionOk="0">
                  <a:moveTo>
                    <a:pt x="15052" y="7526"/>
                  </a:moveTo>
                  <a:cubicBezTo>
                    <a:pt x="15052" y="11683"/>
                    <a:pt x="11683" y="15052"/>
                    <a:pt x="7526" y="15052"/>
                  </a:cubicBezTo>
                  <a:cubicBezTo>
                    <a:pt x="3369" y="15052"/>
                    <a:pt x="0" y="11683"/>
                    <a:pt x="0" y="7526"/>
                  </a:cubicBezTo>
                  <a:cubicBezTo>
                    <a:pt x="0" y="3370"/>
                    <a:pt x="3369" y="0"/>
                    <a:pt x="7526" y="0"/>
                  </a:cubicBezTo>
                  <a:cubicBezTo>
                    <a:pt x="11683" y="0"/>
                    <a:pt x="15052" y="3370"/>
                    <a:pt x="15052" y="7526"/>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71" name="Google Shape;1471;p10"/>
            <p:cNvSpPr/>
            <p:nvPr/>
          </p:nvSpPr>
          <p:spPr>
            <a:xfrm>
              <a:off x="2511232" y="1501855"/>
              <a:ext cx="15052" cy="15052"/>
            </a:xfrm>
            <a:custGeom>
              <a:avLst/>
              <a:gdLst/>
              <a:ahLst/>
              <a:cxnLst/>
              <a:rect l="l" t="t" r="r" b="b"/>
              <a:pathLst>
                <a:path w="15052" h="15052" extrusionOk="0">
                  <a:moveTo>
                    <a:pt x="15052" y="7526"/>
                  </a:moveTo>
                  <a:cubicBezTo>
                    <a:pt x="15052" y="11683"/>
                    <a:pt x="11683" y="15052"/>
                    <a:pt x="7526" y="15052"/>
                  </a:cubicBezTo>
                  <a:cubicBezTo>
                    <a:pt x="3369" y="15052"/>
                    <a:pt x="0" y="11683"/>
                    <a:pt x="0" y="7526"/>
                  </a:cubicBezTo>
                  <a:cubicBezTo>
                    <a:pt x="0" y="3370"/>
                    <a:pt x="3369" y="0"/>
                    <a:pt x="7526" y="0"/>
                  </a:cubicBezTo>
                  <a:cubicBezTo>
                    <a:pt x="11683" y="0"/>
                    <a:pt x="15052" y="3370"/>
                    <a:pt x="15052" y="7526"/>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72" name="Google Shape;1472;p10"/>
            <p:cNvSpPr/>
            <p:nvPr/>
          </p:nvSpPr>
          <p:spPr>
            <a:xfrm>
              <a:off x="2543845" y="1501855"/>
              <a:ext cx="15052" cy="15052"/>
            </a:xfrm>
            <a:custGeom>
              <a:avLst/>
              <a:gdLst/>
              <a:ahLst/>
              <a:cxnLst/>
              <a:rect l="l" t="t" r="r" b="b"/>
              <a:pathLst>
                <a:path w="15052" h="15052" extrusionOk="0">
                  <a:moveTo>
                    <a:pt x="15052" y="7526"/>
                  </a:moveTo>
                  <a:cubicBezTo>
                    <a:pt x="15052" y="11683"/>
                    <a:pt x="11683" y="15052"/>
                    <a:pt x="7526" y="15052"/>
                  </a:cubicBezTo>
                  <a:cubicBezTo>
                    <a:pt x="3369" y="15052"/>
                    <a:pt x="0" y="11683"/>
                    <a:pt x="0" y="7526"/>
                  </a:cubicBezTo>
                  <a:cubicBezTo>
                    <a:pt x="0" y="3370"/>
                    <a:pt x="3369" y="0"/>
                    <a:pt x="7526" y="0"/>
                  </a:cubicBezTo>
                  <a:cubicBezTo>
                    <a:pt x="11683" y="0"/>
                    <a:pt x="15052" y="3370"/>
                    <a:pt x="15052" y="7526"/>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473" name="Google Shape;1473;p10"/>
          <p:cNvPicPr preferRelativeResize="0"/>
          <p:nvPr/>
        </p:nvPicPr>
        <p:blipFill rotWithShape="1">
          <a:blip r:embed="rId3">
            <a:alphaModFix/>
          </a:blip>
          <a:srcRect/>
          <a:stretch/>
        </p:blipFill>
        <p:spPr>
          <a:xfrm>
            <a:off x="10140804" y="1037267"/>
            <a:ext cx="646179" cy="646177"/>
          </a:xfrm>
          <a:prstGeom prst="rect">
            <a:avLst/>
          </a:prstGeom>
          <a:noFill/>
          <a:ln>
            <a:noFill/>
          </a:ln>
        </p:spPr>
      </p:pic>
      <p:pic>
        <p:nvPicPr>
          <p:cNvPr id="1474" name="Google Shape;1474;p10"/>
          <p:cNvPicPr preferRelativeResize="0"/>
          <p:nvPr/>
        </p:nvPicPr>
        <p:blipFill rotWithShape="1">
          <a:blip r:embed="rId4">
            <a:alphaModFix/>
          </a:blip>
          <a:srcRect/>
          <a:stretch/>
        </p:blipFill>
        <p:spPr>
          <a:xfrm>
            <a:off x="6020908" y="1037269"/>
            <a:ext cx="631466" cy="631466"/>
          </a:xfrm>
          <a:prstGeom prst="rect">
            <a:avLst/>
          </a:prstGeom>
          <a:noFill/>
          <a:ln>
            <a:noFill/>
          </a:ln>
        </p:spPr>
      </p:pic>
      <p:sp>
        <p:nvSpPr>
          <p:cNvPr id="1475" name="Google Shape;1475;p10"/>
          <p:cNvSpPr/>
          <p:nvPr/>
        </p:nvSpPr>
        <p:spPr>
          <a:xfrm rot="10800000" flipH="1">
            <a:off x="5742844" y="2462532"/>
            <a:ext cx="3370735" cy="315094"/>
          </a:xfrm>
          <a:custGeom>
            <a:avLst/>
            <a:gdLst/>
            <a:ahLst/>
            <a:cxnLst/>
            <a:rect l="l" t="t" r="r" b="b"/>
            <a:pathLst>
              <a:path w="417" h="133" extrusionOk="0">
                <a:moveTo>
                  <a:pt x="385" y="26"/>
                </a:moveTo>
                <a:cubicBezTo>
                  <a:pt x="364" y="0"/>
                  <a:pt x="364" y="0"/>
                  <a:pt x="364" y="0"/>
                </a:cubicBezTo>
                <a:cubicBezTo>
                  <a:pt x="364" y="26"/>
                  <a:pt x="364" y="26"/>
                  <a:pt x="364" y="26"/>
                </a:cubicBezTo>
                <a:cubicBezTo>
                  <a:pt x="194" y="26"/>
                  <a:pt x="194" y="26"/>
                  <a:pt x="194" y="26"/>
                </a:cubicBezTo>
                <a:cubicBezTo>
                  <a:pt x="166" y="26"/>
                  <a:pt x="166" y="26"/>
                  <a:pt x="166" y="26"/>
                </a:cubicBezTo>
                <a:cubicBezTo>
                  <a:pt x="136" y="52"/>
                  <a:pt x="102" y="73"/>
                  <a:pt x="65" y="88"/>
                </a:cubicBezTo>
                <a:cubicBezTo>
                  <a:pt x="48" y="95"/>
                  <a:pt x="24" y="101"/>
                  <a:pt x="0" y="106"/>
                </a:cubicBezTo>
                <a:cubicBezTo>
                  <a:pt x="69" y="106"/>
                  <a:pt x="69" y="106"/>
                  <a:pt x="69" y="106"/>
                </a:cubicBezTo>
                <a:cubicBezTo>
                  <a:pt x="364" y="106"/>
                  <a:pt x="364" y="106"/>
                  <a:pt x="364" y="106"/>
                </a:cubicBezTo>
                <a:cubicBezTo>
                  <a:pt x="364" y="133"/>
                  <a:pt x="364" y="133"/>
                  <a:pt x="364" y="133"/>
                </a:cubicBezTo>
                <a:cubicBezTo>
                  <a:pt x="385" y="106"/>
                  <a:pt x="385" y="106"/>
                  <a:pt x="385" y="106"/>
                </a:cubicBezTo>
                <a:cubicBezTo>
                  <a:pt x="417" y="66"/>
                  <a:pt x="417" y="66"/>
                  <a:pt x="417" y="66"/>
                </a:cubicBezTo>
                <a:lnTo>
                  <a:pt x="385" y="26"/>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chemeClr val="dk1"/>
              </a:solidFill>
              <a:latin typeface="Calibri"/>
              <a:ea typeface="Calibri"/>
              <a:cs typeface="Calibri"/>
              <a:sym typeface="Calibri"/>
            </a:endParaRPr>
          </a:p>
        </p:txBody>
      </p:sp>
      <p:sp>
        <p:nvSpPr>
          <p:cNvPr id="1476" name="Google Shape;1476;p10"/>
          <p:cNvSpPr/>
          <p:nvPr/>
        </p:nvSpPr>
        <p:spPr>
          <a:xfrm rot="10800000" flipH="1">
            <a:off x="5358180" y="2535034"/>
            <a:ext cx="1988975" cy="1866801"/>
          </a:xfrm>
          <a:custGeom>
            <a:avLst/>
            <a:gdLst/>
            <a:ahLst/>
            <a:cxnLst/>
            <a:rect l="l" t="t" r="r" b="b"/>
            <a:pathLst>
              <a:path w="857" h="803" extrusionOk="0">
                <a:moveTo>
                  <a:pt x="825" y="245"/>
                </a:moveTo>
                <a:cubicBezTo>
                  <a:pt x="805" y="197"/>
                  <a:pt x="776" y="155"/>
                  <a:pt x="739" y="118"/>
                </a:cubicBezTo>
                <a:cubicBezTo>
                  <a:pt x="702" y="81"/>
                  <a:pt x="659" y="52"/>
                  <a:pt x="611" y="31"/>
                </a:cubicBezTo>
                <a:cubicBezTo>
                  <a:pt x="562" y="11"/>
                  <a:pt x="509" y="0"/>
                  <a:pt x="455" y="0"/>
                </a:cubicBezTo>
                <a:cubicBezTo>
                  <a:pt x="401" y="0"/>
                  <a:pt x="348" y="11"/>
                  <a:pt x="299" y="31"/>
                </a:cubicBezTo>
                <a:cubicBezTo>
                  <a:pt x="251" y="52"/>
                  <a:pt x="208" y="81"/>
                  <a:pt x="171" y="118"/>
                </a:cubicBezTo>
                <a:cubicBezTo>
                  <a:pt x="134" y="155"/>
                  <a:pt x="105" y="197"/>
                  <a:pt x="85" y="245"/>
                </a:cubicBezTo>
                <a:cubicBezTo>
                  <a:pt x="65" y="291"/>
                  <a:pt x="55" y="340"/>
                  <a:pt x="53" y="389"/>
                </a:cubicBezTo>
                <a:cubicBezTo>
                  <a:pt x="53" y="389"/>
                  <a:pt x="53" y="389"/>
                  <a:pt x="53" y="389"/>
                </a:cubicBezTo>
                <a:cubicBezTo>
                  <a:pt x="53" y="393"/>
                  <a:pt x="53" y="397"/>
                  <a:pt x="53" y="401"/>
                </a:cubicBezTo>
                <a:cubicBezTo>
                  <a:pt x="53" y="456"/>
                  <a:pt x="64" y="508"/>
                  <a:pt x="85" y="558"/>
                </a:cubicBezTo>
                <a:cubicBezTo>
                  <a:pt x="105" y="606"/>
                  <a:pt x="134" y="649"/>
                  <a:pt x="171" y="686"/>
                </a:cubicBezTo>
                <a:cubicBezTo>
                  <a:pt x="180" y="694"/>
                  <a:pt x="189" y="703"/>
                  <a:pt x="199" y="711"/>
                </a:cubicBezTo>
                <a:cubicBezTo>
                  <a:pt x="369" y="711"/>
                  <a:pt x="369" y="711"/>
                  <a:pt x="369" y="711"/>
                </a:cubicBezTo>
                <a:cubicBezTo>
                  <a:pt x="233" y="673"/>
                  <a:pt x="134" y="549"/>
                  <a:pt x="134" y="401"/>
                </a:cubicBezTo>
                <a:cubicBezTo>
                  <a:pt x="134" y="397"/>
                  <a:pt x="134" y="393"/>
                  <a:pt x="134" y="389"/>
                </a:cubicBezTo>
                <a:cubicBezTo>
                  <a:pt x="134" y="389"/>
                  <a:pt x="134" y="389"/>
                  <a:pt x="134" y="389"/>
                </a:cubicBezTo>
                <a:cubicBezTo>
                  <a:pt x="141" y="218"/>
                  <a:pt x="282" y="81"/>
                  <a:pt x="455" y="81"/>
                </a:cubicBezTo>
                <a:cubicBezTo>
                  <a:pt x="632" y="81"/>
                  <a:pt x="776" y="225"/>
                  <a:pt x="776" y="402"/>
                </a:cubicBezTo>
                <a:cubicBezTo>
                  <a:pt x="776" y="579"/>
                  <a:pt x="632" y="723"/>
                  <a:pt x="455" y="723"/>
                </a:cubicBezTo>
                <a:cubicBezTo>
                  <a:pt x="455" y="723"/>
                  <a:pt x="455" y="723"/>
                  <a:pt x="455" y="723"/>
                </a:cubicBezTo>
                <a:cubicBezTo>
                  <a:pt x="0" y="723"/>
                  <a:pt x="0" y="723"/>
                  <a:pt x="0" y="723"/>
                </a:cubicBezTo>
                <a:cubicBezTo>
                  <a:pt x="32" y="763"/>
                  <a:pt x="32" y="763"/>
                  <a:pt x="32" y="763"/>
                </a:cubicBezTo>
                <a:cubicBezTo>
                  <a:pt x="0" y="803"/>
                  <a:pt x="0" y="803"/>
                  <a:pt x="0" y="803"/>
                </a:cubicBezTo>
                <a:cubicBezTo>
                  <a:pt x="455" y="803"/>
                  <a:pt x="455" y="803"/>
                  <a:pt x="455" y="803"/>
                </a:cubicBezTo>
                <a:cubicBezTo>
                  <a:pt x="455" y="803"/>
                  <a:pt x="562" y="793"/>
                  <a:pt x="612" y="772"/>
                </a:cubicBezTo>
                <a:cubicBezTo>
                  <a:pt x="659" y="752"/>
                  <a:pt x="702" y="723"/>
                  <a:pt x="739" y="686"/>
                </a:cubicBezTo>
                <a:cubicBezTo>
                  <a:pt x="776" y="649"/>
                  <a:pt x="805" y="606"/>
                  <a:pt x="825" y="558"/>
                </a:cubicBezTo>
                <a:cubicBezTo>
                  <a:pt x="846" y="509"/>
                  <a:pt x="857" y="456"/>
                  <a:pt x="857" y="402"/>
                </a:cubicBezTo>
                <a:cubicBezTo>
                  <a:pt x="857" y="348"/>
                  <a:pt x="846" y="295"/>
                  <a:pt x="825" y="245"/>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77" name="Google Shape;1477;p10"/>
          <p:cNvSpPr/>
          <p:nvPr/>
        </p:nvSpPr>
        <p:spPr>
          <a:xfrm rot="10800000" flipH="1">
            <a:off x="1135080" y="2472481"/>
            <a:ext cx="775065" cy="308854"/>
          </a:xfrm>
          <a:custGeom>
            <a:avLst/>
            <a:gdLst/>
            <a:ahLst/>
            <a:cxnLst/>
            <a:rect l="l" t="t" r="r" b="b"/>
            <a:pathLst>
              <a:path w="10000" h="10000" extrusionOk="0">
                <a:moveTo>
                  <a:pt x="9042" y="1962"/>
                </a:moveTo>
                <a:lnTo>
                  <a:pt x="8424" y="0"/>
                </a:lnTo>
                <a:lnTo>
                  <a:pt x="8424" y="1962"/>
                </a:lnTo>
                <a:lnTo>
                  <a:pt x="0" y="1962"/>
                </a:lnTo>
                <a:lnTo>
                  <a:pt x="0" y="7975"/>
                </a:lnTo>
                <a:lnTo>
                  <a:pt x="8424" y="7975"/>
                </a:lnTo>
                <a:lnTo>
                  <a:pt x="8424" y="10000"/>
                </a:lnTo>
                <a:lnTo>
                  <a:pt x="9042" y="7975"/>
                </a:lnTo>
                <a:lnTo>
                  <a:pt x="10000" y="4968"/>
                </a:lnTo>
                <a:lnTo>
                  <a:pt x="9042" y="1962"/>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79" name="Google Shape;1479;p10"/>
          <p:cNvSpPr/>
          <p:nvPr/>
        </p:nvSpPr>
        <p:spPr>
          <a:xfrm rot="10800000" flipH="1">
            <a:off x="10197481" y="2453433"/>
            <a:ext cx="704251" cy="308854"/>
          </a:xfrm>
          <a:custGeom>
            <a:avLst/>
            <a:gdLst/>
            <a:ahLst/>
            <a:cxnLst/>
            <a:rect l="l" t="t" r="r" b="b"/>
            <a:pathLst>
              <a:path w="704251" h="308854" extrusionOk="0">
                <a:moveTo>
                  <a:pt x="582101" y="308854"/>
                </a:moveTo>
                <a:lnTo>
                  <a:pt x="630000" y="246311"/>
                </a:lnTo>
                <a:lnTo>
                  <a:pt x="704251" y="153439"/>
                </a:lnTo>
                <a:lnTo>
                  <a:pt x="630000" y="60597"/>
                </a:lnTo>
                <a:lnTo>
                  <a:pt x="582101" y="0"/>
                </a:lnTo>
                <a:lnTo>
                  <a:pt x="582101" y="60597"/>
                </a:lnTo>
                <a:lnTo>
                  <a:pt x="0" y="60597"/>
                </a:lnTo>
                <a:lnTo>
                  <a:pt x="0" y="246311"/>
                </a:lnTo>
                <a:lnTo>
                  <a:pt x="582101" y="246311"/>
                </a:lnTo>
                <a:lnTo>
                  <a:pt x="582101" y="308854"/>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nvGrpSpPr>
          <p:cNvPr id="1480" name="Google Shape;1480;p10"/>
          <p:cNvGrpSpPr/>
          <p:nvPr/>
        </p:nvGrpSpPr>
        <p:grpSpPr>
          <a:xfrm>
            <a:off x="5600510" y="2743215"/>
            <a:ext cx="1551670" cy="1539882"/>
            <a:chOff x="7285038" y="6072188"/>
            <a:chExt cx="3084131" cy="3060700"/>
          </a:xfrm>
        </p:grpSpPr>
        <p:sp>
          <p:nvSpPr>
            <p:cNvPr id="1481" name="Google Shape;1481;p10"/>
            <p:cNvSpPr/>
            <p:nvPr/>
          </p:nvSpPr>
          <p:spPr>
            <a:xfrm>
              <a:off x="8918576" y="6072188"/>
              <a:ext cx="1450593" cy="2143125"/>
            </a:xfrm>
            <a:custGeom>
              <a:avLst/>
              <a:gdLst/>
              <a:ahLst/>
              <a:cxnLst/>
              <a:rect l="l" t="t" r="r" b="b"/>
              <a:pathLst>
                <a:path w="15000" h="22500" extrusionOk="0">
                  <a:moveTo>
                    <a:pt x="0" y="0"/>
                  </a:moveTo>
                  <a:cubicBezTo>
                    <a:pt x="8284" y="0"/>
                    <a:pt x="15000" y="6716"/>
                    <a:pt x="15000" y="15000"/>
                  </a:cubicBezTo>
                  <a:cubicBezTo>
                    <a:pt x="15000" y="17633"/>
                    <a:pt x="14307" y="20220"/>
                    <a:pt x="12990" y="22500"/>
                  </a:cubicBezTo>
                  <a:lnTo>
                    <a:pt x="0" y="15000"/>
                  </a:lnTo>
                  <a:lnTo>
                    <a:pt x="0" y="0"/>
                  </a:lnTo>
                  <a:close/>
                </a:path>
              </a:pathLst>
            </a:custGeom>
            <a:solidFill>
              <a:srgbClr val="99E3FE"/>
            </a:solidFill>
            <a:ln w="2857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82" name="Google Shape;1482;p10"/>
            <p:cNvSpPr/>
            <p:nvPr/>
          </p:nvSpPr>
          <p:spPr>
            <a:xfrm>
              <a:off x="7680325" y="7500938"/>
              <a:ext cx="2476500" cy="1631950"/>
            </a:xfrm>
            <a:custGeom>
              <a:avLst/>
              <a:gdLst/>
              <a:ahLst/>
              <a:cxnLst/>
              <a:rect l="l" t="t" r="r" b="b"/>
              <a:pathLst>
                <a:path w="12990" h="8566" extrusionOk="0">
                  <a:moveTo>
                    <a:pt x="12990" y="3750"/>
                  </a:moveTo>
                  <a:cubicBezTo>
                    <a:pt x="10919" y="7337"/>
                    <a:pt x="6332" y="8566"/>
                    <a:pt x="2745" y="6495"/>
                  </a:cubicBezTo>
                  <a:cubicBezTo>
                    <a:pt x="1605" y="5837"/>
                    <a:pt x="658" y="4890"/>
                    <a:pt x="0" y="3750"/>
                  </a:cubicBezTo>
                  <a:lnTo>
                    <a:pt x="6495" y="0"/>
                  </a:lnTo>
                  <a:lnTo>
                    <a:pt x="12990" y="3750"/>
                  </a:lnTo>
                  <a:close/>
                </a:path>
              </a:pathLst>
            </a:custGeom>
            <a:solidFill>
              <a:srgbClr val="99E3FE"/>
            </a:solidFill>
            <a:ln w="2857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83" name="Google Shape;1483;p10"/>
            <p:cNvSpPr/>
            <p:nvPr/>
          </p:nvSpPr>
          <p:spPr>
            <a:xfrm>
              <a:off x="7285038" y="6072188"/>
              <a:ext cx="1633537" cy="2143125"/>
            </a:xfrm>
            <a:custGeom>
              <a:avLst/>
              <a:gdLst/>
              <a:ahLst/>
              <a:cxnLst/>
              <a:rect l="l" t="t" r="r" b="b"/>
              <a:pathLst>
                <a:path w="17133" h="22500" extrusionOk="0">
                  <a:moveTo>
                    <a:pt x="4142" y="22500"/>
                  </a:moveTo>
                  <a:cubicBezTo>
                    <a:pt x="0" y="15325"/>
                    <a:pt x="2458" y="6152"/>
                    <a:pt x="9633" y="2009"/>
                  </a:cubicBezTo>
                  <a:cubicBezTo>
                    <a:pt x="11913" y="693"/>
                    <a:pt x="14500" y="0"/>
                    <a:pt x="17133" y="0"/>
                  </a:cubicBezTo>
                  <a:lnTo>
                    <a:pt x="17133" y="15000"/>
                  </a:lnTo>
                  <a:lnTo>
                    <a:pt x="4142" y="22500"/>
                  </a:lnTo>
                  <a:close/>
                </a:path>
              </a:pathLst>
            </a:custGeom>
            <a:solidFill>
              <a:srgbClr val="99E3FE"/>
            </a:solidFill>
            <a:ln w="2857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484" name="Google Shape;1484;p10"/>
          <p:cNvSpPr txBox="1"/>
          <p:nvPr/>
        </p:nvSpPr>
        <p:spPr>
          <a:xfrm>
            <a:off x="5765748" y="3025762"/>
            <a:ext cx="697346" cy="436273"/>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400"/>
              <a:buFont typeface="Arial"/>
              <a:buNone/>
            </a:pPr>
            <a:r>
              <a:rPr lang="en-US" sz="1050" b="1" i="0" u="none" strike="noStrike" cap="none" dirty="0">
                <a:solidFill>
                  <a:schemeClr val="tx1">
                    <a:lumMod val="50000"/>
                  </a:schemeClr>
                </a:solidFill>
                <a:latin typeface="Calibri"/>
                <a:ea typeface="Calibri"/>
                <a:cs typeface="Calibri"/>
                <a:sym typeface="Calibri"/>
              </a:rPr>
              <a:t>Business &amp; Data Under</a:t>
            </a:r>
          </a:p>
          <a:p>
            <a:pPr marL="0" marR="0" lvl="0" indent="0" algn="ctr" rtl="0">
              <a:lnSpc>
                <a:spcPct val="90000"/>
              </a:lnSpc>
              <a:spcBef>
                <a:spcPts val="0"/>
              </a:spcBef>
              <a:spcAft>
                <a:spcPts val="0"/>
              </a:spcAft>
              <a:buClr>
                <a:srgbClr val="000000"/>
              </a:buClr>
              <a:buSzPts val="1400"/>
              <a:buFont typeface="Arial"/>
              <a:buNone/>
            </a:pPr>
            <a:r>
              <a:rPr lang="en-US" sz="1050" b="1" i="0" u="none" strike="noStrike" cap="none" dirty="0">
                <a:solidFill>
                  <a:schemeClr val="tx1">
                    <a:lumMod val="50000"/>
                  </a:schemeClr>
                </a:solidFill>
                <a:latin typeface="Calibri"/>
                <a:ea typeface="Calibri"/>
                <a:cs typeface="Calibri"/>
                <a:sym typeface="Calibri"/>
              </a:rPr>
              <a:t>standing</a:t>
            </a:r>
            <a:endParaRPr lang="en-US" sz="1000" b="0" i="0" u="none" strike="noStrike" cap="none" dirty="0">
              <a:solidFill>
                <a:schemeClr val="tx1">
                  <a:lumMod val="50000"/>
                </a:schemeClr>
              </a:solidFill>
              <a:latin typeface="Calibri"/>
              <a:ea typeface="Calibri"/>
              <a:cs typeface="Calibri"/>
              <a:sym typeface="Calibri"/>
            </a:endParaRPr>
          </a:p>
        </p:txBody>
      </p:sp>
      <p:sp>
        <p:nvSpPr>
          <p:cNvPr id="1485" name="Google Shape;1485;p10"/>
          <p:cNvSpPr txBox="1"/>
          <p:nvPr/>
        </p:nvSpPr>
        <p:spPr>
          <a:xfrm>
            <a:off x="6482788" y="3025762"/>
            <a:ext cx="547404" cy="387798"/>
          </a:xfrm>
          <a:prstGeom prst="rect">
            <a:avLst/>
          </a:prstGeom>
          <a:noFill/>
          <a:ln>
            <a:noFill/>
          </a:ln>
        </p:spPr>
        <p:txBody>
          <a:bodyPr spcFirstLastPara="1" wrap="square" lIns="0" tIns="0" rIns="0" bIns="0" anchor="t" anchorCtr="0">
            <a:spAutoFit/>
          </a:bodyPr>
          <a:lstStyle/>
          <a:p>
            <a:pPr marL="0" marR="0" lvl="1" indent="0" algn="ctr" rtl="0">
              <a:lnSpc>
                <a:spcPct val="80000"/>
              </a:lnSpc>
              <a:spcBef>
                <a:spcPts val="0"/>
              </a:spcBef>
              <a:spcAft>
                <a:spcPts val="0"/>
              </a:spcAft>
              <a:buClr>
                <a:schemeClr val="dk2"/>
              </a:buClr>
              <a:buSzPts val="1080"/>
              <a:buFont typeface="Noto Sans Symbols"/>
              <a:buNone/>
            </a:pPr>
            <a:r>
              <a:rPr lang="en-US" sz="1050" b="1" i="0" u="none" strike="noStrike" cap="none" dirty="0">
                <a:solidFill>
                  <a:srgbClr val="000000"/>
                </a:solidFill>
                <a:latin typeface="Calibri"/>
                <a:ea typeface="Calibri"/>
                <a:cs typeface="Calibri"/>
                <a:sym typeface="Calibri"/>
              </a:rPr>
              <a:t>Agile Metho</a:t>
            </a:r>
          </a:p>
          <a:p>
            <a:pPr marL="0" marR="0" lvl="1" indent="0" algn="ctr" rtl="0">
              <a:lnSpc>
                <a:spcPct val="80000"/>
              </a:lnSpc>
              <a:spcBef>
                <a:spcPts val="0"/>
              </a:spcBef>
              <a:spcAft>
                <a:spcPts val="0"/>
              </a:spcAft>
              <a:buClr>
                <a:schemeClr val="dk2"/>
              </a:buClr>
              <a:buSzPts val="1080"/>
              <a:buFont typeface="Noto Sans Symbols"/>
              <a:buNone/>
            </a:pPr>
            <a:r>
              <a:rPr lang="en-US" sz="1050" b="1" i="0" u="none" strike="noStrike" cap="none" dirty="0" err="1">
                <a:solidFill>
                  <a:srgbClr val="000000"/>
                </a:solidFill>
                <a:latin typeface="Calibri"/>
                <a:ea typeface="Calibri"/>
                <a:cs typeface="Calibri"/>
                <a:sym typeface="Calibri"/>
              </a:rPr>
              <a:t>dology</a:t>
            </a:r>
            <a:endParaRPr sz="1100" b="0" i="0" u="none" strike="noStrike" cap="none" dirty="0">
              <a:solidFill>
                <a:srgbClr val="000000"/>
              </a:solidFill>
              <a:latin typeface="Arial"/>
              <a:ea typeface="Arial"/>
              <a:cs typeface="Arial"/>
              <a:sym typeface="Arial"/>
            </a:endParaRPr>
          </a:p>
        </p:txBody>
      </p:sp>
      <p:sp>
        <p:nvSpPr>
          <p:cNvPr id="1487" name="Google Shape;1487;p10"/>
          <p:cNvSpPr txBox="1"/>
          <p:nvPr/>
        </p:nvSpPr>
        <p:spPr>
          <a:xfrm>
            <a:off x="7407577" y="3052213"/>
            <a:ext cx="1796154" cy="3081869"/>
          </a:xfrm>
          <a:prstGeom prst="rect">
            <a:avLst/>
          </a:prstGeom>
          <a:noFill/>
          <a:ln>
            <a:noFill/>
          </a:ln>
        </p:spPr>
        <p:txBody>
          <a:bodyPr spcFirstLastPara="1" wrap="square" lIns="0" tIns="0" rIns="0" bIns="0" anchor="t" anchorCtr="0">
            <a:spAutoFit/>
          </a:bodyPr>
          <a:lstStyle/>
          <a:p>
            <a:pPr marR="0" lvl="1" algn="l" rtl="0">
              <a:lnSpc>
                <a:spcPct val="90000"/>
              </a:lnSpc>
              <a:spcBef>
                <a:spcPts val="0"/>
              </a:spcBef>
              <a:spcAft>
                <a:spcPts val="0"/>
              </a:spcAft>
              <a:buClr>
                <a:schemeClr val="dk2"/>
              </a:buClr>
              <a:buSzPts val="1080"/>
            </a:pPr>
            <a:r>
              <a:rPr lang="en-US" sz="1200" b="1" i="0" u="none" strike="noStrike" cap="none" dirty="0">
                <a:solidFill>
                  <a:srgbClr val="222222"/>
                </a:solidFill>
                <a:latin typeface="Calibri"/>
                <a:ea typeface="Calibri"/>
                <a:cs typeface="Calibri"/>
                <a:sym typeface="Calibri"/>
              </a:rPr>
              <a:t>Data Modeling</a:t>
            </a:r>
          </a:p>
          <a:p>
            <a:pPr marL="128588" marR="0" lvl="1" indent="-128588" algn="l" rtl="0">
              <a:lnSpc>
                <a:spcPct val="90000"/>
              </a:lnSpc>
              <a:spcBef>
                <a:spcPts val="0"/>
              </a:spcBef>
              <a:spcAft>
                <a:spcPts val="0"/>
              </a:spcAft>
              <a:buClr>
                <a:schemeClr val="dk2"/>
              </a:buClr>
              <a:buSzPts val="1080"/>
              <a:buFont typeface="Noto Sans Symbols"/>
              <a:buChar char="▪"/>
            </a:pPr>
            <a:endParaRPr lang="en-US" sz="1200" dirty="0">
              <a:solidFill>
                <a:schemeClr val="dk1"/>
              </a:solidFill>
              <a:latin typeface="Calibri"/>
              <a:ea typeface="Calibri"/>
              <a:cs typeface="Calibri"/>
              <a:sym typeface="Calibri"/>
            </a:endParaRPr>
          </a:p>
          <a:p>
            <a:pPr marL="176213" lvl="1" indent="-176213">
              <a:lnSpc>
                <a:spcPct val="90000"/>
              </a:lnSpc>
              <a:spcBef>
                <a:spcPts val="500"/>
              </a:spcBef>
              <a:buClr>
                <a:schemeClr val="dk2"/>
              </a:buClr>
              <a:buSzPts val="1080"/>
              <a:buFont typeface="Noto Sans Symbols"/>
              <a:buChar char="▪"/>
            </a:pPr>
            <a:r>
              <a:rPr lang="en-US" sz="1200" dirty="0">
                <a:solidFill>
                  <a:schemeClr val="dk1"/>
                </a:solidFill>
                <a:latin typeface="Calibri"/>
                <a:ea typeface="Calibri"/>
                <a:cs typeface="Calibri"/>
                <a:sym typeface="Calibri"/>
              </a:rPr>
              <a:t>Build algorithms to answer the business question (binary classification, segmentation, forecasting …)</a:t>
            </a:r>
          </a:p>
          <a:p>
            <a:pPr marL="176213" lvl="1" indent="-176213">
              <a:lnSpc>
                <a:spcPct val="90000"/>
              </a:lnSpc>
              <a:spcBef>
                <a:spcPts val="500"/>
              </a:spcBef>
              <a:buClr>
                <a:schemeClr val="dk2"/>
              </a:buClr>
              <a:buSzPts val="1080"/>
              <a:buFont typeface="Noto Sans Symbols"/>
              <a:buChar char="▪"/>
            </a:pPr>
            <a:endParaRPr sz="1200" dirty="0">
              <a:solidFill>
                <a:schemeClr val="dk1"/>
              </a:solidFill>
              <a:latin typeface="Calibri"/>
              <a:ea typeface="Calibri"/>
              <a:cs typeface="Calibri"/>
            </a:endParaRPr>
          </a:p>
          <a:p>
            <a:pPr marL="176213" lvl="1" indent="-176213">
              <a:lnSpc>
                <a:spcPct val="90000"/>
              </a:lnSpc>
              <a:spcBef>
                <a:spcPts val="500"/>
              </a:spcBef>
              <a:buClr>
                <a:schemeClr val="dk2"/>
              </a:buClr>
              <a:buSzPts val="1080"/>
              <a:buFont typeface="Noto Sans Symbols"/>
              <a:buChar char="▪"/>
            </a:pPr>
            <a:r>
              <a:rPr lang="en-US" sz="1200" dirty="0">
                <a:solidFill>
                  <a:schemeClr val="dk1"/>
                </a:solidFill>
                <a:latin typeface="Calibri"/>
                <a:ea typeface="Calibri"/>
                <a:cs typeface="Calibri"/>
                <a:sym typeface="Calibri"/>
              </a:rPr>
              <a:t>Evaluation and validation of the algorithm</a:t>
            </a:r>
          </a:p>
          <a:p>
            <a:pPr marL="176213" lvl="1" indent="-176213">
              <a:lnSpc>
                <a:spcPct val="90000"/>
              </a:lnSpc>
              <a:spcBef>
                <a:spcPts val="500"/>
              </a:spcBef>
              <a:buClr>
                <a:schemeClr val="dk2"/>
              </a:buClr>
              <a:buSzPts val="1080"/>
              <a:buFont typeface="Noto Sans Symbols"/>
              <a:buChar char="▪"/>
            </a:pPr>
            <a:endParaRPr lang="en-US" sz="1200" dirty="0">
              <a:solidFill>
                <a:schemeClr val="dk1"/>
              </a:solidFill>
              <a:latin typeface="Calibri"/>
              <a:ea typeface="Calibri"/>
              <a:cs typeface="Calibri"/>
              <a:sym typeface="Calibri"/>
            </a:endParaRPr>
          </a:p>
          <a:p>
            <a:pPr marL="133350" lvl="2">
              <a:lnSpc>
                <a:spcPct val="90000"/>
              </a:lnSpc>
              <a:buClr>
                <a:schemeClr val="dk2"/>
              </a:buClr>
              <a:buSzPts val="1200"/>
            </a:pPr>
            <a:endParaRPr lang="en-US" sz="1200" dirty="0">
              <a:solidFill>
                <a:schemeClr val="dk1"/>
              </a:solidFill>
              <a:latin typeface="Calibri"/>
              <a:ea typeface="Calibri"/>
              <a:cs typeface="Calibri"/>
              <a:sym typeface="Calibri"/>
            </a:endParaRPr>
          </a:p>
          <a:p>
            <a:pPr marL="268288" lvl="2" indent="-134938">
              <a:lnSpc>
                <a:spcPct val="90000"/>
              </a:lnSpc>
              <a:buClr>
                <a:schemeClr val="dk2"/>
              </a:buClr>
              <a:buSzPts val="1200"/>
              <a:buFont typeface="Calibri"/>
              <a:buChar char="−"/>
            </a:pPr>
            <a:endParaRPr lang="en-US" sz="1200" dirty="0">
              <a:solidFill>
                <a:schemeClr val="dk1"/>
              </a:solidFill>
              <a:latin typeface="Calibri"/>
              <a:ea typeface="Calibri"/>
              <a:cs typeface="Calibri"/>
              <a:sym typeface="Calibri"/>
            </a:endParaRPr>
          </a:p>
          <a:p>
            <a:pPr marL="268288" lvl="2" indent="-134938">
              <a:lnSpc>
                <a:spcPct val="90000"/>
              </a:lnSpc>
              <a:buClr>
                <a:schemeClr val="dk2"/>
              </a:buClr>
              <a:buSzPts val="1200"/>
              <a:buFont typeface="Calibri"/>
              <a:buChar char="−"/>
            </a:pPr>
            <a:endParaRPr lang="en-US" sz="1200" dirty="0">
              <a:solidFill>
                <a:schemeClr val="dk1"/>
              </a:solidFill>
              <a:latin typeface="Calibri"/>
              <a:ea typeface="Calibri"/>
              <a:cs typeface="Calibri"/>
              <a:sym typeface="Calibri"/>
            </a:endParaRPr>
          </a:p>
          <a:p>
            <a:pPr marL="268288" lvl="2" indent="-134938">
              <a:lnSpc>
                <a:spcPct val="90000"/>
              </a:lnSpc>
              <a:buClr>
                <a:schemeClr val="dk2"/>
              </a:buClr>
              <a:buSzPts val="1200"/>
              <a:buFont typeface="Calibri"/>
              <a:buChar char="−"/>
            </a:pPr>
            <a:endParaRPr lang="en-US" sz="1200" dirty="0">
              <a:solidFill>
                <a:schemeClr val="dk1"/>
              </a:solidFill>
              <a:latin typeface="Calibri"/>
              <a:ea typeface="Calibri"/>
              <a:cs typeface="Calibri"/>
              <a:sym typeface="Calibri"/>
            </a:endParaRPr>
          </a:p>
          <a:p>
            <a:pPr marL="268288" lvl="2" indent="-134938">
              <a:lnSpc>
                <a:spcPct val="90000"/>
              </a:lnSpc>
              <a:buClr>
                <a:schemeClr val="dk2"/>
              </a:buClr>
              <a:buSzPts val="1200"/>
              <a:buFont typeface="Calibri"/>
              <a:buChar char="−"/>
            </a:pPr>
            <a:endParaRPr sz="1200" dirty="0">
              <a:solidFill>
                <a:schemeClr val="dk1"/>
              </a:solidFill>
              <a:latin typeface="Calibri"/>
              <a:ea typeface="Calibri"/>
              <a:cs typeface="Calibri"/>
            </a:endParaRPr>
          </a:p>
        </p:txBody>
      </p:sp>
      <p:sp>
        <p:nvSpPr>
          <p:cNvPr id="1488" name="Google Shape;1488;p10"/>
          <p:cNvSpPr/>
          <p:nvPr/>
        </p:nvSpPr>
        <p:spPr>
          <a:xfrm rot="10800000" flipH="1">
            <a:off x="4140285" y="2535024"/>
            <a:ext cx="1303918" cy="185718"/>
          </a:xfrm>
          <a:custGeom>
            <a:avLst/>
            <a:gdLst/>
            <a:ahLst/>
            <a:cxnLst/>
            <a:rect l="l" t="t" r="r" b="b"/>
            <a:pathLst>
              <a:path w="10006" h="10000" extrusionOk="0">
                <a:moveTo>
                  <a:pt x="9992" y="10000"/>
                </a:moveTo>
                <a:cubicBezTo>
                  <a:pt x="10026" y="7376"/>
                  <a:pt x="9987" y="4129"/>
                  <a:pt x="9992" y="0"/>
                </a:cubicBezTo>
                <a:lnTo>
                  <a:pt x="0" y="0"/>
                </a:lnTo>
                <a:lnTo>
                  <a:pt x="0" y="10000"/>
                </a:lnTo>
                <a:lnTo>
                  <a:pt x="9992" y="10000"/>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489" name="Google Shape;1489;p10"/>
          <p:cNvPicPr preferRelativeResize="0"/>
          <p:nvPr/>
        </p:nvPicPr>
        <p:blipFill rotWithShape="1">
          <a:blip r:embed="rId5">
            <a:alphaModFix/>
          </a:blip>
          <a:srcRect/>
          <a:stretch/>
        </p:blipFill>
        <p:spPr>
          <a:xfrm>
            <a:off x="568442" y="2385507"/>
            <a:ext cx="498358" cy="498358"/>
          </a:xfrm>
          <a:prstGeom prst="rect">
            <a:avLst/>
          </a:prstGeom>
          <a:noFill/>
          <a:ln>
            <a:noFill/>
          </a:ln>
        </p:spPr>
      </p:pic>
      <p:pic>
        <p:nvPicPr>
          <p:cNvPr id="1490" name="Google Shape;1490;p10"/>
          <p:cNvPicPr preferRelativeResize="0"/>
          <p:nvPr/>
        </p:nvPicPr>
        <p:blipFill rotWithShape="1">
          <a:blip r:embed="rId6">
            <a:alphaModFix/>
          </a:blip>
          <a:srcRect/>
          <a:stretch/>
        </p:blipFill>
        <p:spPr>
          <a:xfrm>
            <a:off x="1984850" y="2347141"/>
            <a:ext cx="548990" cy="548990"/>
          </a:xfrm>
          <a:prstGeom prst="rect">
            <a:avLst/>
          </a:prstGeom>
          <a:noFill/>
          <a:ln>
            <a:noFill/>
          </a:ln>
        </p:spPr>
      </p:pic>
      <p:grpSp>
        <p:nvGrpSpPr>
          <p:cNvPr id="1491" name="Google Shape;1491;p10"/>
          <p:cNvGrpSpPr/>
          <p:nvPr/>
        </p:nvGrpSpPr>
        <p:grpSpPr>
          <a:xfrm>
            <a:off x="2539766" y="2472481"/>
            <a:ext cx="898166" cy="308854"/>
            <a:chOff x="2539766" y="3024931"/>
            <a:chExt cx="898166" cy="308854"/>
          </a:xfrm>
        </p:grpSpPr>
        <p:sp>
          <p:nvSpPr>
            <p:cNvPr id="1492" name="Google Shape;1492;p10"/>
            <p:cNvSpPr/>
            <p:nvPr/>
          </p:nvSpPr>
          <p:spPr>
            <a:xfrm rot="10800000" flipH="1">
              <a:off x="2662867" y="3024931"/>
              <a:ext cx="775065" cy="308854"/>
            </a:xfrm>
            <a:custGeom>
              <a:avLst/>
              <a:gdLst/>
              <a:ahLst/>
              <a:cxnLst/>
              <a:rect l="l" t="t" r="r" b="b"/>
              <a:pathLst>
                <a:path w="793" h="316" extrusionOk="0">
                  <a:moveTo>
                    <a:pt x="717" y="62"/>
                  </a:moveTo>
                  <a:lnTo>
                    <a:pt x="668" y="0"/>
                  </a:lnTo>
                  <a:lnTo>
                    <a:pt x="668" y="62"/>
                  </a:lnTo>
                  <a:lnTo>
                    <a:pt x="0" y="62"/>
                  </a:lnTo>
                  <a:lnTo>
                    <a:pt x="76" y="157"/>
                  </a:lnTo>
                  <a:lnTo>
                    <a:pt x="0" y="252"/>
                  </a:lnTo>
                  <a:lnTo>
                    <a:pt x="668" y="252"/>
                  </a:lnTo>
                  <a:lnTo>
                    <a:pt x="668" y="316"/>
                  </a:lnTo>
                  <a:lnTo>
                    <a:pt x="717" y="252"/>
                  </a:lnTo>
                  <a:lnTo>
                    <a:pt x="793" y="157"/>
                  </a:lnTo>
                  <a:lnTo>
                    <a:pt x="717" y="62"/>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93" name="Google Shape;1493;p10"/>
            <p:cNvSpPr/>
            <p:nvPr/>
          </p:nvSpPr>
          <p:spPr>
            <a:xfrm rot="10800000" flipH="1">
              <a:off x="2539766" y="3087474"/>
              <a:ext cx="653839" cy="185718"/>
            </a:xfrm>
            <a:custGeom>
              <a:avLst/>
              <a:gdLst/>
              <a:ahLst/>
              <a:cxnLst/>
              <a:rect l="l" t="t" r="r" b="b"/>
              <a:pathLst>
                <a:path w="10006" h="10000" extrusionOk="0">
                  <a:moveTo>
                    <a:pt x="9992" y="10000"/>
                  </a:moveTo>
                  <a:cubicBezTo>
                    <a:pt x="10026" y="7376"/>
                    <a:pt x="9987" y="4129"/>
                    <a:pt x="9992" y="0"/>
                  </a:cubicBezTo>
                  <a:lnTo>
                    <a:pt x="0" y="0"/>
                  </a:lnTo>
                  <a:lnTo>
                    <a:pt x="0" y="10000"/>
                  </a:lnTo>
                  <a:lnTo>
                    <a:pt x="9992" y="10000"/>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494" name="Google Shape;1494;p10"/>
          <p:cNvSpPr/>
          <p:nvPr/>
        </p:nvSpPr>
        <p:spPr>
          <a:xfrm rot="5400000">
            <a:off x="1871534" y="808157"/>
            <a:ext cx="261792" cy="2871004"/>
          </a:xfrm>
          <a:prstGeom prst="leftBrace">
            <a:avLst>
              <a:gd name="adj1" fmla="val 0"/>
              <a:gd name="adj2" fmla="val 50000"/>
            </a:avLst>
          </a:prstGeom>
          <a:noFill/>
          <a:ln w="9525" cap="flat"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95" name="Google Shape;1495;p10"/>
          <p:cNvSpPr/>
          <p:nvPr/>
        </p:nvSpPr>
        <p:spPr>
          <a:xfrm rot="5400000">
            <a:off x="6166459" y="-518457"/>
            <a:ext cx="294131" cy="5537522"/>
          </a:xfrm>
          <a:prstGeom prst="leftBrace">
            <a:avLst>
              <a:gd name="adj1" fmla="val 0"/>
              <a:gd name="adj2" fmla="val 50000"/>
            </a:avLst>
          </a:prstGeom>
          <a:noFill/>
          <a:ln w="9525" cap="flat"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96" name="Google Shape;1496;p10"/>
          <p:cNvSpPr/>
          <p:nvPr/>
        </p:nvSpPr>
        <p:spPr>
          <a:xfrm rot="5400000">
            <a:off x="10331249" y="1071120"/>
            <a:ext cx="256479" cy="2339765"/>
          </a:xfrm>
          <a:prstGeom prst="leftBrace">
            <a:avLst>
              <a:gd name="adj1" fmla="val 0"/>
              <a:gd name="adj2" fmla="val 50000"/>
            </a:avLst>
          </a:prstGeom>
          <a:noFill/>
          <a:ln w="9525" cap="flat"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497" name="Google Shape;1497;p10"/>
          <p:cNvPicPr preferRelativeResize="0"/>
          <p:nvPr/>
        </p:nvPicPr>
        <p:blipFill rotWithShape="1">
          <a:blip r:embed="rId7">
            <a:alphaModFix/>
          </a:blip>
          <a:srcRect/>
          <a:stretch/>
        </p:blipFill>
        <p:spPr>
          <a:xfrm>
            <a:off x="9499584" y="2403153"/>
            <a:ext cx="518983" cy="518983"/>
          </a:xfrm>
          <a:prstGeom prst="rect">
            <a:avLst/>
          </a:prstGeom>
          <a:noFill/>
          <a:ln>
            <a:noFill/>
          </a:ln>
        </p:spPr>
      </p:pic>
      <p:pic>
        <p:nvPicPr>
          <p:cNvPr id="1499" name="Google Shape;1499;p10"/>
          <p:cNvPicPr preferRelativeResize="0"/>
          <p:nvPr/>
        </p:nvPicPr>
        <p:blipFill rotWithShape="1">
          <a:blip r:embed="rId8">
            <a:alphaModFix/>
          </a:blip>
          <a:srcRect/>
          <a:stretch/>
        </p:blipFill>
        <p:spPr>
          <a:xfrm>
            <a:off x="11019998" y="2417712"/>
            <a:ext cx="522548" cy="522548"/>
          </a:xfrm>
          <a:prstGeom prst="rect">
            <a:avLst/>
          </a:prstGeom>
          <a:noFill/>
          <a:ln>
            <a:noFill/>
          </a:ln>
        </p:spPr>
      </p:pic>
      <p:sp>
        <p:nvSpPr>
          <p:cNvPr id="2" name="Google Shape;1485;p10">
            <a:extLst>
              <a:ext uri="{FF2B5EF4-FFF2-40B4-BE49-F238E27FC236}">
                <a16:creationId xmlns:a16="http://schemas.microsoft.com/office/drawing/2014/main" id="{9C25C3BD-A827-CEB0-A866-F5B9FF670735}"/>
              </a:ext>
            </a:extLst>
          </p:cNvPr>
          <p:cNvSpPr txBox="1"/>
          <p:nvPr/>
        </p:nvSpPr>
        <p:spPr>
          <a:xfrm>
            <a:off x="5946087" y="3717096"/>
            <a:ext cx="952556" cy="258532"/>
          </a:xfrm>
          <a:prstGeom prst="rect">
            <a:avLst/>
          </a:prstGeom>
          <a:noFill/>
          <a:ln>
            <a:noFill/>
          </a:ln>
        </p:spPr>
        <p:txBody>
          <a:bodyPr spcFirstLastPara="1" wrap="square" lIns="0" tIns="0" rIns="0" bIns="0" anchor="t" anchorCtr="0">
            <a:spAutoFit/>
          </a:bodyPr>
          <a:lstStyle/>
          <a:p>
            <a:pPr marL="0" marR="0" lvl="1" indent="0" algn="ctr" rtl="0">
              <a:lnSpc>
                <a:spcPct val="80000"/>
              </a:lnSpc>
              <a:spcBef>
                <a:spcPts val="0"/>
              </a:spcBef>
              <a:spcAft>
                <a:spcPts val="0"/>
              </a:spcAft>
              <a:buClr>
                <a:schemeClr val="dk2"/>
              </a:buClr>
              <a:buSzPts val="1080"/>
              <a:buFont typeface="Noto Sans Symbols"/>
              <a:buNone/>
            </a:pPr>
            <a:r>
              <a:rPr lang="en-US" sz="1050" b="1" i="0" u="none" strike="noStrike" cap="none" dirty="0">
                <a:solidFill>
                  <a:srgbClr val="000000"/>
                </a:solidFill>
                <a:latin typeface="Calibri"/>
                <a:ea typeface="Calibri"/>
                <a:cs typeface="Calibri"/>
                <a:sym typeface="Calibri"/>
              </a:rPr>
              <a:t>Delivery Management</a:t>
            </a:r>
            <a:endParaRPr sz="1100" b="0" i="0" u="none" strike="noStrike" cap="none" dirty="0">
              <a:solidFill>
                <a:srgbClr val="000000"/>
              </a:solidFill>
              <a:latin typeface="Arial"/>
              <a:ea typeface="Arial"/>
              <a:cs typeface="Arial"/>
              <a:sym typeface="Arial"/>
            </a:endParaRPr>
          </a:p>
        </p:txBody>
      </p:sp>
      <p:sp>
        <p:nvSpPr>
          <p:cNvPr id="4" name="TextBox 3">
            <a:extLst>
              <a:ext uri="{FF2B5EF4-FFF2-40B4-BE49-F238E27FC236}">
                <a16:creationId xmlns:a16="http://schemas.microsoft.com/office/drawing/2014/main" id="{226CE38A-E543-9603-3466-B02484C06325}"/>
              </a:ext>
            </a:extLst>
          </p:cNvPr>
          <p:cNvSpPr txBox="1"/>
          <p:nvPr/>
        </p:nvSpPr>
        <p:spPr>
          <a:xfrm>
            <a:off x="5559782" y="4520381"/>
            <a:ext cx="2274375" cy="1346010"/>
          </a:xfrm>
          <a:prstGeom prst="rect">
            <a:avLst/>
          </a:prstGeom>
          <a:noFill/>
        </p:spPr>
        <p:txBody>
          <a:bodyPr wrap="square">
            <a:spAutoFit/>
          </a:bodyPr>
          <a:lstStyle/>
          <a:p>
            <a:pPr marR="0" lvl="1" algn="l" rtl="0">
              <a:lnSpc>
                <a:spcPct val="90000"/>
              </a:lnSpc>
              <a:spcBef>
                <a:spcPts val="500"/>
              </a:spcBef>
              <a:spcAft>
                <a:spcPts val="0"/>
              </a:spcAft>
              <a:buClr>
                <a:schemeClr val="dk2"/>
              </a:buClr>
              <a:buSzPts val="1080"/>
            </a:pPr>
            <a:r>
              <a:rPr lang="en-US" sz="1200" b="1" i="0" u="none" strike="noStrike" cap="none" dirty="0">
                <a:solidFill>
                  <a:srgbClr val="222222"/>
                </a:solidFill>
                <a:latin typeface="Calibri"/>
                <a:ea typeface="Calibri"/>
                <a:cs typeface="Calibri"/>
                <a:sym typeface="Calibri"/>
              </a:rPr>
              <a:t>Exploratory Analysis </a:t>
            </a:r>
            <a:endParaRPr lang="en-US" sz="1400" b="0" i="0" u="none" strike="noStrike" cap="none" dirty="0">
              <a:solidFill>
                <a:srgbClr val="000000"/>
              </a:solidFill>
              <a:latin typeface="Arial"/>
              <a:ea typeface="Arial"/>
              <a:cs typeface="Arial"/>
              <a:sym typeface="Arial"/>
            </a:endParaRPr>
          </a:p>
          <a:p>
            <a:pPr marL="176213" lvl="1" indent="-176213">
              <a:lnSpc>
                <a:spcPct val="90000"/>
              </a:lnSpc>
              <a:spcBef>
                <a:spcPts val="500"/>
              </a:spcBef>
              <a:buClr>
                <a:schemeClr val="dk2"/>
              </a:buClr>
              <a:buSzPts val="1080"/>
              <a:buFont typeface="Noto Sans Symbols"/>
              <a:buChar char="▪"/>
            </a:pPr>
            <a:r>
              <a:rPr lang="en-US" sz="1200" dirty="0">
                <a:solidFill>
                  <a:schemeClr val="dk1"/>
                </a:solidFill>
                <a:latin typeface="Calibri"/>
                <a:ea typeface="Calibri"/>
                <a:cs typeface="Calibri"/>
                <a:sym typeface="Calibri"/>
              </a:rPr>
              <a:t>Descriptive analysis </a:t>
            </a:r>
          </a:p>
          <a:p>
            <a:pPr marL="176213" lvl="1" indent="-176213">
              <a:lnSpc>
                <a:spcPct val="90000"/>
              </a:lnSpc>
              <a:spcBef>
                <a:spcPts val="500"/>
              </a:spcBef>
              <a:buClr>
                <a:schemeClr val="dk2"/>
              </a:buClr>
              <a:buSzPts val="1080"/>
              <a:buFont typeface="Noto Sans Symbols"/>
              <a:buChar char="▪"/>
            </a:pPr>
            <a:r>
              <a:rPr lang="en-US" sz="1200" dirty="0">
                <a:solidFill>
                  <a:schemeClr val="dk1"/>
                </a:solidFill>
                <a:latin typeface="Calibri"/>
                <a:ea typeface="Calibri"/>
                <a:cs typeface="Calibri"/>
                <a:sym typeface="Calibri"/>
              </a:rPr>
              <a:t>Data visualization</a:t>
            </a:r>
          </a:p>
          <a:p>
            <a:pPr marL="176213" lvl="1" indent="-176213">
              <a:lnSpc>
                <a:spcPct val="90000"/>
              </a:lnSpc>
              <a:spcBef>
                <a:spcPts val="500"/>
              </a:spcBef>
              <a:buClr>
                <a:schemeClr val="dk2"/>
              </a:buClr>
              <a:buSzPts val="1080"/>
              <a:buFont typeface="Noto Sans Symbols"/>
              <a:buChar char="▪"/>
            </a:pPr>
            <a:r>
              <a:rPr lang="en-US" sz="1200" dirty="0">
                <a:solidFill>
                  <a:schemeClr val="dk1"/>
                </a:solidFill>
                <a:latin typeface="Calibri"/>
                <a:ea typeface="Calibri"/>
                <a:cs typeface="Calibri"/>
                <a:sym typeface="Calibri"/>
              </a:rPr>
              <a:t>KPIs </a:t>
            </a:r>
          </a:p>
          <a:p>
            <a:pPr marL="176213" lvl="1" indent="-176213">
              <a:lnSpc>
                <a:spcPct val="90000"/>
              </a:lnSpc>
              <a:spcBef>
                <a:spcPts val="500"/>
              </a:spcBef>
              <a:buClr>
                <a:schemeClr val="dk2"/>
              </a:buClr>
              <a:buSzPts val="1080"/>
              <a:buFont typeface="Noto Sans Symbols"/>
              <a:buChar char="▪"/>
            </a:pPr>
            <a:r>
              <a:rPr lang="en-US" sz="1200" dirty="0">
                <a:solidFill>
                  <a:schemeClr val="dk1"/>
                </a:solidFill>
                <a:latin typeface="Calibri"/>
                <a:ea typeface="Calibri"/>
                <a:cs typeface="Calibri"/>
                <a:sym typeface="Calibri"/>
              </a:rPr>
              <a:t>Data story telling</a:t>
            </a:r>
          </a:p>
          <a:p>
            <a:pPr marL="268288" marR="0" lvl="2" indent="-134938" algn="l" rtl="0">
              <a:lnSpc>
                <a:spcPct val="90000"/>
              </a:lnSpc>
              <a:spcBef>
                <a:spcPts val="0"/>
              </a:spcBef>
              <a:spcAft>
                <a:spcPts val="0"/>
              </a:spcAft>
              <a:buClr>
                <a:schemeClr val="dk2"/>
              </a:buClr>
              <a:buSzPts val="1200"/>
              <a:buFont typeface="Calibri"/>
              <a:buChar char="−"/>
            </a:pPr>
            <a:endParaRPr lang="en-US" sz="1200" dirty="0">
              <a:solidFill>
                <a:schemeClr val="dk1"/>
              </a:solidFill>
              <a:latin typeface="Calibri"/>
              <a:ea typeface="Calibri"/>
              <a:cs typeface="Calibri"/>
              <a:sym typeface="Calibri"/>
            </a:endParaRPr>
          </a:p>
        </p:txBody>
      </p:sp>
      <p:sp>
        <p:nvSpPr>
          <p:cNvPr id="5" name="Google Shape;1400;p8">
            <a:extLst>
              <a:ext uri="{FF2B5EF4-FFF2-40B4-BE49-F238E27FC236}">
                <a16:creationId xmlns:a16="http://schemas.microsoft.com/office/drawing/2014/main" id="{FBF1FD8F-FF94-B39F-7C04-590AB4DD0B1B}"/>
              </a:ext>
            </a:extLst>
          </p:cNvPr>
          <p:cNvSpPr txBox="1"/>
          <p:nvPr/>
        </p:nvSpPr>
        <p:spPr>
          <a:xfrm>
            <a:off x="10976464" y="292682"/>
            <a:ext cx="533800" cy="153888"/>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dirty="0">
                <a:solidFill>
                  <a:schemeClr val="bg2"/>
                </a:solidFill>
                <a:latin typeface="Franklin Gothic"/>
                <a:ea typeface="Franklin Gothic"/>
                <a:cs typeface="Franklin Gothic"/>
                <a:sym typeface="Franklin Gothic"/>
              </a:rPr>
              <a:t>Analytics</a:t>
            </a:r>
            <a:endParaRPr sz="1400" b="0" i="0" u="none" strike="noStrike" cap="none" dirty="0">
              <a:solidFill>
                <a:schemeClr val="bg2"/>
              </a:solidFill>
              <a:latin typeface="Arial"/>
              <a:ea typeface="Arial"/>
              <a:cs typeface="Arial"/>
              <a:sym typeface="Arial"/>
            </a:endParaRPr>
          </a:p>
        </p:txBody>
      </p:sp>
      <p:grpSp>
        <p:nvGrpSpPr>
          <p:cNvPr id="6" name="Group 5">
            <a:extLst>
              <a:ext uri="{FF2B5EF4-FFF2-40B4-BE49-F238E27FC236}">
                <a16:creationId xmlns:a16="http://schemas.microsoft.com/office/drawing/2014/main" id="{09AFCC96-BE83-542B-9CCC-87080BB160F3}"/>
              </a:ext>
            </a:extLst>
          </p:cNvPr>
          <p:cNvGrpSpPr/>
          <p:nvPr/>
        </p:nvGrpSpPr>
        <p:grpSpPr>
          <a:xfrm>
            <a:off x="11557889" y="135255"/>
            <a:ext cx="468744" cy="468742"/>
            <a:chOff x="11706853" y="287655"/>
            <a:chExt cx="468744" cy="468742"/>
          </a:xfrm>
        </p:grpSpPr>
        <p:sp>
          <p:nvSpPr>
            <p:cNvPr id="7" name="Google Shape;1401;p8">
              <a:extLst>
                <a:ext uri="{FF2B5EF4-FFF2-40B4-BE49-F238E27FC236}">
                  <a16:creationId xmlns:a16="http://schemas.microsoft.com/office/drawing/2014/main" id="{DBC55637-64F3-FE48-3197-779EE0DFB763}"/>
                </a:ext>
              </a:extLst>
            </p:cNvPr>
            <p:cNvSpPr/>
            <p:nvPr/>
          </p:nvSpPr>
          <p:spPr>
            <a:xfrm>
              <a:off x="11706853" y="287655"/>
              <a:ext cx="468744" cy="468742"/>
            </a:xfrm>
            <a:prstGeom prst="ellipse">
              <a:avLst/>
            </a:prstGeom>
            <a:solidFill>
              <a:schemeClr val="bg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pic>
          <p:nvPicPr>
            <p:cNvPr id="8" name="Picture 7">
              <a:extLst>
                <a:ext uri="{FF2B5EF4-FFF2-40B4-BE49-F238E27FC236}">
                  <a16:creationId xmlns:a16="http://schemas.microsoft.com/office/drawing/2014/main" id="{E5781A32-B104-0582-4EE6-EBD87CB9F266}"/>
                </a:ext>
              </a:extLst>
            </p:cNvPr>
            <p:cNvPicPr>
              <a:picLocks noChangeAspect="1"/>
            </p:cNvPicPr>
            <p:nvPr/>
          </p:nvPicPr>
          <p:blipFill>
            <a:blip r:embed="rId9">
              <a:lum bright="70000" contrast="-70000"/>
              <a:alphaModFix/>
            </a:blip>
            <a:stretch>
              <a:fillRect/>
            </a:stretch>
          </p:blipFill>
          <p:spPr>
            <a:xfrm>
              <a:off x="11795074" y="375875"/>
              <a:ext cx="292302" cy="292302"/>
            </a:xfrm>
            <a:prstGeom prst="rect">
              <a:avLst/>
            </a:prstGeom>
            <a:noFill/>
            <a:ln>
              <a:noFill/>
            </a:ln>
          </p:spPr>
        </p:pic>
      </p:grpSp>
      <p:pic>
        <p:nvPicPr>
          <p:cNvPr id="9" name="Picture 8">
            <a:extLst>
              <a:ext uri="{FF2B5EF4-FFF2-40B4-BE49-F238E27FC236}">
                <a16:creationId xmlns:a16="http://schemas.microsoft.com/office/drawing/2014/main" id="{1747BE8D-D81A-1367-4689-8CBF95E5F43C}"/>
              </a:ext>
            </a:extLst>
          </p:cNvPr>
          <p:cNvPicPr>
            <a:picLocks noChangeAspect="1"/>
          </p:cNvPicPr>
          <p:nvPr/>
        </p:nvPicPr>
        <p:blipFill>
          <a:blip r:embed="rId9">
            <a:alphaModFix/>
            <a:duotone>
              <a:schemeClr val="accent2">
                <a:shade val="45000"/>
                <a:satMod val="135000"/>
              </a:schemeClr>
              <a:prstClr val="white"/>
            </a:duotone>
          </a:blip>
          <a:stretch>
            <a:fillRect/>
          </a:stretch>
        </p:blipFill>
        <p:spPr>
          <a:xfrm>
            <a:off x="3610028" y="2408792"/>
            <a:ext cx="450886" cy="450886"/>
          </a:xfrm>
          <a:prstGeom prst="rect">
            <a:avLst/>
          </a:prstGeom>
          <a:noFill/>
          <a:ln>
            <a:noFill/>
          </a:ln>
        </p:spPr>
      </p:pic>
    </p:spTree>
    <p:extLst>
      <p:ext uri="{BB962C8B-B14F-4D97-AF65-F5344CB8AC3E}">
        <p14:creationId xmlns:p14="http://schemas.microsoft.com/office/powerpoint/2010/main" val="62947794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150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62C7537-78B0-DCDB-5DF2-253369649C3A}"/>
              </a:ext>
            </a:extLst>
          </p:cNvPr>
          <p:cNvGraphicFramePr>
            <a:graphicFrameLocks noChangeAspect="1"/>
          </p:cNvGraphicFramePr>
          <p:nvPr>
            <p:custDataLst>
              <p:tags r:id="rId1"/>
            </p:custDataLst>
            <p:extLst>
              <p:ext uri="{D42A27DB-BD31-4B8C-83A1-F6EECF244321}">
                <p14:modId xmlns:p14="http://schemas.microsoft.com/office/powerpoint/2010/main" val="4204671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14" name="Google Shape;1514;p2"/>
          <p:cNvSpPr txBox="1">
            <a:spLocks noGrp="1"/>
          </p:cNvSpPr>
          <p:nvPr>
            <p:ph type="title"/>
          </p:nvPr>
        </p:nvSpPr>
        <p:spPr>
          <a:xfrm>
            <a:off x="53181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SzPts val="3200"/>
              <a:buNone/>
            </a:pPr>
            <a:r>
              <a:rPr lang="en-US" dirty="0"/>
              <a:t>Technologies Infomineo can be handling  </a:t>
            </a:r>
            <a:endParaRPr dirty="0"/>
          </a:p>
        </p:txBody>
      </p:sp>
      <p:sp>
        <p:nvSpPr>
          <p:cNvPr id="23" name="Rectangle 22">
            <a:extLst>
              <a:ext uri="{FF2B5EF4-FFF2-40B4-BE49-F238E27FC236}">
                <a16:creationId xmlns:a16="http://schemas.microsoft.com/office/drawing/2014/main" id="{A4EB98D7-F262-668C-0805-399D3EFE239C}"/>
              </a:ext>
            </a:extLst>
          </p:cNvPr>
          <p:cNvSpPr/>
          <p:nvPr/>
        </p:nvSpPr>
        <p:spPr>
          <a:xfrm>
            <a:off x="531813" y="1323975"/>
            <a:ext cx="1154112" cy="443198"/>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Calibri" panose="020F0502020204030204" pitchFamily="34" charset="0"/>
                <a:ea typeface="Calibri" panose="020F0502020204030204" pitchFamily="34" charset="0"/>
                <a:cs typeface="Calibri" panose="020F0502020204030204" pitchFamily="34" charset="0"/>
              </a:rPr>
              <a:t>Capabilities we already have</a:t>
            </a:r>
          </a:p>
        </p:txBody>
      </p:sp>
      <p:sp>
        <p:nvSpPr>
          <p:cNvPr id="24" name="Rectangle 23">
            <a:extLst>
              <a:ext uri="{FF2B5EF4-FFF2-40B4-BE49-F238E27FC236}">
                <a16:creationId xmlns:a16="http://schemas.microsoft.com/office/drawing/2014/main" id="{0644558D-E8C7-9347-B9DD-8BF8C411E3BE}"/>
              </a:ext>
            </a:extLst>
          </p:cNvPr>
          <p:cNvSpPr/>
          <p:nvPr/>
        </p:nvSpPr>
        <p:spPr>
          <a:xfrm>
            <a:off x="527693" y="1919002"/>
            <a:ext cx="1154112" cy="443198"/>
          </a:xfrm>
          <a:prstGeom prst="rect">
            <a:avLst/>
          </a:prstGeom>
          <a:solidFill>
            <a:schemeClr val="bg2">
              <a:lumMod val="60000"/>
              <a:lumOff val="40000"/>
            </a:schemeClr>
          </a:solidFill>
          <a:ln>
            <a:solidFill>
              <a:schemeClr val="bg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100" dirty="0">
                <a:latin typeface="Calibri" panose="020F0502020204030204" pitchFamily="34" charset="0"/>
                <a:ea typeface="Calibri" panose="020F0502020204030204" pitchFamily="34" charset="0"/>
                <a:cs typeface="Calibri" panose="020F0502020204030204" pitchFamily="34" charset="0"/>
              </a:rPr>
              <a:t>Capabilities we are building</a:t>
            </a:r>
          </a:p>
        </p:txBody>
      </p:sp>
      <p:grpSp>
        <p:nvGrpSpPr>
          <p:cNvPr id="33" name="Group 32">
            <a:extLst>
              <a:ext uri="{FF2B5EF4-FFF2-40B4-BE49-F238E27FC236}">
                <a16:creationId xmlns:a16="http://schemas.microsoft.com/office/drawing/2014/main" id="{639BC620-67A2-BBDE-98C5-808BCE5D7855}"/>
              </a:ext>
            </a:extLst>
          </p:cNvPr>
          <p:cNvGrpSpPr/>
          <p:nvPr/>
        </p:nvGrpSpPr>
        <p:grpSpPr>
          <a:xfrm>
            <a:off x="1853049" y="1262430"/>
            <a:ext cx="8683331" cy="5373371"/>
            <a:chOff x="1853049" y="1262430"/>
            <a:chExt cx="8683331" cy="5373371"/>
          </a:xfrm>
        </p:grpSpPr>
        <p:grpSp>
          <p:nvGrpSpPr>
            <p:cNvPr id="8" name="Group 7">
              <a:extLst>
                <a:ext uri="{FF2B5EF4-FFF2-40B4-BE49-F238E27FC236}">
                  <a16:creationId xmlns:a16="http://schemas.microsoft.com/office/drawing/2014/main" id="{3E674D1C-448F-3CD4-536D-44E2DCBAC8C7}"/>
                </a:ext>
              </a:extLst>
            </p:cNvPr>
            <p:cNvGrpSpPr/>
            <p:nvPr/>
          </p:nvGrpSpPr>
          <p:grpSpPr>
            <a:xfrm>
              <a:off x="1853049" y="1369305"/>
              <a:ext cx="8683331" cy="5266496"/>
              <a:chOff x="1845346" y="1803048"/>
              <a:chExt cx="8283097" cy="4832753"/>
            </a:xfrm>
          </p:grpSpPr>
          <p:pic>
            <p:nvPicPr>
              <p:cNvPr id="3" name="Picture 2">
                <a:extLst>
                  <a:ext uri="{FF2B5EF4-FFF2-40B4-BE49-F238E27FC236}">
                    <a16:creationId xmlns:a16="http://schemas.microsoft.com/office/drawing/2014/main" id="{3E5A7595-43C4-35C9-69ED-351F9F7C481C}"/>
                  </a:ext>
                </a:extLst>
              </p:cNvPr>
              <p:cNvPicPr>
                <a:picLocks noChangeAspect="1"/>
              </p:cNvPicPr>
              <p:nvPr/>
            </p:nvPicPr>
            <p:blipFill rotWithShape="1">
              <a:blip r:embed="rId6"/>
              <a:srcRect t="13041"/>
              <a:stretch/>
            </p:blipFill>
            <p:spPr>
              <a:xfrm>
                <a:off x="1921546" y="1803048"/>
                <a:ext cx="7971276" cy="4775604"/>
              </a:xfrm>
              <a:prstGeom prst="rect">
                <a:avLst/>
              </a:prstGeom>
            </p:spPr>
          </p:pic>
          <p:sp>
            <p:nvSpPr>
              <p:cNvPr id="6" name="Rectangle 5">
                <a:extLst>
                  <a:ext uri="{FF2B5EF4-FFF2-40B4-BE49-F238E27FC236}">
                    <a16:creationId xmlns:a16="http://schemas.microsoft.com/office/drawing/2014/main" id="{23EADA40-A2A3-D316-0121-8A451EF3A456}"/>
                  </a:ext>
                </a:extLst>
              </p:cNvPr>
              <p:cNvSpPr/>
              <p:nvPr/>
            </p:nvSpPr>
            <p:spPr>
              <a:xfrm>
                <a:off x="1845346" y="5404873"/>
                <a:ext cx="1911157" cy="11737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3352478-4542-3724-C0B1-FA14F7BD98EB}"/>
                  </a:ext>
                </a:extLst>
              </p:cNvPr>
              <p:cNvSpPr/>
              <p:nvPr/>
            </p:nvSpPr>
            <p:spPr>
              <a:xfrm>
                <a:off x="8217286" y="5462023"/>
                <a:ext cx="1911157" cy="11737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0" name="Picture 9">
              <a:extLst>
                <a:ext uri="{FF2B5EF4-FFF2-40B4-BE49-F238E27FC236}">
                  <a16:creationId xmlns:a16="http://schemas.microsoft.com/office/drawing/2014/main" id="{93E6ED2A-FA69-A044-211C-D32777EAE4FC}"/>
                </a:ext>
              </a:extLst>
            </p:cNvPr>
            <p:cNvPicPr>
              <a:picLocks noChangeAspect="1"/>
            </p:cNvPicPr>
            <p:nvPr/>
          </p:nvPicPr>
          <p:blipFill>
            <a:blip r:embed="rId7"/>
            <a:stretch>
              <a:fillRect/>
            </a:stretch>
          </p:blipFill>
          <p:spPr>
            <a:xfrm>
              <a:off x="9762071" y="5559698"/>
              <a:ext cx="774309" cy="410668"/>
            </a:xfrm>
            <a:prstGeom prst="rect">
              <a:avLst/>
            </a:prstGeom>
          </p:spPr>
        </p:pic>
        <p:sp>
          <p:nvSpPr>
            <p:cNvPr id="13" name="Rectangle 12">
              <a:extLst>
                <a:ext uri="{FF2B5EF4-FFF2-40B4-BE49-F238E27FC236}">
                  <a16:creationId xmlns:a16="http://schemas.microsoft.com/office/drawing/2014/main" id="{21C9F787-E3CC-3C39-F2BC-95BA7EC5B550}"/>
                </a:ext>
              </a:extLst>
            </p:cNvPr>
            <p:cNvSpPr/>
            <p:nvPr/>
          </p:nvSpPr>
          <p:spPr>
            <a:xfrm>
              <a:off x="3113816" y="1675060"/>
              <a:ext cx="1258140" cy="37367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7C3846DD-0724-BB19-C82B-78B59662A4EE}"/>
                </a:ext>
              </a:extLst>
            </p:cNvPr>
            <p:cNvSpPr/>
            <p:nvPr/>
          </p:nvSpPr>
          <p:spPr>
            <a:xfrm>
              <a:off x="1853049" y="2222291"/>
              <a:ext cx="1258140" cy="37367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A526364-7B53-4631-76D0-04CC4B70FA2C}"/>
                </a:ext>
              </a:extLst>
            </p:cNvPr>
            <p:cNvSpPr/>
            <p:nvPr/>
          </p:nvSpPr>
          <p:spPr>
            <a:xfrm>
              <a:off x="6309092" y="1262430"/>
              <a:ext cx="698967" cy="85115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E19EFCE4-2534-2C1B-D59C-73A2C4C13EFF}"/>
                </a:ext>
              </a:extLst>
            </p:cNvPr>
            <p:cNvSpPr/>
            <p:nvPr/>
          </p:nvSpPr>
          <p:spPr>
            <a:xfrm>
              <a:off x="8174226" y="1567504"/>
              <a:ext cx="698967" cy="85115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B634CCB5-2972-1D8E-68F0-4DBCC87B1143}"/>
                </a:ext>
              </a:extLst>
            </p:cNvPr>
            <p:cNvSpPr/>
            <p:nvPr/>
          </p:nvSpPr>
          <p:spPr>
            <a:xfrm>
              <a:off x="5129570" y="1624016"/>
              <a:ext cx="1096271" cy="37367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F5BFB5D1-E5DE-8E55-B490-C5AB085B9757}"/>
                </a:ext>
              </a:extLst>
            </p:cNvPr>
            <p:cNvSpPr/>
            <p:nvPr/>
          </p:nvSpPr>
          <p:spPr>
            <a:xfrm>
              <a:off x="9080813" y="2451541"/>
              <a:ext cx="1067662" cy="373676"/>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EA955241-3056-FF47-CF99-5A1E16704FD3}"/>
                </a:ext>
              </a:extLst>
            </p:cNvPr>
            <p:cNvSpPr/>
            <p:nvPr/>
          </p:nvSpPr>
          <p:spPr>
            <a:xfrm>
              <a:off x="8873193" y="4526955"/>
              <a:ext cx="1275282" cy="37367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4B70298-9932-3F03-A092-ECAC93E0C8A7}"/>
                </a:ext>
              </a:extLst>
            </p:cNvPr>
            <p:cNvSpPr/>
            <p:nvPr/>
          </p:nvSpPr>
          <p:spPr>
            <a:xfrm>
              <a:off x="8992655" y="4991158"/>
              <a:ext cx="1155820" cy="373676"/>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BB42FDE-0A65-32AD-1C80-63A36AF695A2}"/>
                </a:ext>
              </a:extLst>
            </p:cNvPr>
            <p:cNvSpPr/>
            <p:nvPr/>
          </p:nvSpPr>
          <p:spPr>
            <a:xfrm>
              <a:off x="7008059" y="1558317"/>
              <a:ext cx="1096271" cy="37367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CEB06008-6C68-0FB1-215C-2F3730B97772}"/>
                </a:ext>
              </a:extLst>
            </p:cNvPr>
            <p:cNvSpPr/>
            <p:nvPr/>
          </p:nvSpPr>
          <p:spPr>
            <a:xfrm>
              <a:off x="9151195" y="2915744"/>
              <a:ext cx="997280" cy="93539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92619D49-866C-35C0-C6B3-5ADAE9E2DB9E}"/>
                </a:ext>
              </a:extLst>
            </p:cNvPr>
            <p:cNvSpPr/>
            <p:nvPr/>
          </p:nvSpPr>
          <p:spPr>
            <a:xfrm>
              <a:off x="1983479" y="3851139"/>
              <a:ext cx="997280" cy="499894"/>
            </a:xfrm>
            <a:prstGeom prst="rect">
              <a:avLst/>
            </a:prstGeom>
            <a:noFill/>
            <a:ln>
              <a:solidFill>
                <a:srgbClr val="0F47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D7E73E4F-6DED-1081-EEE5-68B64381F786}"/>
                </a:ext>
              </a:extLst>
            </p:cNvPr>
            <p:cNvSpPr/>
            <p:nvPr/>
          </p:nvSpPr>
          <p:spPr>
            <a:xfrm>
              <a:off x="2356159" y="4413312"/>
              <a:ext cx="997280" cy="49989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D408BF28-9487-4E7C-3783-3AE9ACA6877F}"/>
                </a:ext>
              </a:extLst>
            </p:cNvPr>
            <p:cNvSpPr/>
            <p:nvPr/>
          </p:nvSpPr>
          <p:spPr>
            <a:xfrm>
              <a:off x="4687324" y="5390837"/>
              <a:ext cx="997280" cy="49989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289DC4E3-957D-3B3F-E858-776248D74F87}"/>
                </a:ext>
              </a:extLst>
            </p:cNvPr>
            <p:cNvSpPr/>
            <p:nvPr/>
          </p:nvSpPr>
          <p:spPr>
            <a:xfrm>
              <a:off x="2225128" y="3141187"/>
              <a:ext cx="459321" cy="597433"/>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F4412FD9-3111-35B8-C92C-42BFB421A46D}"/>
                </a:ext>
              </a:extLst>
            </p:cNvPr>
            <p:cNvSpPr/>
            <p:nvPr/>
          </p:nvSpPr>
          <p:spPr>
            <a:xfrm>
              <a:off x="8033615" y="5423070"/>
              <a:ext cx="459321" cy="597433"/>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EC728BD-6CA1-93C2-B60B-ABE482F568E7}"/>
                </a:ext>
              </a:extLst>
            </p:cNvPr>
            <p:cNvSpPr/>
            <p:nvPr/>
          </p:nvSpPr>
          <p:spPr>
            <a:xfrm>
              <a:off x="8992655" y="4064246"/>
              <a:ext cx="1155820" cy="373676"/>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56184534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635"/>
        <p:cNvGrpSpPr/>
        <p:nvPr/>
      </p:nvGrpSpPr>
      <p:grpSpPr>
        <a:xfrm>
          <a:off x="0" y="0"/>
          <a:ext cx="0" cy="0"/>
          <a:chOff x="0" y="0"/>
          <a:chExt cx="0" cy="0"/>
        </a:xfrm>
      </p:grpSpPr>
      <p:sp>
        <p:nvSpPr>
          <p:cNvPr id="1636" name="Google Shape;1636;p75"/>
          <p:cNvSpPr txBox="1"/>
          <p:nvPr/>
        </p:nvSpPr>
        <p:spPr>
          <a:xfrm>
            <a:off x="142504" y="4011287"/>
            <a:ext cx="2732556" cy="169277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8E8E8E"/>
              </a:buClr>
              <a:buSzPts val="1200"/>
              <a:buFont typeface="Arial"/>
              <a:buNone/>
            </a:pPr>
            <a:r>
              <a:rPr lang="en-US" sz="1200" b="0" i="1" u="none" strike="noStrike" cap="none" dirty="0">
                <a:solidFill>
                  <a:srgbClr val="8E8E8E"/>
                </a:solidFill>
                <a:latin typeface="Calibri"/>
                <a:ea typeface="Calibri"/>
                <a:cs typeface="Calibri"/>
                <a:sym typeface="Calibri"/>
              </a:rPr>
              <a:t>“I was really impressed by the responsiveness of the team : they came up with a first and quite impressive dashboard proposition within only a couple of days. I also really appreciated the quality of the work; it was really helpful for us to identify the data cleansing needed in our ERP</a:t>
            </a:r>
            <a:r>
              <a:rPr lang="en-US" sz="1200" b="0" i="0" u="none" strike="noStrike" cap="none" dirty="0">
                <a:solidFill>
                  <a:srgbClr val="8E8E8E"/>
                </a:solidFill>
                <a:latin typeface="Calibri"/>
                <a:ea typeface="Calibri"/>
                <a:cs typeface="Calibri"/>
                <a:sym typeface="Calibri"/>
              </a:rPr>
              <a:t>.</a:t>
            </a:r>
            <a:r>
              <a:rPr lang="en-US" sz="1200" b="0" i="1" u="none" strike="noStrike" cap="none" dirty="0">
                <a:solidFill>
                  <a:srgbClr val="8E8E8E"/>
                </a:solidFill>
                <a:latin typeface="Calibri"/>
                <a:ea typeface="Calibri"/>
                <a:cs typeface="Calibri"/>
                <a:sym typeface="Calibri"/>
              </a:rPr>
              <a:t>”</a:t>
            </a:r>
          </a:p>
          <a:p>
            <a:pPr marL="0" marR="0" lvl="0" indent="0" algn="l" rtl="0">
              <a:lnSpc>
                <a:spcPct val="100000"/>
              </a:lnSpc>
              <a:spcBef>
                <a:spcPts val="0"/>
              </a:spcBef>
              <a:spcAft>
                <a:spcPts val="0"/>
              </a:spcAft>
              <a:buClr>
                <a:srgbClr val="8E8E8E"/>
              </a:buClr>
              <a:buSzPts val="1200"/>
              <a:buFont typeface="Arial"/>
              <a:buNone/>
            </a:pPr>
            <a:endParaRPr sz="1400" b="0" i="0" u="none" strike="noStrike" cap="none" dirty="0">
              <a:solidFill>
                <a:srgbClr val="000000"/>
              </a:solidFill>
              <a:latin typeface="Arial"/>
              <a:ea typeface="Arial"/>
              <a:cs typeface="Arial"/>
              <a:sym typeface="Arial"/>
            </a:endParaRPr>
          </a:p>
          <a:p>
            <a:pPr marL="0" marR="0" lvl="0" indent="0" algn="r" rtl="0">
              <a:lnSpc>
                <a:spcPct val="100000"/>
              </a:lnSpc>
              <a:spcBef>
                <a:spcPts val="0"/>
              </a:spcBef>
              <a:spcAft>
                <a:spcPts val="0"/>
              </a:spcAft>
              <a:buClr>
                <a:srgbClr val="8E8E8E"/>
              </a:buClr>
              <a:buSzPts val="1200"/>
              <a:buFont typeface="Arial"/>
              <a:buNone/>
            </a:pPr>
            <a:r>
              <a:rPr lang="en-US" sz="1200" b="1" i="1" u="none" strike="noStrike" cap="none" dirty="0">
                <a:solidFill>
                  <a:srgbClr val="8E8E8E"/>
                </a:solidFill>
                <a:latin typeface="Calibri"/>
                <a:ea typeface="Calibri"/>
                <a:cs typeface="Calibri"/>
                <a:sym typeface="Calibri"/>
              </a:rPr>
              <a:t> ─ </a:t>
            </a:r>
            <a:r>
              <a:rPr lang="en-US" sz="1200" b="1" i="0" u="none" strike="noStrike" cap="none" dirty="0">
                <a:solidFill>
                  <a:srgbClr val="8E8E8E"/>
                </a:solidFill>
                <a:latin typeface="Calibri"/>
                <a:ea typeface="Calibri"/>
                <a:cs typeface="Calibri"/>
                <a:sym typeface="Calibri"/>
              </a:rPr>
              <a:t>Chief Human Capital Officer (Client)</a:t>
            </a:r>
            <a:endParaRPr sz="1400" b="0" i="0" u="none" strike="noStrike" cap="none" dirty="0">
              <a:solidFill>
                <a:srgbClr val="000000"/>
              </a:solidFill>
              <a:latin typeface="Arial"/>
              <a:ea typeface="Arial"/>
              <a:cs typeface="Arial"/>
              <a:sym typeface="Arial"/>
            </a:endParaRPr>
          </a:p>
        </p:txBody>
      </p:sp>
      <p:sp>
        <p:nvSpPr>
          <p:cNvPr id="1638" name="Google Shape;1638;p75"/>
          <p:cNvSpPr/>
          <p:nvPr/>
        </p:nvSpPr>
        <p:spPr>
          <a:xfrm>
            <a:off x="6123425" y="547633"/>
            <a:ext cx="2596909" cy="5762734"/>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639" name="Google Shape;1639;p75"/>
          <p:cNvSpPr/>
          <p:nvPr/>
        </p:nvSpPr>
        <p:spPr>
          <a:xfrm>
            <a:off x="9046451" y="547633"/>
            <a:ext cx="2596909" cy="5762734"/>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highlight>
                <a:srgbClr val="FFFF00"/>
              </a:highlight>
              <a:latin typeface="Arial"/>
              <a:ea typeface="Arial"/>
              <a:cs typeface="Arial"/>
              <a:sym typeface="Arial"/>
            </a:endParaRPr>
          </a:p>
        </p:txBody>
      </p:sp>
      <p:sp>
        <p:nvSpPr>
          <p:cNvPr id="1640" name="Google Shape;1640;p75"/>
          <p:cNvSpPr/>
          <p:nvPr/>
        </p:nvSpPr>
        <p:spPr>
          <a:xfrm>
            <a:off x="3200400" y="547633"/>
            <a:ext cx="2596909" cy="5762734"/>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641" name="Google Shape;1641;p75"/>
          <p:cNvSpPr txBox="1"/>
          <p:nvPr/>
        </p:nvSpPr>
        <p:spPr>
          <a:xfrm>
            <a:off x="3403168" y="1527156"/>
            <a:ext cx="2191373" cy="2400657"/>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444444"/>
              </a:buClr>
              <a:buSzPts val="1300"/>
              <a:buFont typeface="Arial"/>
              <a:buNone/>
            </a:pPr>
            <a:r>
              <a:rPr lang="en-US" sz="1300" b="0" i="0" u="none" strike="noStrike" cap="none" dirty="0">
                <a:solidFill>
                  <a:srgbClr val="444444"/>
                </a:solidFill>
                <a:latin typeface="Calibri"/>
                <a:ea typeface="Calibri"/>
                <a:cs typeface="Calibri"/>
                <a:sym typeface="Calibri"/>
              </a:rPr>
              <a:t>The client wants to have an automatized Human Resource Dashboard to track, analyze and report on HR KPIs.</a:t>
            </a:r>
            <a:endParaRPr sz="1300" b="0" i="0" u="none" strike="noStrike" cap="none" dirty="0">
              <a:solidFill>
                <a:srgbClr val="444444"/>
              </a:solidFill>
              <a:latin typeface="Calibri"/>
              <a:ea typeface="Calibri"/>
              <a:cs typeface="Calibri"/>
              <a:sym typeface="Calibri"/>
            </a:endParaRPr>
          </a:p>
          <a:p>
            <a:pPr marL="0" marR="0" lvl="0" indent="0" algn="l" rtl="0">
              <a:lnSpc>
                <a:spcPct val="100000"/>
              </a:lnSpc>
              <a:spcBef>
                <a:spcPts val="0"/>
              </a:spcBef>
              <a:spcAft>
                <a:spcPts val="0"/>
              </a:spcAft>
              <a:buClr>
                <a:srgbClr val="444444"/>
              </a:buClr>
              <a:buSzPts val="1300"/>
              <a:buFont typeface="Arial"/>
              <a:buNone/>
            </a:pPr>
            <a:endParaRPr lang="en-US" sz="1300" b="0" i="0" u="none" strike="noStrike" cap="none" dirty="0">
              <a:solidFill>
                <a:srgbClr val="444444"/>
              </a:solidFill>
              <a:latin typeface="Calibri"/>
              <a:ea typeface="Calibri"/>
              <a:cs typeface="Calibri"/>
              <a:sym typeface="Calibri"/>
            </a:endParaRPr>
          </a:p>
          <a:p>
            <a:pPr marL="0" marR="0" lvl="0" indent="0" algn="l" rtl="0">
              <a:lnSpc>
                <a:spcPct val="100000"/>
              </a:lnSpc>
              <a:spcBef>
                <a:spcPts val="0"/>
              </a:spcBef>
              <a:spcAft>
                <a:spcPts val="0"/>
              </a:spcAft>
              <a:buClr>
                <a:srgbClr val="444444"/>
              </a:buClr>
              <a:buSzPts val="1300"/>
              <a:buFont typeface="Arial"/>
              <a:buNone/>
            </a:pPr>
            <a:endParaRPr lang="en-US" sz="1300" dirty="0">
              <a:solidFill>
                <a:srgbClr val="444444"/>
              </a:solidFill>
              <a:latin typeface="Calibri"/>
              <a:ea typeface="Calibri"/>
              <a:cs typeface="Calibri"/>
              <a:sym typeface="Calibri"/>
            </a:endParaRPr>
          </a:p>
          <a:p>
            <a:pPr marL="0" marR="0" lvl="0" indent="0" algn="l" rtl="0">
              <a:lnSpc>
                <a:spcPct val="100000"/>
              </a:lnSpc>
              <a:spcBef>
                <a:spcPts val="0"/>
              </a:spcBef>
              <a:spcAft>
                <a:spcPts val="0"/>
              </a:spcAft>
              <a:buClr>
                <a:srgbClr val="444444"/>
              </a:buClr>
              <a:buSzPts val="1300"/>
              <a:buFont typeface="Arial"/>
              <a:buNone/>
            </a:pPr>
            <a:endParaRPr lang="en-US" sz="1300" b="0" i="0" u="none" strike="noStrike" cap="none" dirty="0">
              <a:solidFill>
                <a:srgbClr val="444444"/>
              </a:solidFill>
              <a:latin typeface="Calibri"/>
              <a:ea typeface="Calibri"/>
              <a:cs typeface="Calibri"/>
              <a:sym typeface="Calibri"/>
            </a:endParaRPr>
          </a:p>
          <a:p>
            <a:pPr marL="0" marR="0" lvl="0" indent="0" algn="l" rtl="0">
              <a:lnSpc>
                <a:spcPct val="100000"/>
              </a:lnSpc>
              <a:spcBef>
                <a:spcPts val="0"/>
              </a:spcBef>
              <a:spcAft>
                <a:spcPts val="0"/>
              </a:spcAft>
              <a:buClr>
                <a:srgbClr val="444444"/>
              </a:buClr>
              <a:buSzPts val="1300"/>
              <a:buFont typeface="Arial"/>
              <a:buNone/>
            </a:pPr>
            <a:r>
              <a:rPr lang="en-US" sz="1300" b="0" i="0" u="none" strike="noStrike" cap="none" dirty="0">
                <a:solidFill>
                  <a:srgbClr val="444444"/>
                </a:solidFill>
                <a:latin typeface="Calibri"/>
                <a:ea typeface="Calibri"/>
                <a:cs typeface="Calibri"/>
                <a:sym typeface="Calibri"/>
              </a:rPr>
              <a:t>The firm was looking for: </a:t>
            </a:r>
            <a:endParaRPr sz="1400" b="0" i="0" u="none" strike="noStrike" cap="none" dirty="0">
              <a:solidFill>
                <a:srgbClr val="000000"/>
              </a:solidFill>
              <a:latin typeface="Arial"/>
              <a:ea typeface="Arial"/>
              <a:cs typeface="Arial"/>
              <a:sym typeface="Arial"/>
            </a:endParaRPr>
          </a:p>
          <a:p>
            <a:pPr marL="285750" marR="0" lvl="0" indent="-203200" algn="l" rtl="0">
              <a:lnSpc>
                <a:spcPct val="100000"/>
              </a:lnSpc>
              <a:spcBef>
                <a:spcPts val="0"/>
              </a:spcBef>
              <a:spcAft>
                <a:spcPts val="0"/>
              </a:spcAft>
              <a:buClr>
                <a:srgbClr val="000000"/>
              </a:buClr>
              <a:buSzPts val="1300"/>
              <a:buFont typeface="Arial"/>
              <a:buNone/>
            </a:pPr>
            <a:endParaRPr sz="1300" b="0" i="0" u="none" strike="noStrike" cap="none" dirty="0">
              <a:solidFill>
                <a:srgbClr val="444444"/>
              </a:solidFill>
              <a:latin typeface="Calibri"/>
              <a:ea typeface="Calibri"/>
              <a:cs typeface="Calibri"/>
              <a:sym typeface="Calibri"/>
            </a:endParaRPr>
          </a:p>
          <a:p>
            <a:pPr marL="285750" marR="0" lvl="0" indent="-203200" algn="l" rtl="0">
              <a:lnSpc>
                <a:spcPct val="100000"/>
              </a:lnSpc>
              <a:spcBef>
                <a:spcPts val="0"/>
              </a:spcBef>
              <a:spcAft>
                <a:spcPts val="0"/>
              </a:spcAft>
              <a:buClr>
                <a:srgbClr val="000000"/>
              </a:buClr>
              <a:buSzPts val="1300"/>
              <a:buFont typeface="Arial"/>
              <a:buNone/>
            </a:pPr>
            <a:endParaRPr sz="1300" b="0" i="0" u="none" strike="noStrike" cap="none" dirty="0">
              <a:solidFill>
                <a:srgbClr val="444444"/>
              </a:solidFill>
              <a:latin typeface="Calibri"/>
              <a:ea typeface="Calibri"/>
              <a:cs typeface="Calibri"/>
              <a:sym typeface="Calibri"/>
            </a:endParaRPr>
          </a:p>
          <a:p>
            <a:pPr marL="285750" marR="0" lvl="0" indent="-203200" algn="l" rtl="0">
              <a:lnSpc>
                <a:spcPct val="100000"/>
              </a:lnSpc>
              <a:spcBef>
                <a:spcPts val="0"/>
              </a:spcBef>
              <a:spcAft>
                <a:spcPts val="0"/>
              </a:spcAft>
              <a:buClr>
                <a:srgbClr val="000000"/>
              </a:buClr>
              <a:buSzPts val="1300"/>
              <a:buFont typeface="Arial"/>
              <a:buNone/>
            </a:pPr>
            <a:endParaRPr sz="1300" b="0" i="0" u="none" strike="noStrike" cap="none" dirty="0">
              <a:solidFill>
                <a:srgbClr val="444444"/>
              </a:solidFill>
              <a:latin typeface="Calibri"/>
              <a:ea typeface="Calibri"/>
              <a:cs typeface="Calibri"/>
              <a:sym typeface="Calibri"/>
            </a:endParaRPr>
          </a:p>
          <a:p>
            <a:pPr marL="285750" marR="0" lvl="0" indent="-203200" algn="l" rtl="0">
              <a:lnSpc>
                <a:spcPct val="100000"/>
              </a:lnSpc>
              <a:spcBef>
                <a:spcPts val="0"/>
              </a:spcBef>
              <a:spcAft>
                <a:spcPts val="0"/>
              </a:spcAft>
              <a:buClr>
                <a:srgbClr val="000000"/>
              </a:buClr>
              <a:buSzPts val="1300"/>
              <a:buFont typeface="Arial"/>
              <a:buNone/>
            </a:pPr>
            <a:endParaRPr sz="1300" b="0" i="0" u="none" strike="noStrike" cap="none" dirty="0">
              <a:solidFill>
                <a:srgbClr val="444444"/>
              </a:solidFill>
              <a:latin typeface="Calibri"/>
              <a:ea typeface="Calibri"/>
              <a:cs typeface="Calibri"/>
              <a:sym typeface="Calibri"/>
            </a:endParaRPr>
          </a:p>
        </p:txBody>
      </p:sp>
      <p:sp>
        <p:nvSpPr>
          <p:cNvPr id="1642" name="Google Shape;1642;p75"/>
          <p:cNvSpPr txBox="1"/>
          <p:nvPr/>
        </p:nvSpPr>
        <p:spPr>
          <a:xfrm>
            <a:off x="6326193" y="1527156"/>
            <a:ext cx="2191373" cy="60016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444444"/>
              </a:buClr>
              <a:buSzPts val="1300"/>
              <a:buFont typeface="Arial"/>
              <a:buNone/>
            </a:pPr>
            <a:r>
              <a:rPr lang="en-US" sz="1300" b="0" i="0" u="none" strike="noStrike" cap="none" dirty="0">
                <a:solidFill>
                  <a:schemeClr val="tx1">
                    <a:lumMod val="50000"/>
                  </a:schemeClr>
                </a:solidFill>
                <a:latin typeface="Calibri"/>
                <a:ea typeface="Calibri"/>
                <a:cs typeface="Calibri"/>
                <a:sym typeface="Calibri"/>
              </a:rPr>
              <a:t>The company decided to </a:t>
            </a:r>
            <a:r>
              <a:rPr lang="en-US" sz="1300" dirty="0">
                <a:solidFill>
                  <a:schemeClr val="tx1">
                    <a:lumMod val="50000"/>
                  </a:schemeClr>
                </a:solidFill>
                <a:latin typeface="Calibri"/>
                <a:ea typeface="Calibri"/>
                <a:cs typeface="Calibri"/>
                <a:sym typeface="Calibri"/>
              </a:rPr>
              <a:t>use</a:t>
            </a:r>
            <a:r>
              <a:rPr lang="en-US" sz="1300" b="1" i="0" u="none" strike="noStrike" cap="none" dirty="0">
                <a:solidFill>
                  <a:schemeClr val="tx1">
                    <a:lumMod val="50000"/>
                  </a:schemeClr>
                </a:solidFill>
                <a:latin typeface="Calibri"/>
                <a:ea typeface="Calibri"/>
                <a:cs typeface="Calibri"/>
                <a:sym typeface="Calibri"/>
              </a:rPr>
              <a:t> </a:t>
            </a:r>
            <a:r>
              <a:rPr lang="en-US" sz="1300" b="1" i="0" u="none" strike="noStrike" cap="none" dirty="0" err="1">
                <a:solidFill>
                  <a:schemeClr val="tx1">
                    <a:lumMod val="50000"/>
                  </a:schemeClr>
                </a:solidFill>
                <a:latin typeface="Calibri"/>
                <a:ea typeface="Calibri"/>
                <a:cs typeface="Calibri"/>
                <a:sym typeface="Calibri"/>
              </a:rPr>
              <a:t>Infomineo’s</a:t>
            </a:r>
            <a:r>
              <a:rPr lang="en-US" sz="1300" b="1" i="0" u="none" strike="noStrike" cap="none" dirty="0">
                <a:solidFill>
                  <a:schemeClr val="tx1">
                    <a:lumMod val="50000"/>
                  </a:schemeClr>
                </a:solidFill>
                <a:latin typeface="Calibri"/>
                <a:ea typeface="Calibri"/>
                <a:cs typeface="Calibri"/>
                <a:sym typeface="Calibri"/>
              </a:rPr>
              <a:t> </a:t>
            </a:r>
            <a:r>
              <a:rPr lang="en-US" sz="1300" b="1" dirty="0">
                <a:solidFill>
                  <a:schemeClr val="tx1">
                    <a:lumMod val="50000"/>
                  </a:schemeClr>
                </a:solidFill>
                <a:latin typeface="Calibri"/>
                <a:ea typeface="Calibri"/>
                <a:cs typeface="Calibri"/>
                <a:sym typeface="Calibri"/>
              </a:rPr>
              <a:t>Data Analytics</a:t>
            </a:r>
            <a:r>
              <a:rPr lang="en-US" sz="1300" b="1" i="0" u="none" strike="noStrike" cap="none" dirty="0">
                <a:solidFill>
                  <a:schemeClr val="tx1">
                    <a:lumMod val="50000"/>
                  </a:schemeClr>
                </a:solidFill>
                <a:latin typeface="Calibri"/>
                <a:ea typeface="Calibri"/>
                <a:cs typeface="Calibri"/>
                <a:sym typeface="Calibri"/>
              </a:rPr>
              <a:t> service as a solution </a:t>
            </a:r>
            <a:r>
              <a:rPr lang="en-US" sz="1300" i="0" u="none" strike="noStrike" cap="none" dirty="0">
                <a:solidFill>
                  <a:schemeClr val="tx1">
                    <a:lumMod val="50000"/>
                  </a:schemeClr>
                </a:solidFill>
                <a:latin typeface="Calibri"/>
                <a:ea typeface="Calibri"/>
                <a:cs typeface="Calibri"/>
                <a:sym typeface="Calibri"/>
              </a:rPr>
              <a:t>to cover</a:t>
            </a:r>
            <a:r>
              <a:rPr lang="en-US" sz="1300" b="1" i="0" u="none" strike="noStrike" cap="none" dirty="0">
                <a:solidFill>
                  <a:schemeClr val="tx1">
                    <a:lumMod val="50000"/>
                  </a:schemeClr>
                </a:solidFill>
                <a:latin typeface="Calibri"/>
                <a:ea typeface="Calibri"/>
                <a:cs typeface="Calibri"/>
                <a:sym typeface="Calibri"/>
              </a:rPr>
              <a:t>:</a:t>
            </a:r>
            <a:endParaRPr sz="1400" b="0" i="0" u="none" strike="noStrike" cap="none" dirty="0">
              <a:solidFill>
                <a:schemeClr val="tx1">
                  <a:lumMod val="50000"/>
                </a:schemeClr>
              </a:solidFill>
              <a:latin typeface="Arial"/>
              <a:ea typeface="Arial"/>
              <a:cs typeface="Arial"/>
              <a:sym typeface="Arial"/>
            </a:endParaRPr>
          </a:p>
        </p:txBody>
      </p:sp>
      <p:sp>
        <p:nvSpPr>
          <p:cNvPr id="1643" name="Google Shape;1643;p75"/>
          <p:cNvSpPr txBox="1"/>
          <p:nvPr/>
        </p:nvSpPr>
        <p:spPr>
          <a:xfrm>
            <a:off x="9171006" y="4019289"/>
            <a:ext cx="2456492" cy="260071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444444"/>
              </a:buClr>
              <a:buSzPts val="1300"/>
              <a:buFont typeface="Arial"/>
              <a:buNone/>
            </a:pPr>
            <a:r>
              <a:rPr lang="en-US" sz="1300" i="0" u="none" strike="noStrike" cap="none" dirty="0">
                <a:solidFill>
                  <a:srgbClr val="444444"/>
                </a:solidFill>
                <a:latin typeface="Calibri"/>
                <a:ea typeface="Calibri"/>
                <a:cs typeface="Calibri"/>
                <a:sym typeface="Calibri"/>
              </a:rPr>
              <a:t>Estimated </a:t>
            </a:r>
            <a:r>
              <a:rPr lang="en-US" sz="1300" b="1" i="0" u="none" strike="noStrike" cap="none" dirty="0">
                <a:solidFill>
                  <a:srgbClr val="444444"/>
                </a:solidFill>
                <a:latin typeface="Calibri"/>
                <a:ea typeface="Calibri"/>
                <a:cs typeface="Calibri"/>
                <a:sym typeface="Calibri"/>
              </a:rPr>
              <a:t>1 FTE </a:t>
            </a:r>
            <a:r>
              <a:rPr lang="en-US" sz="1300" i="0" u="none" strike="noStrike" cap="none" dirty="0">
                <a:solidFill>
                  <a:srgbClr val="444444"/>
                </a:solidFill>
                <a:latin typeface="Calibri"/>
                <a:ea typeface="Calibri"/>
                <a:cs typeface="Calibri"/>
                <a:sym typeface="Calibri"/>
              </a:rPr>
              <a:t>from the HR department could be </a:t>
            </a:r>
            <a:r>
              <a:rPr lang="en-US" sz="1300" b="1" i="0" u="none" strike="noStrike" cap="none" dirty="0">
                <a:solidFill>
                  <a:srgbClr val="444444"/>
                </a:solidFill>
                <a:latin typeface="Calibri"/>
                <a:ea typeface="Calibri"/>
                <a:cs typeface="Calibri"/>
                <a:sym typeface="Calibri"/>
              </a:rPr>
              <a:t>reallocated to other tasks</a:t>
            </a:r>
          </a:p>
          <a:p>
            <a:pPr marL="0" marR="0" lvl="0" indent="0" algn="l" rtl="0">
              <a:lnSpc>
                <a:spcPct val="100000"/>
              </a:lnSpc>
              <a:spcBef>
                <a:spcPts val="0"/>
              </a:spcBef>
              <a:spcAft>
                <a:spcPts val="0"/>
              </a:spcAft>
              <a:buClr>
                <a:srgbClr val="444444"/>
              </a:buClr>
              <a:buSzPts val="1300"/>
              <a:buFont typeface="Arial"/>
              <a:buNone/>
            </a:pPr>
            <a:endParaRPr lang="en-US" sz="1300" dirty="0">
              <a:solidFill>
                <a:srgbClr val="444444"/>
              </a:solidFill>
              <a:latin typeface="Calibri"/>
              <a:ea typeface="Calibri"/>
              <a:cs typeface="Calibri"/>
              <a:sym typeface="Calibri"/>
            </a:endParaRPr>
          </a:p>
          <a:p>
            <a:pPr marL="0" marR="0" lvl="0" indent="0" algn="l" rtl="0">
              <a:lnSpc>
                <a:spcPct val="100000"/>
              </a:lnSpc>
              <a:spcBef>
                <a:spcPts val="0"/>
              </a:spcBef>
              <a:spcAft>
                <a:spcPts val="0"/>
              </a:spcAft>
              <a:buClr>
                <a:srgbClr val="444444"/>
              </a:buClr>
              <a:buSzPts val="1300"/>
              <a:buFont typeface="Arial"/>
              <a:buNone/>
            </a:pPr>
            <a:endParaRPr lang="en-US" sz="1300" i="0" u="none" strike="noStrike" cap="none" dirty="0">
              <a:solidFill>
                <a:srgbClr val="444444"/>
              </a:solidFill>
              <a:latin typeface="Calibri"/>
              <a:ea typeface="Calibri"/>
              <a:cs typeface="Calibri"/>
              <a:sym typeface="Calibri"/>
            </a:endParaRPr>
          </a:p>
          <a:p>
            <a:pPr marL="0" marR="0" lvl="0" indent="0" algn="l" rtl="0">
              <a:lnSpc>
                <a:spcPct val="100000"/>
              </a:lnSpc>
              <a:spcBef>
                <a:spcPts val="0"/>
              </a:spcBef>
              <a:spcAft>
                <a:spcPts val="0"/>
              </a:spcAft>
              <a:buClr>
                <a:srgbClr val="444444"/>
              </a:buClr>
              <a:buSzPts val="1300"/>
              <a:buFont typeface="Arial"/>
              <a:buNone/>
            </a:pPr>
            <a:r>
              <a:rPr lang="en-US" sz="1300" dirty="0">
                <a:solidFill>
                  <a:srgbClr val="444444"/>
                </a:solidFill>
                <a:latin typeface="Calibri"/>
                <a:ea typeface="Calibri"/>
                <a:cs typeface="Calibri"/>
                <a:sym typeface="Calibri"/>
              </a:rPr>
              <a:t>Helped the company to start its </a:t>
            </a:r>
            <a:r>
              <a:rPr lang="en-US" sz="1300" b="1" dirty="0">
                <a:solidFill>
                  <a:srgbClr val="444444"/>
                </a:solidFill>
                <a:latin typeface="Calibri"/>
                <a:ea typeface="Calibri"/>
                <a:cs typeface="Calibri"/>
                <a:sym typeface="Calibri"/>
              </a:rPr>
              <a:t>Data Transformation</a:t>
            </a:r>
          </a:p>
          <a:p>
            <a:pPr marL="0" marR="0" lvl="0" indent="0" algn="l" rtl="0">
              <a:lnSpc>
                <a:spcPct val="100000"/>
              </a:lnSpc>
              <a:spcBef>
                <a:spcPts val="0"/>
              </a:spcBef>
              <a:spcAft>
                <a:spcPts val="0"/>
              </a:spcAft>
              <a:buClr>
                <a:srgbClr val="444444"/>
              </a:buClr>
              <a:buSzPts val="1300"/>
              <a:buFont typeface="Arial"/>
              <a:buNone/>
            </a:pPr>
            <a:endParaRPr lang="en-US" sz="1300" i="0" u="none" strike="noStrike" cap="none" dirty="0">
              <a:solidFill>
                <a:srgbClr val="444444"/>
              </a:solidFill>
              <a:latin typeface="Calibri"/>
              <a:ea typeface="Calibri"/>
              <a:cs typeface="Calibri"/>
              <a:sym typeface="Calibri"/>
            </a:endParaRPr>
          </a:p>
          <a:p>
            <a:pPr lvl="1">
              <a:buClr>
                <a:srgbClr val="444444"/>
              </a:buClr>
              <a:buSzPts val="1300"/>
            </a:pPr>
            <a:r>
              <a:rPr lang="en-US" sz="1300" i="0" u="none" strike="noStrike" cap="none" dirty="0">
                <a:solidFill>
                  <a:srgbClr val="444444"/>
                </a:solidFill>
                <a:latin typeface="Calibri"/>
                <a:ea typeface="Calibri"/>
                <a:cs typeface="Calibri"/>
                <a:sym typeface="Calibri"/>
              </a:rPr>
              <a:t>Infomineo has been asked to work with client’s Finance Team to create another dashboard</a:t>
            </a:r>
          </a:p>
          <a:p>
            <a:pPr marL="0" marR="0" lvl="0" indent="0" algn="l" rtl="0">
              <a:lnSpc>
                <a:spcPct val="100000"/>
              </a:lnSpc>
              <a:spcBef>
                <a:spcPts val="0"/>
              </a:spcBef>
              <a:spcAft>
                <a:spcPts val="0"/>
              </a:spcAft>
              <a:buClr>
                <a:srgbClr val="444444"/>
              </a:buClr>
              <a:buSzPts val="1300"/>
              <a:buFont typeface="Arial"/>
              <a:buNone/>
            </a:pPr>
            <a:endParaRPr lang="en-US" sz="1300" b="1" dirty="0">
              <a:solidFill>
                <a:srgbClr val="444444"/>
              </a:solidFill>
              <a:highlight>
                <a:srgbClr val="FFFF00"/>
              </a:highlight>
              <a:latin typeface="Calibri"/>
              <a:ea typeface="Calibri"/>
              <a:cs typeface="Calibri"/>
              <a:sym typeface="Calibri"/>
            </a:endParaRPr>
          </a:p>
          <a:p>
            <a:pPr marL="0" marR="0" lvl="0" indent="0" algn="l" rtl="0">
              <a:lnSpc>
                <a:spcPct val="100000"/>
              </a:lnSpc>
              <a:spcBef>
                <a:spcPts val="0"/>
              </a:spcBef>
              <a:spcAft>
                <a:spcPts val="0"/>
              </a:spcAft>
              <a:buClr>
                <a:srgbClr val="444444"/>
              </a:buClr>
              <a:buSzPts val="1300"/>
              <a:buFont typeface="Arial"/>
              <a:buNone/>
            </a:pPr>
            <a:r>
              <a:rPr lang="en-US" sz="1300" b="1" i="0" u="none" strike="noStrike" cap="none" dirty="0">
                <a:solidFill>
                  <a:srgbClr val="444444"/>
                </a:solidFill>
                <a:highlight>
                  <a:srgbClr val="FFFF00"/>
                </a:highlight>
                <a:latin typeface="Calibri"/>
                <a:ea typeface="Calibri"/>
                <a:cs typeface="Calibri"/>
                <a:sym typeface="Calibri"/>
              </a:rPr>
              <a:t> </a:t>
            </a:r>
            <a:endParaRPr sz="1400" b="0" i="0" u="none" strike="noStrike" cap="none" dirty="0">
              <a:solidFill>
                <a:srgbClr val="000000"/>
              </a:solidFill>
              <a:highlight>
                <a:srgbClr val="FFFF00"/>
              </a:highlight>
              <a:latin typeface="Arial"/>
              <a:ea typeface="Arial"/>
              <a:cs typeface="Arial"/>
              <a:sym typeface="Arial"/>
            </a:endParaRPr>
          </a:p>
        </p:txBody>
      </p:sp>
      <p:sp>
        <p:nvSpPr>
          <p:cNvPr id="1644" name="Google Shape;1644;p75"/>
          <p:cNvSpPr/>
          <p:nvPr/>
        </p:nvSpPr>
        <p:spPr>
          <a:xfrm>
            <a:off x="3200400" y="547632"/>
            <a:ext cx="2596908" cy="693792"/>
          </a:xfrm>
          <a:prstGeom prst="roundRect">
            <a:avLst>
              <a:gd name="adj" fmla="val 20401"/>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645" name="Google Shape;1645;p75"/>
          <p:cNvSpPr txBox="1"/>
          <p:nvPr/>
        </p:nvSpPr>
        <p:spPr>
          <a:xfrm>
            <a:off x="3403168" y="665402"/>
            <a:ext cx="1054714" cy="470898"/>
          </a:xfrm>
          <a:prstGeom prst="rect">
            <a:avLst/>
          </a:prstGeom>
          <a:noFill/>
          <a:ln>
            <a:noFill/>
          </a:ln>
        </p:spPr>
        <p:txBody>
          <a:bodyPr spcFirstLastPara="1" wrap="square" lIns="0" tIns="0" rIns="0" bIns="0" anchor="t" anchorCtr="0">
            <a:spAutoFit/>
          </a:bodyPr>
          <a:lstStyle/>
          <a:p>
            <a:pPr marL="0" marR="0" lvl="0" indent="0" algn="l" rtl="0">
              <a:lnSpc>
                <a:spcPct val="85000"/>
              </a:lnSpc>
              <a:spcBef>
                <a:spcPts val="0"/>
              </a:spcBef>
              <a:spcAft>
                <a:spcPts val="0"/>
              </a:spcAft>
              <a:buClr>
                <a:schemeClr val="lt1"/>
              </a:buClr>
              <a:buSzPts val="1800"/>
              <a:buFont typeface="Arial"/>
              <a:buNone/>
            </a:pPr>
            <a:r>
              <a:rPr lang="en-US" sz="1800" b="0" i="0" u="none" strike="noStrike" cap="none">
                <a:solidFill>
                  <a:schemeClr val="lt1"/>
                </a:solidFill>
                <a:latin typeface="Franklin Gothic"/>
                <a:ea typeface="Franklin Gothic"/>
                <a:cs typeface="Franklin Gothic"/>
                <a:sym typeface="Franklin Gothic"/>
              </a:rPr>
              <a:t>Client</a:t>
            </a:r>
            <a:br>
              <a:rPr lang="en-US" sz="1800" b="0" i="0" u="none" strike="noStrike" cap="none">
                <a:solidFill>
                  <a:schemeClr val="lt1"/>
                </a:solidFill>
                <a:latin typeface="Franklin Gothic"/>
                <a:ea typeface="Franklin Gothic"/>
                <a:cs typeface="Franklin Gothic"/>
                <a:sym typeface="Franklin Gothic"/>
              </a:rPr>
            </a:br>
            <a:r>
              <a:rPr lang="en-US" sz="1800" b="0" i="0" u="none" strike="noStrike" cap="none">
                <a:solidFill>
                  <a:schemeClr val="lt1"/>
                </a:solidFill>
                <a:latin typeface="Franklin Gothic"/>
                <a:ea typeface="Franklin Gothic"/>
                <a:cs typeface="Franklin Gothic"/>
                <a:sym typeface="Franklin Gothic"/>
              </a:rPr>
              <a:t>Challenge</a:t>
            </a:r>
            <a:endParaRPr sz="1400" b="0" i="0" u="none" strike="noStrike" cap="none">
              <a:solidFill>
                <a:srgbClr val="000000"/>
              </a:solidFill>
              <a:latin typeface="Arial"/>
              <a:ea typeface="Arial"/>
              <a:cs typeface="Arial"/>
              <a:sym typeface="Arial"/>
            </a:endParaRPr>
          </a:p>
        </p:txBody>
      </p:sp>
      <p:sp>
        <p:nvSpPr>
          <p:cNvPr id="1646" name="Google Shape;1646;p75"/>
          <p:cNvSpPr/>
          <p:nvPr/>
        </p:nvSpPr>
        <p:spPr>
          <a:xfrm>
            <a:off x="4776348" y="446625"/>
            <a:ext cx="867026" cy="895806"/>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647" name="Google Shape;1647;p75"/>
          <p:cNvSpPr/>
          <p:nvPr/>
        </p:nvSpPr>
        <p:spPr>
          <a:xfrm>
            <a:off x="6123425" y="547632"/>
            <a:ext cx="2596908" cy="693792"/>
          </a:xfrm>
          <a:prstGeom prst="roundRect">
            <a:avLst>
              <a:gd name="adj" fmla="val 20401"/>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648" name="Google Shape;1648;p75"/>
          <p:cNvSpPr txBox="1"/>
          <p:nvPr/>
        </p:nvSpPr>
        <p:spPr>
          <a:xfrm>
            <a:off x="6326193" y="665402"/>
            <a:ext cx="867025" cy="470898"/>
          </a:xfrm>
          <a:prstGeom prst="rect">
            <a:avLst/>
          </a:prstGeom>
          <a:noFill/>
          <a:ln>
            <a:noFill/>
          </a:ln>
        </p:spPr>
        <p:txBody>
          <a:bodyPr spcFirstLastPara="1" wrap="square" lIns="0" tIns="0" rIns="0" bIns="0" anchor="t" anchorCtr="0">
            <a:spAutoFit/>
          </a:bodyPr>
          <a:lstStyle/>
          <a:p>
            <a:pPr marL="0" marR="0" lvl="0" indent="0" algn="l" rtl="0">
              <a:lnSpc>
                <a:spcPct val="85000"/>
              </a:lnSpc>
              <a:spcBef>
                <a:spcPts val="0"/>
              </a:spcBef>
              <a:spcAft>
                <a:spcPts val="0"/>
              </a:spcAft>
              <a:buClr>
                <a:schemeClr val="lt1"/>
              </a:buClr>
              <a:buSzPts val="1800"/>
              <a:buFont typeface="Arial"/>
              <a:buNone/>
            </a:pPr>
            <a:r>
              <a:rPr lang="en-US" sz="1800" b="0" i="0" u="none" strike="noStrike" cap="none">
                <a:solidFill>
                  <a:schemeClr val="lt1"/>
                </a:solidFill>
                <a:latin typeface="Franklin Gothic"/>
                <a:ea typeface="Franklin Gothic"/>
                <a:cs typeface="Franklin Gothic"/>
                <a:sym typeface="Franklin Gothic"/>
              </a:rPr>
              <a:t>Our</a:t>
            </a:r>
            <a:br>
              <a:rPr lang="en-US" sz="1800" b="0" i="0" u="none" strike="noStrike" cap="none">
                <a:solidFill>
                  <a:schemeClr val="lt1"/>
                </a:solidFill>
                <a:latin typeface="Franklin Gothic"/>
                <a:ea typeface="Franklin Gothic"/>
                <a:cs typeface="Franklin Gothic"/>
                <a:sym typeface="Franklin Gothic"/>
              </a:rPr>
            </a:br>
            <a:r>
              <a:rPr lang="en-US" sz="1800" b="0" i="0" u="none" strike="noStrike" cap="none">
                <a:solidFill>
                  <a:schemeClr val="lt1"/>
                </a:solidFill>
                <a:latin typeface="Franklin Gothic"/>
                <a:ea typeface="Franklin Gothic"/>
                <a:cs typeface="Franklin Gothic"/>
                <a:sym typeface="Franklin Gothic"/>
              </a:rPr>
              <a:t>Solution</a:t>
            </a:r>
            <a:endParaRPr sz="1400" b="0" i="0" u="none" strike="noStrike" cap="none">
              <a:solidFill>
                <a:srgbClr val="000000"/>
              </a:solidFill>
              <a:latin typeface="Arial"/>
              <a:ea typeface="Arial"/>
              <a:cs typeface="Arial"/>
              <a:sym typeface="Arial"/>
            </a:endParaRPr>
          </a:p>
        </p:txBody>
      </p:sp>
      <p:sp>
        <p:nvSpPr>
          <p:cNvPr id="1649" name="Google Shape;1649;p75"/>
          <p:cNvSpPr/>
          <p:nvPr/>
        </p:nvSpPr>
        <p:spPr>
          <a:xfrm>
            <a:off x="7676160" y="446625"/>
            <a:ext cx="867026" cy="895806"/>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650" name="Google Shape;1650;p75"/>
          <p:cNvSpPr/>
          <p:nvPr/>
        </p:nvSpPr>
        <p:spPr>
          <a:xfrm>
            <a:off x="9046451" y="547632"/>
            <a:ext cx="2596908" cy="693792"/>
          </a:xfrm>
          <a:prstGeom prst="roundRect">
            <a:avLst>
              <a:gd name="adj" fmla="val 20401"/>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highlight>
                <a:srgbClr val="FFFF00"/>
              </a:highlight>
              <a:latin typeface="Arial"/>
              <a:ea typeface="Arial"/>
              <a:cs typeface="Arial"/>
              <a:sym typeface="Arial"/>
            </a:endParaRPr>
          </a:p>
        </p:txBody>
      </p:sp>
      <p:sp>
        <p:nvSpPr>
          <p:cNvPr id="1651" name="Google Shape;1651;p75"/>
          <p:cNvSpPr txBox="1"/>
          <p:nvPr/>
        </p:nvSpPr>
        <p:spPr>
          <a:xfrm>
            <a:off x="9249219" y="783127"/>
            <a:ext cx="943429" cy="235449"/>
          </a:xfrm>
          <a:prstGeom prst="rect">
            <a:avLst/>
          </a:prstGeom>
          <a:noFill/>
          <a:ln>
            <a:noFill/>
          </a:ln>
        </p:spPr>
        <p:txBody>
          <a:bodyPr spcFirstLastPara="1" wrap="square" lIns="0" tIns="0" rIns="0" bIns="0" anchor="t" anchorCtr="0">
            <a:spAutoFit/>
          </a:bodyPr>
          <a:lstStyle/>
          <a:p>
            <a:pPr marL="0" marR="0" lvl="0" indent="0" algn="l" rtl="0">
              <a:lnSpc>
                <a:spcPct val="85000"/>
              </a:lnSpc>
              <a:spcBef>
                <a:spcPts val="0"/>
              </a:spcBef>
              <a:spcAft>
                <a:spcPts val="0"/>
              </a:spcAft>
              <a:buClr>
                <a:schemeClr val="lt1"/>
              </a:buClr>
              <a:buSzPts val="1800"/>
              <a:buFont typeface="Arial"/>
              <a:buNone/>
            </a:pPr>
            <a:r>
              <a:rPr lang="en-US" sz="1800" b="0" i="0" u="none" strike="noStrike" cap="none" dirty="0">
                <a:solidFill>
                  <a:schemeClr val="lt1"/>
                </a:solidFill>
                <a:latin typeface="Franklin Gothic"/>
                <a:ea typeface="Franklin Gothic"/>
                <a:cs typeface="Franklin Gothic"/>
                <a:sym typeface="Franklin Gothic"/>
              </a:rPr>
              <a:t>Outcome</a:t>
            </a:r>
            <a:endParaRPr sz="1800" b="0" i="0" u="none" strike="noStrike" cap="none" dirty="0">
              <a:solidFill>
                <a:schemeClr val="lt1"/>
              </a:solidFill>
              <a:latin typeface="Franklin Gothic"/>
              <a:ea typeface="Franklin Gothic"/>
              <a:cs typeface="Franklin Gothic"/>
              <a:sym typeface="Franklin Gothic"/>
            </a:endParaRPr>
          </a:p>
        </p:txBody>
      </p:sp>
      <p:sp>
        <p:nvSpPr>
          <p:cNvPr id="1652" name="Google Shape;1652;p75"/>
          <p:cNvSpPr/>
          <p:nvPr/>
        </p:nvSpPr>
        <p:spPr>
          <a:xfrm>
            <a:off x="10599185" y="446625"/>
            <a:ext cx="867026" cy="895806"/>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highlight>
                <a:srgbClr val="FFFF00"/>
              </a:highlight>
              <a:latin typeface="Arial"/>
              <a:ea typeface="Arial"/>
              <a:cs typeface="Arial"/>
              <a:sym typeface="Arial"/>
            </a:endParaRPr>
          </a:p>
        </p:txBody>
      </p:sp>
      <p:grpSp>
        <p:nvGrpSpPr>
          <p:cNvPr id="1653" name="Google Shape;1653;p75"/>
          <p:cNvGrpSpPr/>
          <p:nvPr/>
        </p:nvGrpSpPr>
        <p:grpSpPr>
          <a:xfrm>
            <a:off x="10755642" y="644211"/>
            <a:ext cx="492943" cy="457112"/>
            <a:chOff x="7154863" y="4446588"/>
            <a:chExt cx="527050" cy="506412"/>
          </a:xfrm>
        </p:grpSpPr>
        <p:sp>
          <p:nvSpPr>
            <p:cNvPr id="1654" name="Google Shape;1654;p75"/>
            <p:cNvSpPr/>
            <p:nvPr/>
          </p:nvSpPr>
          <p:spPr>
            <a:xfrm>
              <a:off x="7154863" y="4446588"/>
              <a:ext cx="527050" cy="506412"/>
            </a:xfrm>
            <a:custGeom>
              <a:avLst/>
              <a:gdLst/>
              <a:ahLst/>
              <a:cxnLst/>
              <a:rect l="l" t="t" r="r" b="b"/>
              <a:pathLst>
                <a:path w="840" h="806" extrusionOk="0">
                  <a:moveTo>
                    <a:pt x="831" y="80"/>
                  </a:moveTo>
                  <a:cubicBezTo>
                    <a:pt x="114" y="80"/>
                    <a:pt x="114" y="80"/>
                    <a:pt x="114" y="80"/>
                  </a:cubicBezTo>
                  <a:cubicBezTo>
                    <a:pt x="114" y="8"/>
                    <a:pt x="114" y="8"/>
                    <a:pt x="114" y="8"/>
                  </a:cubicBezTo>
                  <a:cubicBezTo>
                    <a:pt x="114" y="4"/>
                    <a:pt x="110" y="0"/>
                    <a:pt x="105" y="0"/>
                  </a:cubicBezTo>
                  <a:cubicBezTo>
                    <a:pt x="57" y="0"/>
                    <a:pt x="57" y="0"/>
                    <a:pt x="57" y="0"/>
                  </a:cubicBezTo>
                  <a:cubicBezTo>
                    <a:pt x="25" y="0"/>
                    <a:pt x="0" y="25"/>
                    <a:pt x="0" y="57"/>
                  </a:cubicBezTo>
                  <a:cubicBezTo>
                    <a:pt x="0" y="749"/>
                    <a:pt x="0" y="749"/>
                    <a:pt x="0" y="749"/>
                  </a:cubicBezTo>
                  <a:cubicBezTo>
                    <a:pt x="0" y="780"/>
                    <a:pt x="25" y="806"/>
                    <a:pt x="57" y="806"/>
                  </a:cubicBezTo>
                  <a:cubicBezTo>
                    <a:pt x="95" y="806"/>
                    <a:pt x="95" y="806"/>
                    <a:pt x="95" y="806"/>
                  </a:cubicBezTo>
                  <a:cubicBezTo>
                    <a:pt x="105" y="806"/>
                    <a:pt x="105" y="806"/>
                    <a:pt x="105" y="806"/>
                  </a:cubicBezTo>
                  <a:cubicBezTo>
                    <a:pt x="831" y="806"/>
                    <a:pt x="831" y="806"/>
                    <a:pt x="831" y="806"/>
                  </a:cubicBezTo>
                  <a:cubicBezTo>
                    <a:pt x="836" y="806"/>
                    <a:pt x="840" y="802"/>
                    <a:pt x="840" y="797"/>
                  </a:cubicBezTo>
                  <a:cubicBezTo>
                    <a:pt x="840" y="89"/>
                    <a:pt x="840" y="89"/>
                    <a:pt x="840" y="89"/>
                  </a:cubicBezTo>
                  <a:cubicBezTo>
                    <a:pt x="840" y="84"/>
                    <a:pt x="836" y="80"/>
                    <a:pt x="831" y="80"/>
                  </a:cubicBezTo>
                  <a:close/>
                  <a:moveTo>
                    <a:pt x="57" y="17"/>
                  </a:moveTo>
                  <a:cubicBezTo>
                    <a:pt x="97" y="17"/>
                    <a:pt x="97" y="17"/>
                    <a:pt x="97" y="17"/>
                  </a:cubicBezTo>
                  <a:cubicBezTo>
                    <a:pt x="97" y="692"/>
                    <a:pt x="97" y="692"/>
                    <a:pt x="97" y="692"/>
                  </a:cubicBezTo>
                  <a:cubicBezTo>
                    <a:pt x="57" y="692"/>
                    <a:pt x="57" y="692"/>
                    <a:pt x="57" y="692"/>
                  </a:cubicBezTo>
                  <a:cubicBezTo>
                    <a:pt x="41" y="692"/>
                    <a:pt x="27" y="698"/>
                    <a:pt x="17" y="708"/>
                  </a:cubicBezTo>
                  <a:cubicBezTo>
                    <a:pt x="17" y="57"/>
                    <a:pt x="17" y="57"/>
                    <a:pt x="17" y="57"/>
                  </a:cubicBezTo>
                  <a:cubicBezTo>
                    <a:pt x="17" y="35"/>
                    <a:pt x="35" y="17"/>
                    <a:pt x="57" y="17"/>
                  </a:cubicBezTo>
                  <a:close/>
                  <a:moveTo>
                    <a:pt x="823" y="788"/>
                  </a:moveTo>
                  <a:cubicBezTo>
                    <a:pt x="105" y="788"/>
                    <a:pt x="105" y="788"/>
                    <a:pt x="105" y="788"/>
                  </a:cubicBezTo>
                  <a:cubicBezTo>
                    <a:pt x="95" y="788"/>
                    <a:pt x="95" y="788"/>
                    <a:pt x="95" y="788"/>
                  </a:cubicBezTo>
                  <a:cubicBezTo>
                    <a:pt x="57" y="788"/>
                    <a:pt x="57" y="788"/>
                    <a:pt x="57" y="788"/>
                  </a:cubicBezTo>
                  <a:cubicBezTo>
                    <a:pt x="35" y="788"/>
                    <a:pt x="17" y="771"/>
                    <a:pt x="17" y="749"/>
                  </a:cubicBezTo>
                  <a:cubicBezTo>
                    <a:pt x="17" y="727"/>
                    <a:pt x="35" y="709"/>
                    <a:pt x="57" y="709"/>
                  </a:cubicBezTo>
                  <a:cubicBezTo>
                    <a:pt x="105" y="709"/>
                    <a:pt x="105" y="709"/>
                    <a:pt x="105" y="709"/>
                  </a:cubicBezTo>
                  <a:cubicBezTo>
                    <a:pt x="110" y="709"/>
                    <a:pt x="114" y="705"/>
                    <a:pt x="114" y="700"/>
                  </a:cubicBezTo>
                  <a:cubicBezTo>
                    <a:pt x="114" y="98"/>
                    <a:pt x="114" y="98"/>
                    <a:pt x="114" y="98"/>
                  </a:cubicBezTo>
                  <a:cubicBezTo>
                    <a:pt x="823" y="98"/>
                    <a:pt x="823" y="98"/>
                    <a:pt x="823" y="98"/>
                  </a:cubicBezTo>
                  <a:lnTo>
                    <a:pt x="823" y="78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444"/>
                </a:solidFill>
                <a:highlight>
                  <a:srgbClr val="FFFF00"/>
                </a:highlight>
                <a:latin typeface="Calibri"/>
                <a:ea typeface="Calibri"/>
                <a:cs typeface="Calibri"/>
                <a:sym typeface="Calibri"/>
              </a:endParaRPr>
            </a:p>
          </p:txBody>
        </p:sp>
        <p:sp>
          <p:nvSpPr>
            <p:cNvPr id="1655" name="Google Shape;1655;p75"/>
            <p:cNvSpPr/>
            <p:nvPr/>
          </p:nvSpPr>
          <p:spPr>
            <a:xfrm>
              <a:off x="7275513" y="4554538"/>
              <a:ext cx="344488" cy="336550"/>
            </a:xfrm>
            <a:custGeom>
              <a:avLst/>
              <a:gdLst/>
              <a:ahLst/>
              <a:cxnLst/>
              <a:rect l="l" t="t" r="r" b="b"/>
              <a:pathLst>
                <a:path w="549" h="537" extrusionOk="0">
                  <a:moveTo>
                    <a:pt x="4" y="226"/>
                  </a:moveTo>
                  <a:cubicBezTo>
                    <a:pt x="71" y="293"/>
                    <a:pt x="71" y="293"/>
                    <a:pt x="71" y="293"/>
                  </a:cubicBezTo>
                  <a:cubicBezTo>
                    <a:pt x="73" y="295"/>
                    <a:pt x="75" y="296"/>
                    <a:pt x="77" y="296"/>
                  </a:cubicBezTo>
                  <a:cubicBezTo>
                    <a:pt x="79" y="296"/>
                    <a:pt x="81" y="295"/>
                    <a:pt x="83" y="293"/>
                  </a:cubicBezTo>
                  <a:cubicBezTo>
                    <a:pt x="148" y="229"/>
                    <a:pt x="148" y="229"/>
                    <a:pt x="148" y="229"/>
                  </a:cubicBezTo>
                  <a:cubicBezTo>
                    <a:pt x="295" y="229"/>
                    <a:pt x="295" y="229"/>
                    <a:pt x="295" y="229"/>
                  </a:cubicBezTo>
                  <a:cubicBezTo>
                    <a:pt x="437" y="229"/>
                    <a:pt x="437" y="229"/>
                    <a:pt x="437" y="229"/>
                  </a:cubicBezTo>
                  <a:cubicBezTo>
                    <a:pt x="437" y="268"/>
                    <a:pt x="437" y="268"/>
                    <a:pt x="437" y="268"/>
                  </a:cubicBezTo>
                  <a:cubicBezTo>
                    <a:pt x="437" y="272"/>
                    <a:pt x="441" y="276"/>
                    <a:pt x="446" y="276"/>
                  </a:cubicBezTo>
                  <a:cubicBezTo>
                    <a:pt x="484" y="276"/>
                    <a:pt x="484" y="276"/>
                    <a:pt x="484" y="276"/>
                  </a:cubicBezTo>
                  <a:cubicBezTo>
                    <a:pt x="484" y="418"/>
                    <a:pt x="484" y="418"/>
                    <a:pt x="484" y="418"/>
                  </a:cubicBezTo>
                  <a:cubicBezTo>
                    <a:pt x="460" y="422"/>
                    <a:pt x="442" y="441"/>
                    <a:pt x="438" y="465"/>
                  </a:cubicBezTo>
                  <a:cubicBezTo>
                    <a:pt x="116" y="465"/>
                    <a:pt x="116" y="465"/>
                    <a:pt x="116" y="465"/>
                  </a:cubicBezTo>
                  <a:cubicBezTo>
                    <a:pt x="116" y="419"/>
                    <a:pt x="116" y="419"/>
                    <a:pt x="116" y="419"/>
                  </a:cubicBezTo>
                  <a:cubicBezTo>
                    <a:pt x="116" y="416"/>
                    <a:pt x="115" y="413"/>
                    <a:pt x="112" y="411"/>
                  </a:cubicBezTo>
                  <a:cubicBezTo>
                    <a:pt x="110" y="410"/>
                    <a:pt x="106" y="410"/>
                    <a:pt x="104" y="411"/>
                  </a:cubicBezTo>
                  <a:cubicBezTo>
                    <a:pt x="9" y="466"/>
                    <a:pt x="9" y="466"/>
                    <a:pt x="9" y="466"/>
                  </a:cubicBezTo>
                  <a:cubicBezTo>
                    <a:pt x="6" y="468"/>
                    <a:pt x="5" y="470"/>
                    <a:pt x="5" y="474"/>
                  </a:cubicBezTo>
                  <a:cubicBezTo>
                    <a:pt x="5" y="477"/>
                    <a:pt x="6" y="479"/>
                    <a:pt x="9" y="481"/>
                  </a:cubicBezTo>
                  <a:cubicBezTo>
                    <a:pt x="104" y="536"/>
                    <a:pt x="104" y="536"/>
                    <a:pt x="104" y="536"/>
                  </a:cubicBezTo>
                  <a:cubicBezTo>
                    <a:pt x="105" y="536"/>
                    <a:pt x="106" y="537"/>
                    <a:pt x="108" y="537"/>
                  </a:cubicBezTo>
                  <a:cubicBezTo>
                    <a:pt x="109" y="537"/>
                    <a:pt x="111" y="536"/>
                    <a:pt x="112" y="536"/>
                  </a:cubicBezTo>
                  <a:cubicBezTo>
                    <a:pt x="115" y="534"/>
                    <a:pt x="116" y="531"/>
                    <a:pt x="116" y="528"/>
                  </a:cubicBezTo>
                  <a:cubicBezTo>
                    <a:pt x="116" y="482"/>
                    <a:pt x="116" y="482"/>
                    <a:pt x="116" y="482"/>
                  </a:cubicBezTo>
                  <a:cubicBezTo>
                    <a:pt x="438" y="482"/>
                    <a:pt x="438" y="482"/>
                    <a:pt x="438" y="482"/>
                  </a:cubicBezTo>
                  <a:cubicBezTo>
                    <a:pt x="442" y="509"/>
                    <a:pt x="465" y="530"/>
                    <a:pt x="493" y="530"/>
                  </a:cubicBezTo>
                  <a:cubicBezTo>
                    <a:pt x="524" y="530"/>
                    <a:pt x="549" y="504"/>
                    <a:pt x="549" y="474"/>
                  </a:cubicBezTo>
                  <a:cubicBezTo>
                    <a:pt x="549" y="446"/>
                    <a:pt x="528" y="423"/>
                    <a:pt x="502" y="418"/>
                  </a:cubicBezTo>
                  <a:cubicBezTo>
                    <a:pt x="502" y="276"/>
                    <a:pt x="502" y="276"/>
                    <a:pt x="502" y="276"/>
                  </a:cubicBezTo>
                  <a:cubicBezTo>
                    <a:pt x="540" y="276"/>
                    <a:pt x="540" y="276"/>
                    <a:pt x="540" y="276"/>
                  </a:cubicBezTo>
                  <a:cubicBezTo>
                    <a:pt x="545" y="276"/>
                    <a:pt x="549" y="272"/>
                    <a:pt x="549" y="268"/>
                  </a:cubicBezTo>
                  <a:cubicBezTo>
                    <a:pt x="549" y="173"/>
                    <a:pt x="549" y="173"/>
                    <a:pt x="549" y="173"/>
                  </a:cubicBezTo>
                  <a:cubicBezTo>
                    <a:pt x="549" y="168"/>
                    <a:pt x="545" y="164"/>
                    <a:pt x="540" y="164"/>
                  </a:cubicBezTo>
                  <a:cubicBezTo>
                    <a:pt x="446" y="164"/>
                    <a:pt x="446" y="164"/>
                    <a:pt x="446" y="164"/>
                  </a:cubicBezTo>
                  <a:cubicBezTo>
                    <a:pt x="441" y="164"/>
                    <a:pt x="437" y="168"/>
                    <a:pt x="437" y="173"/>
                  </a:cubicBezTo>
                  <a:cubicBezTo>
                    <a:pt x="437" y="212"/>
                    <a:pt x="437" y="212"/>
                    <a:pt x="437" y="212"/>
                  </a:cubicBezTo>
                  <a:cubicBezTo>
                    <a:pt x="303" y="212"/>
                    <a:pt x="303" y="212"/>
                    <a:pt x="303" y="212"/>
                  </a:cubicBezTo>
                  <a:cubicBezTo>
                    <a:pt x="303" y="140"/>
                    <a:pt x="303" y="140"/>
                    <a:pt x="303" y="140"/>
                  </a:cubicBezTo>
                  <a:cubicBezTo>
                    <a:pt x="338" y="136"/>
                    <a:pt x="365" y="107"/>
                    <a:pt x="365" y="71"/>
                  </a:cubicBezTo>
                  <a:cubicBezTo>
                    <a:pt x="365" y="32"/>
                    <a:pt x="334" y="0"/>
                    <a:pt x="295" y="0"/>
                  </a:cubicBezTo>
                  <a:cubicBezTo>
                    <a:pt x="259" y="0"/>
                    <a:pt x="230" y="27"/>
                    <a:pt x="225" y="62"/>
                  </a:cubicBezTo>
                  <a:cubicBezTo>
                    <a:pt x="77" y="62"/>
                    <a:pt x="77" y="62"/>
                    <a:pt x="77" y="62"/>
                  </a:cubicBezTo>
                  <a:cubicBezTo>
                    <a:pt x="72" y="62"/>
                    <a:pt x="68" y="66"/>
                    <a:pt x="68" y="71"/>
                  </a:cubicBezTo>
                  <a:cubicBezTo>
                    <a:pt x="68" y="150"/>
                    <a:pt x="68" y="150"/>
                    <a:pt x="68" y="150"/>
                  </a:cubicBezTo>
                  <a:cubicBezTo>
                    <a:pt x="4" y="214"/>
                    <a:pt x="4" y="214"/>
                    <a:pt x="4" y="214"/>
                  </a:cubicBezTo>
                  <a:cubicBezTo>
                    <a:pt x="0" y="217"/>
                    <a:pt x="0" y="223"/>
                    <a:pt x="4" y="226"/>
                  </a:cubicBezTo>
                  <a:close/>
                  <a:moveTo>
                    <a:pt x="99" y="513"/>
                  </a:moveTo>
                  <a:cubicBezTo>
                    <a:pt x="30" y="474"/>
                    <a:pt x="30" y="474"/>
                    <a:pt x="30" y="474"/>
                  </a:cubicBezTo>
                  <a:cubicBezTo>
                    <a:pt x="99" y="434"/>
                    <a:pt x="99" y="434"/>
                    <a:pt x="99" y="434"/>
                  </a:cubicBezTo>
                  <a:lnTo>
                    <a:pt x="99" y="513"/>
                  </a:lnTo>
                  <a:close/>
                  <a:moveTo>
                    <a:pt x="532" y="474"/>
                  </a:moveTo>
                  <a:cubicBezTo>
                    <a:pt x="532" y="495"/>
                    <a:pt x="514" y="512"/>
                    <a:pt x="493" y="512"/>
                  </a:cubicBezTo>
                  <a:cubicBezTo>
                    <a:pt x="472" y="512"/>
                    <a:pt x="454" y="495"/>
                    <a:pt x="454" y="474"/>
                  </a:cubicBezTo>
                  <a:cubicBezTo>
                    <a:pt x="454" y="452"/>
                    <a:pt x="472" y="435"/>
                    <a:pt x="493" y="435"/>
                  </a:cubicBezTo>
                  <a:cubicBezTo>
                    <a:pt x="514" y="435"/>
                    <a:pt x="532" y="452"/>
                    <a:pt x="532" y="474"/>
                  </a:cubicBezTo>
                  <a:close/>
                  <a:moveTo>
                    <a:pt x="454" y="181"/>
                  </a:moveTo>
                  <a:cubicBezTo>
                    <a:pt x="532" y="181"/>
                    <a:pt x="532" y="181"/>
                    <a:pt x="532" y="181"/>
                  </a:cubicBezTo>
                  <a:cubicBezTo>
                    <a:pt x="532" y="259"/>
                    <a:pt x="532" y="259"/>
                    <a:pt x="532" y="259"/>
                  </a:cubicBezTo>
                  <a:cubicBezTo>
                    <a:pt x="454" y="259"/>
                    <a:pt x="454" y="259"/>
                    <a:pt x="454" y="259"/>
                  </a:cubicBezTo>
                  <a:lnTo>
                    <a:pt x="454" y="181"/>
                  </a:lnTo>
                  <a:close/>
                  <a:moveTo>
                    <a:pt x="295" y="17"/>
                  </a:moveTo>
                  <a:cubicBezTo>
                    <a:pt x="324" y="17"/>
                    <a:pt x="348" y="41"/>
                    <a:pt x="348" y="71"/>
                  </a:cubicBezTo>
                  <a:cubicBezTo>
                    <a:pt x="348" y="100"/>
                    <a:pt x="324" y="124"/>
                    <a:pt x="295" y="124"/>
                  </a:cubicBezTo>
                  <a:cubicBezTo>
                    <a:pt x="265" y="124"/>
                    <a:pt x="242" y="100"/>
                    <a:pt x="242" y="71"/>
                  </a:cubicBezTo>
                  <a:cubicBezTo>
                    <a:pt x="242" y="41"/>
                    <a:pt x="265" y="17"/>
                    <a:pt x="295" y="17"/>
                  </a:cubicBezTo>
                  <a:close/>
                  <a:moveTo>
                    <a:pt x="225" y="79"/>
                  </a:moveTo>
                  <a:cubicBezTo>
                    <a:pt x="229" y="111"/>
                    <a:pt x="254" y="136"/>
                    <a:pt x="286" y="140"/>
                  </a:cubicBezTo>
                  <a:cubicBezTo>
                    <a:pt x="286" y="212"/>
                    <a:pt x="286" y="212"/>
                    <a:pt x="286" y="212"/>
                  </a:cubicBezTo>
                  <a:cubicBezTo>
                    <a:pt x="148" y="212"/>
                    <a:pt x="148" y="212"/>
                    <a:pt x="148" y="212"/>
                  </a:cubicBezTo>
                  <a:cubicBezTo>
                    <a:pt x="86" y="150"/>
                    <a:pt x="86" y="150"/>
                    <a:pt x="86" y="150"/>
                  </a:cubicBezTo>
                  <a:cubicBezTo>
                    <a:pt x="86" y="79"/>
                    <a:pt x="86" y="79"/>
                    <a:pt x="86" y="79"/>
                  </a:cubicBezTo>
                  <a:lnTo>
                    <a:pt x="225" y="79"/>
                  </a:lnTo>
                  <a:close/>
                  <a:moveTo>
                    <a:pt x="77" y="165"/>
                  </a:moveTo>
                  <a:cubicBezTo>
                    <a:pt x="132" y="220"/>
                    <a:pt x="132" y="220"/>
                    <a:pt x="132" y="220"/>
                  </a:cubicBezTo>
                  <a:cubicBezTo>
                    <a:pt x="77" y="275"/>
                    <a:pt x="77" y="275"/>
                    <a:pt x="77" y="275"/>
                  </a:cubicBezTo>
                  <a:cubicBezTo>
                    <a:pt x="22" y="220"/>
                    <a:pt x="22" y="220"/>
                    <a:pt x="22" y="220"/>
                  </a:cubicBezTo>
                  <a:lnTo>
                    <a:pt x="77" y="16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444"/>
                </a:solidFill>
                <a:highlight>
                  <a:srgbClr val="FFFF00"/>
                </a:highlight>
                <a:latin typeface="Calibri"/>
                <a:ea typeface="Calibri"/>
                <a:cs typeface="Calibri"/>
                <a:sym typeface="Calibri"/>
              </a:endParaRPr>
            </a:p>
          </p:txBody>
        </p:sp>
      </p:grpSp>
      <p:pic>
        <p:nvPicPr>
          <p:cNvPr id="1656" name="Google Shape;1656;p75"/>
          <p:cNvPicPr preferRelativeResize="0"/>
          <p:nvPr/>
        </p:nvPicPr>
        <p:blipFill rotWithShape="1">
          <a:blip r:embed="rId3">
            <a:alphaModFix/>
          </a:blip>
          <a:srcRect/>
          <a:stretch/>
        </p:blipFill>
        <p:spPr>
          <a:xfrm>
            <a:off x="539400" y="560588"/>
            <a:ext cx="848783" cy="766477"/>
          </a:xfrm>
          <a:prstGeom prst="rect">
            <a:avLst/>
          </a:prstGeom>
          <a:noFill/>
          <a:ln>
            <a:noFill/>
          </a:ln>
        </p:spPr>
      </p:pic>
      <p:sp>
        <p:nvSpPr>
          <p:cNvPr id="1657" name="Google Shape;1657;p75"/>
          <p:cNvSpPr txBox="1"/>
          <p:nvPr/>
        </p:nvSpPr>
        <p:spPr>
          <a:xfrm>
            <a:off x="1534212" y="560588"/>
            <a:ext cx="1446457" cy="837152"/>
          </a:xfrm>
          <a:prstGeom prst="rect">
            <a:avLst/>
          </a:prstGeom>
          <a:noFill/>
          <a:ln>
            <a:noFill/>
          </a:ln>
        </p:spPr>
        <p:txBody>
          <a:bodyPr spcFirstLastPara="1" wrap="square" lIns="0" tIns="0" rIns="0" bIns="0" anchor="t" anchorCtr="0">
            <a:spAutoFit/>
          </a:bodyPr>
          <a:lstStyle/>
          <a:p>
            <a:pPr marL="0" marR="0" lvl="0" indent="0" algn="l" rtl="0">
              <a:lnSpc>
                <a:spcPct val="85000"/>
              </a:lnSpc>
              <a:spcBef>
                <a:spcPts val="0"/>
              </a:spcBef>
              <a:spcAft>
                <a:spcPts val="0"/>
              </a:spcAft>
              <a:buClr>
                <a:srgbClr val="000000"/>
              </a:buClr>
              <a:buSzPts val="3200"/>
              <a:buFont typeface="Arial"/>
              <a:buNone/>
            </a:pPr>
            <a:r>
              <a:rPr lang="en-US" sz="3200" b="0" i="0" u="none" strike="noStrike" cap="none" dirty="0">
                <a:solidFill>
                  <a:schemeClr val="dk2"/>
                </a:solidFill>
                <a:latin typeface="Franklin Gothic"/>
                <a:ea typeface="Franklin Gothic"/>
                <a:cs typeface="Franklin Gothic"/>
                <a:sym typeface="Franklin Gothic"/>
              </a:rPr>
              <a:t>CASE</a:t>
            </a:r>
            <a:br>
              <a:rPr lang="en-US" sz="3200" b="0" i="0" u="none" strike="noStrike" cap="none" dirty="0">
                <a:solidFill>
                  <a:schemeClr val="dk2"/>
                </a:solidFill>
                <a:latin typeface="Franklin Gothic"/>
                <a:ea typeface="Franklin Gothic"/>
                <a:cs typeface="Franklin Gothic"/>
                <a:sym typeface="Franklin Gothic"/>
              </a:rPr>
            </a:br>
            <a:r>
              <a:rPr lang="en-US" sz="3200" b="0" i="0" u="none" strike="noStrike" cap="none" dirty="0">
                <a:solidFill>
                  <a:schemeClr val="dk2"/>
                </a:solidFill>
                <a:latin typeface="Franklin Gothic"/>
                <a:ea typeface="Franklin Gothic"/>
                <a:cs typeface="Franklin Gothic"/>
                <a:sym typeface="Franklin Gothic"/>
              </a:rPr>
              <a:t>STUDY</a:t>
            </a:r>
            <a:endParaRPr sz="1400" b="0" i="0" u="none" strike="noStrike" cap="none" dirty="0">
              <a:solidFill>
                <a:srgbClr val="000000"/>
              </a:solidFill>
              <a:latin typeface="Arial"/>
              <a:ea typeface="Arial"/>
              <a:cs typeface="Arial"/>
              <a:sym typeface="Arial"/>
            </a:endParaRPr>
          </a:p>
        </p:txBody>
      </p:sp>
      <p:cxnSp>
        <p:nvCxnSpPr>
          <p:cNvPr id="1658" name="Google Shape;1658;p75"/>
          <p:cNvCxnSpPr/>
          <p:nvPr/>
        </p:nvCxnSpPr>
        <p:spPr>
          <a:xfrm>
            <a:off x="539400" y="1479434"/>
            <a:ext cx="2314257" cy="0"/>
          </a:xfrm>
          <a:prstGeom prst="straightConnector1">
            <a:avLst/>
          </a:prstGeom>
          <a:noFill/>
          <a:ln w="19050" cap="flat" cmpd="sng">
            <a:solidFill>
              <a:schemeClr val="dk2"/>
            </a:solidFill>
            <a:prstDash val="solid"/>
            <a:miter lim="800000"/>
            <a:headEnd type="none" w="sm" len="sm"/>
            <a:tailEnd type="none" w="sm" len="sm"/>
          </a:ln>
        </p:spPr>
      </p:cxnSp>
      <p:sp>
        <p:nvSpPr>
          <p:cNvPr id="1659" name="Google Shape;1659;p75"/>
          <p:cNvSpPr txBox="1"/>
          <p:nvPr/>
        </p:nvSpPr>
        <p:spPr>
          <a:xfrm>
            <a:off x="563344" y="1610994"/>
            <a:ext cx="2334136"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1"/>
              </a:buClr>
              <a:buSzPts val="1800"/>
              <a:buFont typeface="Arial"/>
              <a:buNone/>
            </a:pPr>
            <a:r>
              <a:rPr lang="en-US" sz="1800" b="0" i="0" u="none" strike="noStrike" cap="none">
                <a:solidFill>
                  <a:schemeClr val="dk1"/>
                </a:solidFill>
                <a:latin typeface="Franklin Gothic"/>
                <a:ea typeface="Franklin Gothic"/>
                <a:cs typeface="Franklin Gothic"/>
                <a:sym typeface="Franklin Gothic"/>
              </a:rPr>
              <a:t>Client:</a:t>
            </a:r>
            <a:endParaRPr sz="1400" b="0" i="0" u="none" strike="noStrike" cap="none">
              <a:solidFill>
                <a:srgbClr val="000000"/>
              </a:solidFill>
              <a:latin typeface="Arial"/>
              <a:ea typeface="Arial"/>
              <a:cs typeface="Arial"/>
              <a:sym typeface="Arial"/>
            </a:endParaRPr>
          </a:p>
        </p:txBody>
      </p:sp>
      <p:sp>
        <p:nvSpPr>
          <p:cNvPr id="1660" name="Google Shape;1660;p75"/>
          <p:cNvSpPr txBox="1"/>
          <p:nvPr/>
        </p:nvSpPr>
        <p:spPr>
          <a:xfrm>
            <a:off x="563344" y="1930557"/>
            <a:ext cx="2314257" cy="20005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300"/>
              <a:buFont typeface="Arial"/>
              <a:buNone/>
            </a:pPr>
            <a:r>
              <a:rPr lang="en-US" sz="1300" b="0" i="0" u="none" strike="noStrike" cap="none" dirty="0">
                <a:solidFill>
                  <a:srgbClr val="444444"/>
                </a:solidFill>
                <a:latin typeface="Calibri"/>
                <a:ea typeface="Calibri"/>
                <a:cs typeface="Calibri"/>
                <a:sym typeface="Calibri"/>
              </a:rPr>
              <a:t>A multinational firm</a:t>
            </a:r>
            <a:endParaRPr sz="1300" b="0" i="0" u="none" strike="noStrike" cap="none" dirty="0">
              <a:solidFill>
                <a:srgbClr val="444444"/>
              </a:solidFill>
              <a:latin typeface="Calibri"/>
              <a:ea typeface="Calibri"/>
              <a:cs typeface="Calibri"/>
              <a:sym typeface="Calibri"/>
            </a:endParaRPr>
          </a:p>
        </p:txBody>
      </p:sp>
      <p:pic>
        <p:nvPicPr>
          <p:cNvPr id="1661" name="Google Shape;1661;p75"/>
          <p:cNvPicPr preferRelativeResize="0"/>
          <p:nvPr/>
        </p:nvPicPr>
        <p:blipFill rotWithShape="1">
          <a:blip r:embed="rId4">
            <a:alphaModFix/>
          </a:blip>
          <a:srcRect/>
          <a:stretch/>
        </p:blipFill>
        <p:spPr>
          <a:xfrm>
            <a:off x="7801470" y="595174"/>
            <a:ext cx="601166" cy="601166"/>
          </a:xfrm>
          <a:prstGeom prst="rect">
            <a:avLst/>
          </a:prstGeom>
          <a:noFill/>
          <a:ln>
            <a:noFill/>
          </a:ln>
        </p:spPr>
      </p:pic>
      <p:pic>
        <p:nvPicPr>
          <p:cNvPr id="1662" name="Google Shape;1662;p75"/>
          <p:cNvPicPr preferRelativeResize="0"/>
          <p:nvPr/>
        </p:nvPicPr>
        <p:blipFill rotWithShape="1">
          <a:blip r:embed="rId5">
            <a:alphaModFix/>
          </a:blip>
          <a:srcRect/>
          <a:stretch/>
        </p:blipFill>
        <p:spPr>
          <a:xfrm>
            <a:off x="4914272" y="598939"/>
            <a:ext cx="591178" cy="591178"/>
          </a:xfrm>
          <a:prstGeom prst="rect">
            <a:avLst/>
          </a:prstGeom>
          <a:noFill/>
          <a:ln>
            <a:noFill/>
          </a:ln>
        </p:spPr>
      </p:pic>
      <p:grpSp>
        <p:nvGrpSpPr>
          <p:cNvPr id="1663" name="Google Shape;1663;p75"/>
          <p:cNvGrpSpPr/>
          <p:nvPr/>
        </p:nvGrpSpPr>
        <p:grpSpPr>
          <a:xfrm>
            <a:off x="3371589" y="3345510"/>
            <a:ext cx="457200" cy="457200"/>
            <a:chOff x="5019786" y="5350940"/>
            <a:chExt cx="457200" cy="457200"/>
          </a:xfrm>
        </p:grpSpPr>
        <p:sp>
          <p:nvSpPr>
            <p:cNvPr id="1664" name="Google Shape;1664;p75"/>
            <p:cNvSpPr/>
            <p:nvPr/>
          </p:nvSpPr>
          <p:spPr>
            <a:xfrm>
              <a:off x="5019786" y="5350940"/>
              <a:ext cx="457200" cy="457200"/>
            </a:xfrm>
            <a:prstGeom prst="ellipse">
              <a:avLst/>
            </a:prstGeom>
            <a:noFill/>
            <a:ln w="12700" cap="flat" cmpd="sng">
              <a:solidFill>
                <a:srgbClr val="0F47F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665" name="Google Shape;1665;p75" descr="Gears"/>
            <p:cNvPicPr preferRelativeResize="0"/>
            <p:nvPr/>
          </p:nvPicPr>
          <p:blipFill rotWithShape="1">
            <a:blip r:embed="rId6">
              <a:alphaModFix/>
            </a:blip>
            <a:srcRect/>
            <a:stretch/>
          </p:blipFill>
          <p:spPr>
            <a:xfrm>
              <a:off x="5065506" y="5401573"/>
              <a:ext cx="365760" cy="365760"/>
            </a:xfrm>
            <a:prstGeom prst="rect">
              <a:avLst/>
            </a:prstGeom>
            <a:noFill/>
            <a:ln>
              <a:noFill/>
            </a:ln>
          </p:spPr>
        </p:pic>
      </p:grpSp>
      <p:grpSp>
        <p:nvGrpSpPr>
          <p:cNvPr id="1666" name="Google Shape;1666;p75"/>
          <p:cNvGrpSpPr/>
          <p:nvPr/>
        </p:nvGrpSpPr>
        <p:grpSpPr>
          <a:xfrm>
            <a:off x="3371589" y="4228244"/>
            <a:ext cx="457200" cy="457200"/>
            <a:chOff x="3378894" y="3514738"/>
            <a:chExt cx="457200" cy="457200"/>
          </a:xfrm>
        </p:grpSpPr>
        <p:pic>
          <p:nvPicPr>
            <p:cNvPr id="1667" name="Google Shape;1667;p75" descr="Arrow circle"/>
            <p:cNvPicPr preferRelativeResize="0"/>
            <p:nvPr/>
          </p:nvPicPr>
          <p:blipFill rotWithShape="1">
            <a:blip r:embed="rId7">
              <a:alphaModFix/>
            </a:blip>
            <a:srcRect/>
            <a:stretch/>
          </p:blipFill>
          <p:spPr>
            <a:xfrm>
              <a:off x="3424614" y="3560458"/>
              <a:ext cx="365760" cy="365760"/>
            </a:xfrm>
            <a:prstGeom prst="rect">
              <a:avLst/>
            </a:prstGeom>
            <a:noFill/>
            <a:ln>
              <a:noFill/>
            </a:ln>
          </p:spPr>
        </p:pic>
        <p:sp>
          <p:nvSpPr>
            <p:cNvPr id="1668" name="Google Shape;1668;p75"/>
            <p:cNvSpPr/>
            <p:nvPr/>
          </p:nvSpPr>
          <p:spPr>
            <a:xfrm>
              <a:off x="3378894" y="3514738"/>
              <a:ext cx="457200" cy="457200"/>
            </a:xfrm>
            <a:prstGeom prst="ellipse">
              <a:avLst/>
            </a:prstGeom>
            <a:noFill/>
            <a:ln w="12700" cap="flat" cmpd="sng">
              <a:solidFill>
                <a:srgbClr val="0F47F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grpSp>
        <p:nvGrpSpPr>
          <p:cNvPr id="1669" name="Google Shape;1669;p75"/>
          <p:cNvGrpSpPr/>
          <p:nvPr/>
        </p:nvGrpSpPr>
        <p:grpSpPr>
          <a:xfrm>
            <a:off x="3371589" y="5110978"/>
            <a:ext cx="457200" cy="457200"/>
            <a:chOff x="3396648" y="4559261"/>
            <a:chExt cx="457200" cy="457200"/>
          </a:xfrm>
        </p:grpSpPr>
        <p:sp>
          <p:nvSpPr>
            <p:cNvPr id="1670" name="Google Shape;1670;p75"/>
            <p:cNvSpPr/>
            <p:nvPr/>
          </p:nvSpPr>
          <p:spPr>
            <a:xfrm>
              <a:off x="3396648" y="4559261"/>
              <a:ext cx="457200" cy="457200"/>
            </a:xfrm>
            <a:prstGeom prst="ellipse">
              <a:avLst/>
            </a:prstGeom>
            <a:noFill/>
            <a:ln w="12700" cap="flat" cmpd="sng">
              <a:solidFill>
                <a:srgbClr val="0F47F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671" name="Google Shape;1671;p75" descr="Dollar"/>
            <p:cNvPicPr preferRelativeResize="0"/>
            <p:nvPr/>
          </p:nvPicPr>
          <p:blipFill rotWithShape="1">
            <a:blip r:embed="rId8">
              <a:alphaModFix/>
            </a:blip>
            <a:srcRect/>
            <a:stretch/>
          </p:blipFill>
          <p:spPr>
            <a:xfrm>
              <a:off x="3442368" y="4633632"/>
              <a:ext cx="365760" cy="308458"/>
            </a:xfrm>
            <a:prstGeom prst="rect">
              <a:avLst/>
            </a:prstGeom>
            <a:noFill/>
            <a:ln>
              <a:noFill/>
            </a:ln>
          </p:spPr>
        </p:pic>
      </p:grpSp>
      <p:sp>
        <p:nvSpPr>
          <p:cNvPr id="1672" name="Google Shape;1672;p75"/>
          <p:cNvSpPr txBox="1"/>
          <p:nvPr/>
        </p:nvSpPr>
        <p:spPr>
          <a:xfrm>
            <a:off x="3942673" y="5015225"/>
            <a:ext cx="1645920" cy="86177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rgbClr val="444444"/>
                </a:solidFill>
                <a:latin typeface="Calibri"/>
                <a:ea typeface="Calibri"/>
                <a:cs typeface="Calibri"/>
                <a:sym typeface="Calibri"/>
              </a:rPr>
              <a:t>Lower cost </a:t>
            </a:r>
            <a:r>
              <a:rPr lang="en-US" dirty="0">
                <a:solidFill>
                  <a:srgbClr val="444444"/>
                </a:solidFill>
                <a:latin typeface="Calibri"/>
                <a:ea typeface="Calibri"/>
                <a:cs typeface="Calibri"/>
                <a:sym typeface="Calibri"/>
              </a:rPr>
              <a:t>than</a:t>
            </a:r>
            <a:r>
              <a:rPr lang="en-US" sz="1400" i="0" u="none" strike="noStrike" cap="none" dirty="0">
                <a:solidFill>
                  <a:srgbClr val="444444"/>
                </a:solidFill>
                <a:latin typeface="Calibri"/>
                <a:ea typeface="Calibri"/>
                <a:cs typeface="Calibri"/>
                <a:sym typeface="Calibri"/>
              </a:rPr>
              <a:t> buying from a specialized company an HR Dashboard tool</a:t>
            </a:r>
            <a:endParaRPr sz="1400" b="0" i="0" u="none" strike="noStrike" cap="none" dirty="0">
              <a:solidFill>
                <a:srgbClr val="000000"/>
              </a:solidFill>
              <a:latin typeface="Arial"/>
              <a:ea typeface="Arial"/>
              <a:cs typeface="Arial"/>
              <a:sym typeface="Arial"/>
            </a:endParaRPr>
          </a:p>
        </p:txBody>
      </p:sp>
      <p:sp>
        <p:nvSpPr>
          <p:cNvPr id="1673" name="Google Shape;1673;p75"/>
          <p:cNvSpPr txBox="1"/>
          <p:nvPr/>
        </p:nvSpPr>
        <p:spPr>
          <a:xfrm>
            <a:off x="5174046" y="6945699"/>
            <a:ext cx="65" cy="21544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74" name="Google Shape;1674;p75"/>
          <p:cNvSpPr txBox="1"/>
          <p:nvPr/>
        </p:nvSpPr>
        <p:spPr>
          <a:xfrm>
            <a:off x="3911159" y="3358667"/>
            <a:ext cx="1645920" cy="430887"/>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rgbClr val="444444"/>
                </a:solidFill>
                <a:latin typeface="Calibri"/>
                <a:ea typeface="Calibri"/>
                <a:cs typeface="Calibri"/>
                <a:sym typeface="Calibri"/>
              </a:rPr>
              <a:t>Effective and quick </a:t>
            </a:r>
            <a:r>
              <a:rPr lang="en-US" sz="1400" b="0" i="0" u="none" strike="noStrike" cap="none">
                <a:solidFill>
                  <a:srgbClr val="444444"/>
                </a:solidFill>
                <a:latin typeface="Calibri"/>
                <a:ea typeface="Calibri"/>
                <a:cs typeface="Calibri"/>
                <a:sym typeface="Calibri"/>
              </a:rPr>
              <a:t>solution</a:t>
            </a:r>
            <a:endParaRPr sz="1400" b="0" i="0" u="none" strike="noStrike" cap="none">
              <a:solidFill>
                <a:srgbClr val="000000"/>
              </a:solidFill>
              <a:latin typeface="Arial"/>
              <a:ea typeface="Arial"/>
              <a:cs typeface="Arial"/>
              <a:sym typeface="Arial"/>
            </a:endParaRPr>
          </a:p>
        </p:txBody>
      </p:sp>
      <p:sp>
        <p:nvSpPr>
          <p:cNvPr id="1675" name="Google Shape;1675;p75"/>
          <p:cNvSpPr txBox="1"/>
          <p:nvPr/>
        </p:nvSpPr>
        <p:spPr>
          <a:xfrm>
            <a:off x="3953388" y="4232199"/>
            <a:ext cx="1645920" cy="6463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rgbClr val="444444"/>
                </a:solidFill>
                <a:latin typeface="Calibri"/>
                <a:ea typeface="Calibri"/>
                <a:cs typeface="Calibri"/>
                <a:sym typeface="Calibri"/>
              </a:rPr>
              <a:t>Smooth integration </a:t>
            </a:r>
            <a:r>
              <a:rPr lang="en-US" sz="1400" b="0" i="0" u="none" strike="noStrike" cap="none" dirty="0">
                <a:solidFill>
                  <a:srgbClr val="444444"/>
                </a:solidFill>
                <a:latin typeface="Calibri"/>
                <a:ea typeface="Calibri"/>
                <a:cs typeface="Calibri"/>
                <a:sym typeface="Calibri"/>
              </a:rPr>
              <a:t>with its existing ERPs </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676" name="Google Shape;1676;p75"/>
          <p:cNvSpPr txBox="1"/>
          <p:nvPr/>
        </p:nvSpPr>
        <p:spPr>
          <a:xfrm>
            <a:off x="7095831" y="5002699"/>
            <a:ext cx="1606010" cy="86177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rgbClr val="000000"/>
                </a:solidFill>
                <a:latin typeface="Calibri"/>
                <a:ea typeface="Calibri"/>
                <a:cs typeface="Calibri"/>
                <a:sym typeface="Calibri"/>
              </a:rPr>
              <a:t>Ad-hoc deliverables :</a:t>
            </a:r>
          </a:p>
          <a:p>
            <a:pPr marL="0" marR="0" lvl="0" indent="0" algn="l" rtl="0">
              <a:lnSpc>
                <a:spcPct val="100000"/>
              </a:lnSpc>
              <a:spcBef>
                <a:spcPts val="0"/>
              </a:spcBef>
              <a:spcAft>
                <a:spcPts val="0"/>
              </a:spcAft>
              <a:buClr>
                <a:srgbClr val="000000"/>
              </a:buClr>
              <a:buSzPts val="1400"/>
              <a:buFont typeface="Arial"/>
              <a:buNone/>
            </a:pPr>
            <a:r>
              <a:rPr lang="en-US" dirty="0">
                <a:latin typeface="Calibri"/>
                <a:ea typeface="Calibri"/>
                <a:cs typeface="Calibri"/>
                <a:sym typeface="Calibri"/>
              </a:rPr>
              <a:t>Dictionaries, Creation of Metadata, Data Quality On boarding</a:t>
            </a:r>
            <a:endParaRPr sz="1400" i="0" u="none" strike="noStrike" cap="none" dirty="0">
              <a:solidFill>
                <a:srgbClr val="000000"/>
              </a:solidFill>
              <a:latin typeface="Arial"/>
              <a:ea typeface="Arial"/>
              <a:cs typeface="Arial"/>
              <a:sym typeface="Arial"/>
            </a:endParaRPr>
          </a:p>
        </p:txBody>
      </p:sp>
      <p:sp>
        <p:nvSpPr>
          <p:cNvPr id="1760" name="Google Shape;1760;p75"/>
          <p:cNvSpPr txBox="1"/>
          <p:nvPr/>
        </p:nvSpPr>
        <p:spPr>
          <a:xfrm>
            <a:off x="7068738" y="2355848"/>
            <a:ext cx="1597572" cy="2369880"/>
          </a:xfrm>
          <a:prstGeom prst="rect">
            <a:avLst/>
          </a:prstGeom>
          <a:noFill/>
          <a:ln>
            <a:noFill/>
          </a:ln>
        </p:spPr>
        <p:txBody>
          <a:bodyPr spcFirstLastPara="1" wrap="square" lIns="0" tIns="0" rIns="0" bIns="0" anchor="t" anchorCtr="0">
            <a:spAutoFit/>
          </a:bodyPr>
          <a:lstStyle/>
          <a:p>
            <a:pPr marL="0" lvl="0" indent="0">
              <a:buSzPts val="1400"/>
              <a:buFont typeface="Arial"/>
              <a:buNone/>
            </a:pPr>
            <a:r>
              <a:rPr lang="en-US" b="1" dirty="0">
                <a:latin typeface="Calibri"/>
                <a:ea typeface="Calibri"/>
                <a:cs typeface="Calibri"/>
                <a:sym typeface="Calibri"/>
              </a:rPr>
              <a:t>Data Quality &amp; Consistency problems </a:t>
            </a:r>
            <a:r>
              <a:rPr lang="en-US" dirty="0">
                <a:latin typeface="Calibri"/>
                <a:ea typeface="Calibri"/>
                <a:cs typeface="Calibri"/>
                <a:sym typeface="Calibri"/>
              </a:rPr>
              <a:t>between the various Data sources </a:t>
            </a:r>
            <a:endParaRPr dirty="0">
              <a:latin typeface="Calibri"/>
              <a:ea typeface="Calibri"/>
              <a:cs typeface="Calibri"/>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444444"/>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400"/>
              <a:buFont typeface="Arial"/>
              <a:buNone/>
            </a:pPr>
            <a:endParaRPr lang="en-US" sz="1400" b="0" i="0" u="none" strike="noStrike" cap="none" dirty="0">
              <a:solidFill>
                <a:srgbClr val="444444"/>
              </a:solidFill>
              <a:latin typeface="Calibri"/>
              <a:ea typeface="Calibri"/>
              <a:cs typeface="Calibri"/>
              <a:sym typeface="Calibri"/>
            </a:endParaRPr>
          </a:p>
          <a:p>
            <a:pPr>
              <a:buSzPts val="1400"/>
            </a:pPr>
            <a:r>
              <a:rPr lang="en-US" b="1" dirty="0">
                <a:latin typeface="Calibri"/>
                <a:ea typeface="Calibri"/>
                <a:cs typeface="Calibri"/>
                <a:sym typeface="Calibri"/>
              </a:rPr>
              <a:t>Dashboard creation </a:t>
            </a:r>
            <a:r>
              <a:rPr lang="en-US" dirty="0">
                <a:latin typeface="Calibri"/>
                <a:ea typeface="Calibri"/>
                <a:cs typeface="Calibri"/>
                <a:sym typeface="Calibri"/>
              </a:rPr>
              <a:t>that reflects HR Team needs</a:t>
            </a:r>
            <a:endParaRPr dirty="0">
              <a:latin typeface="Calibri"/>
              <a:ea typeface="Calibri"/>
              <a:cs typeface="Calibri"/>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761" name="Google Shape;1761;p75"/>
          <p:cNvSpPr txBox="1"/>
          <p:nvPr/>
        </p:nvSpPr>
        <p:spPr>
          <a:xfrm>
            <a:off x="9174577" y="1527156"/>
            <a:ext cx="2188748" cy="1015663"/>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300" b="0" i="0" u="none" strike="noStrike" cap="none" dirty="0">
                <a:solidFill>
                  <a:srgbClr val="444444"/>
                </a:solidFill>
                <a:latin typeface="Calibri" panose="020F0502020204030204" pitchFamily="34" charset="0"/>
                <a:ea typeface="Calibri" panose="020F0502020204030204" pitchFamily="34" charset="0"/>
                <a:cs typeface="Calibri" panose="020F0502020204030204" pitchFamily="34" charset="0"/>
                <a:sym typeface="Calibri"/>
              </a:rPr>
              <a:t>The firm recognized </a:t>
            </a:r>
            <a:r>
              <a:rPr lang="en-US" sz="1300" b="1" i="0" u="none" strike="noStrike" cap="none" dirty="0">
                <a:solidFill>
                  <a:srgbClr val="444444"/>
                </a:solidFill>
                <a:latin typeface="Calibri" panose="020F0502020204030204" pitchFamily="34" charset="0"/>
                <a:ea typeface="Calibri" panose="020F0502020204030204" pitchFamily="34" charset="0"/>
                <a:cs typeface="Calibri" panose="020F0502020204030204" pitchFamily="34" charset="0"/>
                <a:sym typeface="Calibri"/>
              </a:rPr>
              <a:t>that the quality of the Data Analytics service provided a </a:t>
            </a:r>
            <a:r>
              <a:rPr lang="en-US" sz="1300" b="1" dirty="0">
                <a:solidFill>
                  <a:srgbClr val="444444"/>
                </a:solidFill>
                <a:latin typeface="Calibri" panose="020F0502020204030204" pitchFamily="34" charset="0"/>
                <a:ea typeface="Calibri" panose="020F0502020204030204" pitchFamily="34" charset="0"/>
                <a:cs typeface="Calibri" panose="020F0502020204030204" pitchFamily="34" charset="0"/>
                <a:sym typeface="Calibri"/>
              </a:rPr>
              <a:t>useful reporting tool </a:t>
            </a:r>
            <a:r>
              <a:rPr lang="en-US" sz="1300" b="0" i="0" u="none" strike="noStrike" cap="none" dirty="0">
                <a:solidFill>
                  <a:srgbClr val="444444"/>
                </a:solidFill>
                <a:latin typeface="Calibri" panose="020F0502020204030204" pitchFamily="34" charset="0"/>
                <a:ea typeface="Calibri" panose="020F0502020204030204" pitchFamily="34" charset="0"/>
                <a:cs typeface="Calibri" panose="020F0502020204030204" pitchFamily="34" charset="0"/>
                <a:sym typeface="Calibri"/>
              </a:rPr>
              <a:t>resulting in:</a:t>
            </a:r>
            <a:endParaRPr sz="1300" b="0" i="0" u="none" strike="noStrike" cap="none" dirty="0">
              <a:solidFill>
                <a:srgbClr val="000000"/>
              </a:solidFill>
              <a:latin typeface="Calibri" panose="020F0502020204030204" pitchFamily="34" charset="0"/>
              <a:ea typeface="Calibri" panose="020F0502020204030204" pitchFamily="34" charset="0"/>
              <a:cs typeface="Calibri" panose="020F0502020204030204" pitchFamily="34" charset="0"/>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highlight>
                <a:srgbClr val="FFFF00"/>
              </a:highlight>
              <a:latin typeface="Arial"/>
              <a:ea typeface="Arial"/>
              <a:cs typeface="Arial"/>
              <a:sym typeface="Arial"/>
            </a:endParaRPr>
          </a:p>
        </p:txBody>
      </p:sp>
      <p:grpSp>
        <p:nvGrpSpPr>
          <p:cNvPr id="1766" name="Google Shape;1766;p75"/>
          <p:cNvGrpSpPr/>
          <p:nvPr/>
        </p:nvGrpSpPr>
        <p:grpSpPr>
          <a:xfrm>
            <a:off x="6272659" y="5145991"/>
            <a:ext cx="590748" cy="569622"/>
            <a:chOff x="6427826" y="3563396"/>
            <a:chExt cx="457200" cy="457200"/>
          </a:xfrm>
        </p:grpSpPr>
        <p:pic>
          <p:nvPicPr>
            <p:cNvPr id="1767" name="Google Shape;1767;p75" descr="List"/>
            <p:cNvPicPr preferRelativeResize="0"/>
            <p:nvPr/>
          </p:nvPicPr>
          <p:blipFill rotWithShape="1">
            <a:blip r:embed="rId9">
              <a:alphaModFix/>
            </a:blip>
            <a:srcRect/>
            <a:stretch/>
          </p:blipFill>
          <p:spPr>
            <a:xfrm>
              <a:off x="6473546" y="3601070"/>
              <a:ext cx="365760" cy="365760"/>
            </a:xfrm>
            <a:prstGeom prst="rect">
              <a:avLst/>
            </a:prstGeom>
            <a:noFill/>
            <a:ln>
              <a:noFill/>
            </a:ln>
          </p:spPr>
        </p:pic>
        <p:sp>
          <p:nvSpPr>
            <p:cNvPr id="1768" name="Google Shape;1768;p75"/>
            <p:cNvSpPr/>
            <p:nvPr/>
          </p:nvSpPr>
          <p:spPr>
            <a:xfrm>
              <a:off x="6427826" y="3563396"/>
              <a:ext cx="457200" cy="457200"/>
            </a:xfrm>
            <a:prstGeom prst="ellipse">
              <a:avLst/>
            </a:prstGeom>
            <a:noFill/>
            <a:ln w="12700" cap="flat" cmpd="sng">
              <a:solidFill>
                <a:srgbClr val="0F47F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grpSp>
        <p:nvGrpSpPr>
          <p:cNvPr id="1769" name="Google Shape;1769;p75"/>
          <p:cNvGrpSpPr/>
          <p:nvPr/>
        </p:nvGrpSpPr>
        <p:grpSpPr>
          <a:xfrm>
            <a:off x="372862" y="3602729"/>
            <a:ext cx="2524618" cy="416560"/>
            <a:chOff x="550863" y="4854495"/>
            <a:chExt cx="3188017" cy="416560"/>
          </a:xfrm>
        </p:grpSpPr>
        <p:cxnSp>
          <p:nvCxnSpPr>
            <p:cNvPr id="1770" name="Google Shape;1770;p75"/>
            <p:cNvCxnSpPr/>
            <p:nvPr/>
          </p:nvCxnSpPr>
          <p:spPr>
            <a:xfrm>
              <a:off x="550863" y="5059680"/>
              <a:ext cx="3188017" cy="0"/>
            </a:xfrm>
            <a:prstGeom prst="straightConnector1">
              <a:avLst/>
            </a:prstGeom>
            <a:noFill/>
            <a:ln w="9525" cap="flat" cmpd="sng">
              <a:solidFill>
                <a:schemeClr val="dk2"/>
              </a:solidFill>
              <a:prstDash val="solid"/>
              <a:miter lim="800000"/>
              <a:headEnd type="none" w="sm" len="sm"/>
              <a:tailEnd type="none" w="sm" len="sm"/>
            </a:ln>
          </p:spPr>
        </p:cxnSp>
        <p:sp>
          <p:nvSpPr>
            <p:cNvPr id="1771" name="Google Shape;1771;p75"/>
            <p:cNvSpPr/>
            <p:nvPr/>
          </p:nvSpPr>
          <p:spPr>
            <a:xfrm>
              <a:off x="1936591" y="4854495"/>
              <a:ext cx="416560" cy="416560"/>
            </a:xfrm>
            <a:prstGeom prst="ellipse">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Calibri"/>
                <a:ea typeface="Calibri"/>
                <a:cs typeface="Calibri"/>
                <a:sym typeface="Calibri"/>
              </a:endParaRPr>
            </a:p>
          </p:txBody>
        </p:sp>
        <p:grpSp>
          <p:nvGrpSpPr>
            <p:cNvPr id="1772" name="Google Shape;1772;p75"/>
            <p:cNvGrpSpPr/>
            <p:nvPr/>
          </p:nvGrpSpPr>
          <p:grpSpPr>
            <a:xfrm>
              <a:off x="1994217" y="4949317"/>
              <a:ext cx="301308" cy="220726"/>
              <a:chOff x="5754688" y="3178175"/>
              <a:chExt cx="682626" cy="500063"/>
            </a:xfrm>
          </p:grpSpPr>
          <p:sp>
            <p:nvSpPr>
              <p:cNvPr id="1773" name="Google Shape;1773;p75"/>
              <p:cNvSpPr/>
              <p:nvPr/>
            </p:nvSpPr>
            <p:spPr>
              <a:xfrm>
                <a:off x="5754688"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6" y="126"/>
                      <a:pt x="16" y="130"/>
                      <a:pt x="10"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5"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444"/>
                  </a:solidFill>
                  <a:latin typeface="Calibri"/>
                  <a:ea typeface="Calibri"/>
                  <a:cs typeface="Calibri"/>
                  <a:sym typeface="Calibri"/>
                </a:endParaRPr>
              </a:p>
            </p:txBody>
          </p:sp>
          <p:sp>
            <p:nvSpPr>
              <p:cNvPr id="1774" name="Google Shape;1774;p75"/>
              <p:cNvSpPr/>
              <p:nvPr/>
            </p:nvSpPr>
            <p:spPr>
              <a:xfrm>
                <a:off x="6121401"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5" y="126"/>
                      <a:pt x="16" y="130"/>
                      <a:pt x="9"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4"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444"/>
                  </a:solidFill>
                  <a:latin typeface="Calibri"/>
                  <a:ea typeface="Calibri"/>
                  <a:cs typeface="Calibri"/>
                  <a:sym typeface="Calibri"/>
                </a:endParaRPr>
              </a:p>
            </p:txBody>
          </p:sp>
        </p:grpSp>
      </p:grpSp>
      <p:grpSp>
        <p:nvGrpSpPr>
          <p:cNvPr id="1775" name="Google Shape;1775;p75"/>
          <p:cNvGrpSpPr/>
          <p:nvPr/>
        </p:nvGrpSpPr>
        <p:grpSpPr>
          <a:xfrm>
            <a:off x="374340" y="5701763"/>
            <a:ext cx="2524618" cy="416560"/>
            <a:chOff x="550863" y="4854495"/>
            <a:chExt cx="3188017" cy="416560"/>
          </a:xfrm>
        </p:grpSpPr>
        <p:cxnSp>
          <p:nvCxnSpPr>
            <p:cNvPr id="1776" name="Google Shape;1776;p75"/>
            <p:cNvCxnSpPr/>
            <p:nvPr/>
          </p:nvCxnSpPr>
          <p:spPr>
            <a:xfrm>
              <a:off x="550863" y="5059680"/>
              <a:ext cx="3188017" cy="0"/>
            </a:xfrm>
            <a:prstGeom prst="straightConnector1">
              <a:avLst/>
            </a:prstGeom>
            <a:noFill/>
            <a:ln w="9525" cap="flat" cmpd="sng">
              <a:solidFill>
                <a:schemeClr val="dk2"/>
              </a:solidFill>
              <a:prstDash val="solid"/>
              <a:miter lim="800000"/>
              <a:headEnd type="none" w="sm" len="sm"/>
              <a:tailEnd type="none" w="sm" len="sm"/>
            </a:ln>
          </p:spPr>
        </p:cxnSp>
        <p:sp>
          <p:nvSpPr>
            <p:cNvPr id="1777" name="Google Shape;1777;p75"/>
            <p:cNvSpPr/>
            <p:nvPr/>
          </p:nvSpPr>
          <p:spPr>
            <a:xfrm>
              <a:off x="1936591" y="4854495"/>
              <a:ext cx="416560" cy="416560"/>
            </a:xfrm>
            <a:prstGeom prst="ellipse">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Calibri"/>
                <a:ea typeface="Calibri"/>
                <a:cs typeface="Calibri"/>
                <a:sym typeface="Calibri"/>
              </a:endParaRPr>
            </a:p>
          </p:txBody>
        </p:sp>
        <p:grpSp>
          <p:nvGrpSpPr>
            <p:cNvPr id="1778" name="Google Shape;1778;p75"/>
            <p:cNvGrpSpPr/>
            <p:nvPr/>
          </p:nvGrpSpPr>
          <p:grpSpPr>
            <a:xfrm>
              <a:off x="1994217" y="4949317"/>
              <a:ext cx="301308" cy="220726"/>
              <a:chOff x="5754688" y="3178175"/>
              <a:chExt cx="682626" cy="500063"/>
            </a:xfrm>
          </p:grpSpPr>
          <p:sp>
            <p:nvSpPr>
              <p:cNvPr id="1779" name="Google Shape;1779;p75"/>
              <p:cNvSpPr/>
              <p:nvPr/>
            </p:nvSpPr>
            <p:spPr>
              <a:xfrm>
                <a:off x="5754688"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6" y="126"/>
                      <a:pt x="16" y="130"/>
                      <a:pt x="10"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5"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444"/>
                  </a:solidFill>
                  <a:latin typeface="Calibri"/>
                  <a:ea typeface="Calibri"/>
                  <a:cs typeface="Calibri"/>
                  <a:sym typeface="Calibri"/>
                </a:endParaRPr>
              </a:p>
            </p:txBody>
          </p:sp>
          <p:sp>
            <p:nvSpPr>
              <p:cNvPr id="1780" name="Google Shape;1780;p75"/>
              <p:cNvSpPr/>
              <p:nvPr/>
            </p:nvSpPr>
            <p:spPr>
              <a:xfrm>
                <a:off x="6121401"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5" y="126"/>
                      <a:pt x="16" y="130"/>
                      <a:pt x="9"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4"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44444"/>
                  </a:solidFill>
                  <a:latin typeface="Calibri"/>
                  <a:ea typeface="Calibri"/>
                  <a:cs typeface="Calibri"/>
                  <a:sym typeface="Calibri"/>
                </a:endParaRPr>
              </a:p>
            </p:txBody>
          </p:sp>
        </p:grpSp>
      </p:grpSp>
      <p:pic>
        <p:nvPicPr>
          <p:cNvPr id="1028" name="Picture 4" descr="The importance of the Data Quality - Captain Verify">
            <a:extLst>
              <a:ext uri="{FF2B5EF4-FFF2-40B4-BE49-F238E27FC236}">
                <a16:creationId xmlns:a16="http://schemas.microsoft.com/office/drawing/2014/main" id="{1F291728-E6CD-505F-29D2-32C25CE0BE8F}"/>
              </a:ext>
            </a:extLst>
          </p:cNvPr>
          <p:cNvPicPr>
            <a:picLocks noChangeAspect="1" noChangeArrowheads="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72659" y="2461759"/>
            <a:ext cx="587845" cy="75449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Report Icons Added to Dashboard Suggestions - 4me">
            <a:extLst>
              <a:ext uri="{FF2B5EF4-FFF2-40B4-BE49-F238E27FC236}">
                <a16:creationId xmlns:a16="http://schemas.microsoft.com/office/drawing/2014/main" id="{F2F727ED-925A-2624-351C-363EC41A1BC4}"/>
              </a:ext>
            </a:extLst>
          </p:cNvPr>
          <p:cNvPicPr>
            <a:picLocks noChangeAspect="1" noChangeArrowheads="1"/>
          </p:cNvPicPr>
          <p:nvPr/>
        </p:nvPicPr>
        <p:blipFill>
          <a:blip r:embed="rId11">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11888" y="3811009"/>
            <a:ext cx="693792" cy="693792"/>
          </a:xfrm>
          <a:prstGeom prst="rect">
            <a:avLst/>
          </a:prstGeom>
          <a:noFill/>
          <a:extLst>
            <a:ext uri="{909E8E84-426E-40DD-AFC4-6F175D3DCCD1}">
              <a14:hiddenFill xmlns:a14="http://schemas.microsoft.com/office/drawing/2010/main">
                <a:solidFill>
                  <a:srgbClr val="FFFFFF"/>
                </a:solidFill>
              </a14:hiddenFill>
            </a:ext>
          </a:extLst>
        </p:spPr>
      </p:pic>
      <p:sp>
        <p:nvSpPr>
          <p:cNvPr id="2" name="Google Shape;1643;p75">
            <a:extLst>
              <a:ext uri="{FF2B5EF4-FFF2-40B4-BE49-F238E27FC236}">
                <a16:creationId xmlns:a16="http://schemas.microsoft.com/office/drawing/2014/main" id="{5505DB6E-4411-614A-C0C3-3FFB33DD3EA8}"/>
              </a:ext>
            </a:extLst>
          </p:cNvPr>
          <p:cNvSpPr txBox="1"/>
          <p:nvPr/>
        </p:nvSpPr>
        <p:spPr>
          <a:xfrm>
            <a:off x="9174577" y="2598378"/>
            <a:ext cx="2456492" cy="120032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444444"/>
              </a:buClr>
              <a:buSzPts val="1300"/>
              <a:buFont typeface="Arial"/>
              <a:buNone/>
            </a:pPr>
            <a:r>
              <a:rPr lang="en-US" sz="1300" dirty="0">
                <a:solidFill>
                  <a:srgbClr val="444444"/>
                </a:solidFill>
                <a:latin typeface="Calibri"/>
                <a:ea typeface="Calibri"/>
                <a:cs typeface="Calibri"/>
                <a:sym typeface="Calibri"/>
              </a:rPr>
              <a:t>During the project, Data were corrected in the ERPs :</a:t>
            </a:r>
          </a:p>
          <a:p>
            <a:pPr marL="285750" marR="0" lvl="0" indent="-285750" algn="l" rtl="0">
              <a:lnSpc>
                <a:spcPct val="100000"/>
              </a:lnSpc>
              <a:spcBef>
                <a:spcPts val="0"/>
              </a:spcBef>
              <a:spcAft>
                <a:spcPts val="0"/>
              </a:spcAft>
              <a:buClr>
                <a:srgbClr val="444444"/>
              </a:buClr>
              <a:buSzPts val="1300"/>
              <a:buFont typeface="Arial" panose="020B0604020202020204" pitchFamily="34" charset="0"/>
              <a:buChar char="•"/>
            </a:pPr>
            <a:r>
              <a:rPr lang="en-US" sz="1300" b="1" dirty="0">
                <a:solidFill>
                  <a:srgbClr val="444444"/>
                </a:solidFill>
                <a:latin typeface="Calibri"/>
                <a:ea typeface="Calibri"/>
                <a:cs typeface="Calibri"/>
                <a:sym typeface="Calibri"/>
              </a:rPr>
              <a:t>Manual files </a:t>
            </a:r>
            <a:r>
              <a:rPr lang="en-US" sz="1300" dirty="0">
                <a:solidFill>
                  <a:srgbClr val="444444"/>
                </a:solidFill>
                <a:latin typeface="Calibri"/>
                <a:ea typeface="Calibri"/>
                <a:cs typeface="Calibri"/>
                <a:sym typeface="Calibri"/>
              </a:rPr>
              <a:t>where</a:t>
            </a:r>
            <a:r>
              <a:rPr lang="en-US" sz="1300" b="1" dirty="0">
                <a:solidFill>
                  <a:srgbClr val="444444"/>
                </a:solidFill>
                <a:latin typeface="Calibri"/>
                <a:ea typeface="Calibri"/>
                <a:cs typeface="Calibri"/>
                <a:sym typeface="Calibri"/>
              </a:rPr>
              <a:t> not used anymore</a:t>
            </a:r>
          </a:p>
          <a:p>
            <a:pPr marL="285750" marR="0" lvl="0" indent="-285750" algn="l" rtl="0">
              <a:lnSpc>
                <a:spcPct val="100000"/>
              </a:lnSpc>
              <a:spcBef>
                <a:spcPts val="0"/>
              </a:spcBef>
              <a:spcAft>
                <a:spcPts val="0"/>
              </a:spcAft>
              <a:buClr>
                <a:srgbClr val="444444"/>
              </a:buClr>
              <a:buSzPts val="1300"/>
              <a:buFont typeface="Arial" panose="020B0604020202020204" pitchFamily="34" charset="0"/>
              <a:buChar char="•"/>
            </a:pPr>
            <a:r>
              <a:rPr lang="en-US" sz="1300" b="1" dirty="0">
                <a:solidFill>
                  <a:srgbClr val="444444"/>
                </a:solidFill>
                <a:latin typeface="Calibri"/>
                <a:ea typeface="Calibri"/>
                <a:cs typeface="Calibri"/>
                <a:sym typeface="Calibri"/>
              </a:rPr>
              <a:t>Data Quality improved by 55% </a:t>
            </a:r>
            <a:r>
              <a:rPr lang="en-US" sz="1300" i="1" dirty="0">
                <a:solidFill>
                  <a:srgbClr val="444444"/>
                </a:solidFill>
                <a:latin typeface="Calibri"/>
                <a:ea typeface="Calibri"/>
                <a:cs typeface="Calibri"/>
                <a:sym typeface="Calibri"/>
              </a:rPr>
              <a:t>for critical data elements </a:t>
            </a:r>
          </a:p>
        </p:txBody>
      </p:sp>
    </p:spTree>
    <p:extLst>
      <p:ext uri="{BB962C8B-B14F-4D97-AF65-F5344CB8AC3E}">
        <p14:creationId xmlns:p14="http://schemas.microsoft.com/office/powerpoint/2010/main" val="21392018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224"/>
        <p:cNvGrpSpPr/>
        <p:nvPr/>
      </p:nvGrpSpPr>
      <p:grpSpPr>
        <a:xfrm>
          <a:off x="0" y="0"/>
          <a:ext cx="0" cy="0"/>
          <a:chOff x="0" y="0"/>
          <a:chExt cx="0" cy="0"/>
        </a:xfrm>
      </p:grpSpPr>
      <p:sp>
        <p:nvSpPr>
          <p:cNvPr id="1225" name="Google Shape;1225;p5"/>
          <p:cNvSpPr/>
          <p:nvPr/>
        </p:nvSpPr>
        <p:spPr>
          <a:xfrm rot="5400000">
            <a:off x="4775482" y="-568154"/>
            <a:ext cx="2113097" cy="11641138"/>
          </a:xfrm>
          <a:prstGeom prst="round2SameRect">
            <a:avLst>
              <a:gd name="adj1" fmla="val 0"/>
              <a:gd name="adj2" fmla="val 0"/>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26" name="Google Shape;1226;p5"/>
          <p:cNvSpPr txBox="1">
            <a:spLocks noGrp="1"/>
          </p:cNvSpPr>
          <p:nvPr>
            <p:ph type="title"/>
          </p:nvPr>
        </p:nvSpPr>
        <p:spPr>
          <a:xfrm>
            <a:off x="539400"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Infomineo has grown into the leader of Brainshoring</a:t>
            </a:r>
            <a:endParaRPr/>
          </a:p>
        </p:txBody>
      </p:sp>
      <p:pic>
        <p:nvPicPr>
          <p:cNvPr id="1227" name="Google Shape;1227;p5"/>
          <p:cNvPicPr preferRelativeResize="0"/>
          <p:nvPr/>
        </p:nvPicPr>
        <p:blipFill rotWithShape="1">
          <a:blip r:embed="rId3">
            <a:alphaModFix/>
          </a:blip>
          <a:srcRect/>
          <a:stretch/>
        </p:blipFill>
        <p:spPr>
          <a:xfrm>
            <a:off x="2642994" y="2333299"/>
            <a:ext cx="714504" cy="494339"/>
          </a:xfrm>
          <a:prstGeom prst="rect">
            <a:avLst/>
          </a:prstGeom>
          <a:noFill/>
          <a:ln>
            <a:noFill/>
          </a:ln>
        </p:spPr>
      </p:pic>
      <p:pic>
        <p:nvPicPr>
          <p:cNvPr id="1228" name="Google Shape;1228;p5"/>
          <p:cNvPicPr preferRelativeResize="0"/>
          <p:nvPr/>
        </p:nvPicPr>
        <p:blipFill rotWithShape="1">
          <a:blip r:embed="rId4">
            <a:alphaModFix/>
          </a:blip>
          <a:srcRect/>
          <a:stretch/>
        </p:blipFill>
        <p:spPr>
          <a:xfrm>
            <a:off x="7427239" y="2315443"/>
            <a:ext cx="601854" cy="578494"/>
          </a:xfrm>
          <a:prstGeom prst="rect">
            <a:avLst/>
          </a:prstGeom>
          <a:noFill/>
          <a:ln>
            <a:noFill/>
          </a:ln>
        </p:spPr>
      </p:pic>
      <p:pic>
        <p:nvPicPr>
          <p:cNvPr id="1229" name="Google Shape;1229;p5"/>
          <p:cNvPicPr preferRelativeResize="0"/>
          <p:nvPr/>
        </p:nvPicPr>
        <p:blipFill rotWithShape="1">
          <a:blip r:embed="rId5">
            <a:alphaModFix/>
          </a:blip>
          <a:srcRect/>
          <a:stretch/>
        </p:blipFill>
        <p:spPr>
          <a:xfrm>
            <a:off x="976522" y="2332853"/>
            <a:ext cx="654540" cy="543675"/>
          </a:xfrm>
          <a:prstGeom prst="rect">
            <a:avLst/>
          </a:prstGeom>
          <a:noFill/>
          <a:ln>
            <a:noFill/>
          </a:ln>
        </p:spPr>
      </p:pic>
      <p:pic>
        <p:nvPicPr>
          <p:cNvPr id="1230" name="Google Shape;1230;p5"/>
          <p:cNvPicPr preferRelativeResize="0"/>
          <p:nvPr/>
        </p:nvPicPr>
        <p:blipFill rotWithShape="1">
          <a:blip r:embed="rId6">
            <a:alphaModFix/>
          </a:blip>
          <a:srcRect/>
          <a:stretch/>
        </p:blipFill>
        <p:spPr>
          <a:xfrm>
            <a:off x="5923878" y="2329054"/>
            <a:ext cx="491429" cy="551272"/>
          </a:xfrm>
          <a:prstGeom prst="rect">
            <a:avLst/>
          </a:prstGeom>
          <a:noFill/>
          <a:ln>
            <a:noFill/>
          </a:ln>
        </p:spPr>
      </p:pic>
      <p:pic>
        <p:nvPicPr>
          <p:cNvPr id="1231" name="Google Shape;1231;p5"/>
          <p:cNvPicPr preferRelativeResize="0"/>
          <p:nvPr/>
        </p:nvPicPr>
        <p:blipFill rotWithShape="1">
          <a:blip r:embed="rId7">
            <a:alphaModFix/>
          </a:blip>
          <a:srcRect/>
          <a:stretch/>
        </p:blipFill>
        <p:spPr>
          <a:xfrm>
            <a:off x="4369430" y="2332853"/>
            <a:ext cx="542514" cy="543675"/>
          </a:xfrm>
          <a:prstGeom prst="rect">
            <a:avLst/>
          </a:prstGeom>
          <a:noFill/>
          <a:ln>
            <a:noFill/>
          </a:ln>
        </p:spPr>
      </p:pic>
      <p:sp>
        <p:nvSpPr>
          <p:cNvPr id="1232" name="Google Shape;1232;p5"/>
          <p:cNvSpPr txBox="1"/>
          <p:nvPr/>
        </p:nvSpPr>
        <p:spPr>
          <a:xfrm>
            <a:off x="1658246" y="1623527"/>
            <a:ext cx="2711100" cy="609600"/>
          </a:xfrm>
          <a:prstGeom prst="rect">
            <a:avLst/>
          </a:prstGeom>
          <a:noFill/>
          <a:ln>
            <a:noFill/>
          </a:ln>
        </p:spPr>
        <p:txBody>
          <a:bodyPr spcFirstLastPara="1" wrap="square" lIns="0" tIns="0" rIns="0" bIns="0" anchor="ctr" anchorCtr="0">
            <a:sp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chemeClr val="dk2"/>
                </a:solidFill>
                <a:latin typeface="Franklin Gothic"/>
                <a:ea typeface="Franklin Gothic"/>
                <a:cs typeface="Franklin Gothic"/>
                <a:sym typeface="Franklin Gothic"/>
              </a:rPr>
              <a:t>2</a:t>
            </a:r>
            <a:r>
              <a:rPr lang="en-US" sz="1600">
                <a:solidFill>
                  <a:schemeClr val="dk2"/>
                </a:solidFill>
                <a:latin typeface="Franklin Gothic"/>
                <a:ea typeface="Franklin Gothic"/>
                <a:cs typeface="Franklin Gothic"/>
                <a:sym typeface="Franklin Gothic"/>
              </a:rPr>
              <a:t>35</a:t>
            </a:r>
            <a:r>
              <a:rPr lang="en-US" sz="1600" b="1" i="0" u="none" strike="noStrike" cap="none">
                <a:solidFill>
                  <a:schemeClr val="dk2"/>
                </a:solidFill>
                <a:latin typeface="Calibri"/>
                <a:ea typeface="Calibri"/>
                <a:cs typeface="Calibri"/>
                <a:sym typeface="Calibri"/>
              </a:rPr>
              <a:t> </a:t>
            </a:r>
            <a:r>
              <a:rPr lang="en-US" sz="1400" b="0" i="0" u="none" strike="noStrike" cap="none">
                <a:solidFill>
                  <a:schemeClr val="dk1"/>
                </a:solidFill>
                <a:latin typeface="Calibri"/>
                <a:ea typeface="Calibri"/>
                <a:cs typeface="Calibri"/>
                <a:sym typeface="Calibri"/>
              </a:rPr>
              <a:t>employees, 55% of women</a:t>
            </a:r>
            <a:br>
              <a:rPr lang="en-US" sz="1400" b="0" i="0" u="none" strike="noStrike" cap="none">
                <a:solidFill>
                  <a:schemeClr val="dk1"/>
                </a:solidFill>
                <a:latin typeface="Calibri"/>
                <a:ea typeface="Calibri"/>
                <a:cs typeface="Calibri"/>
                <a:sym typeface="Calibri"/>
              </a:rPr>
            </a:br>
            <a:r>
              <a:rPr lang="en-US" sz="1400" b="0" i="0" u="none" strike="noStrike" cap="none">
                <a:solidFill>
                  <a:schemeClr val="dk1"/>
                </a:solidFill>
                <a:latin typeface="Calibri"/>
                <a:ea typeface="Calibri"/>
                <a:cs typeface="Calibri"/>
                <a:sym typeface="Calibri"/>
              </a:rPr>
              <a:t>Mix of business and technical (engineering, design) backgrounds</a:t>
            </a:r>
            <a:endParaRPr sz="1400" b="0" i="0" u="none" strike="noStrike" cap="none">
              <a:solidFill>
                <a:srgbClr val="000000"/>
              </a:solidFill>
              <a:latin typeface="Arial"/>
              <a:ea typeface="Arial"/>
              <a:cs typeface="Arial"/>
              <a:sym typeface="Arial"/>
            </a:endParaRPr>
          </a:p>
        </p:txBody>
      </p:sp>
      <p:sp>
        <p:nvSpPr>
          <p:cNvPr id="1233" name="Google Shape;1233;p5"/>
          <p:cNvSpPr txBox="1"/>
          <p:nvPr/>
        </p:nvSpPr>
        <p:spPr>
          <a:xfrm>
            <a:off x="606641" y="2963529"/>
            <a:ext cx="1394302" cy="637097"/>
          </a:xfrm>
          <a:prstGeom prst="rect">
            <a:avLst/>
          </a:prstGeom>
          <a:noFill/>
          <a:ln>
            <a:noFill/>
          </a:ln>
        </p:spPr>
        <p:txBody>
          <a:bodyPr spcFirstLastPara="1" wrap="square" lIns="0" tIns="0" rIns="0" bIns="0" anchor="ctr" anchorCtr="0">
            <a:sp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chemeClr val="dk2"/>
                </a:solidFill>
                <a:latin typeface="Franklin Gothic"/>
                <a:ea typeface="Franklin Gothic"/>
                <a:cs typeface="Franklin Gothic"/>
                <a:sym typeface="Franklin Gothic"/>
              </a:rPr>
              <a:t>25</a:t>
            </a:r>
            <a:r>
              <a:rPr lang="en-US" sz="1400" b="0" i="0" u="none" strike="noStrike" cap="none">
                <a:solidFill>
                  <a:srgbClr val="00B050"/>
                </a:solidFill>
                <a:latin typeface="Calibri"/>
                <a:ea typeface="Calibri"/>
                <a:cs typeface="Calibri"/>
                <a:sym typeface="Calibri"/>
              </a:rPr>
              <a:t> </a:t>
            </a:r>
            <a:r>
              <a:rPr lang="en-US" sz="1400" b="0" i="0" u="none" strike="noStrike" cap="none">
                <a:solidFill>
                  <a:schemeClr val="dk1"/>
                </a:solidFill>
                <a:latin typeface="Calibri"/>
                <a:ea typeface="Calibri"/>
                <a:cs typeface="Calibri"/>
                <a:sym typeface="Calibri"/>
              </a:rPr>
              <a:t>nationalities,</a:t>
            </a:r>
            <a:br>
              <a:rPr lang="en-US" sz="1400" b="0" i="0" u="none" strike="noStrike" cap="none">
                <a:solidFill>
                  <a:srgbClr val="727272"/>
                </a:solidFill>
                <a:latin typeface="Calibri"/>
                <a:ea typeface="Calibri"/>
                <a:cs typeface="Calibri"/>
                <a:sym typeface="Calibri"/>
              </a:rPr>
            </a:br>
            <a:r>
              <a:rPr lang="en-US" sz="1600" b="0" i="0" u="none" strike="noStrike" cap="none">
                <a:solidFill>
                  <a:schemeClr val="dk2"/>
                </a:solidFill>
                <a:latin typeface="Franklin Gothic"/>
                <a:ea typeface="Franklin Gothic"/>
                <a:cs typeface="Franklin Gothic"/>
                <a:sym typeface="Franklin Gothic"/>
              </a:rPr>
              <a:t>18</a:t>
            </a:r>
            <a:r>
              <a:rPr lang="en-US" sz="1400" b="0" i="0" u="none" strike="noStrike" cap="none">
                <a:solidFill>
                  <a:srgbClr val="0070C0"/>
                </a:solidFill>
                <a:latin typeface="Calibri"/>
                <a:ea typeface="Calibri"/>
                <a:cs typeface="Calibri"/>
                <a:sym typeface="Calibri"/>
              </a:rPr>
              <a:t> </a:t>
            </a:r>
            <a:r>
              <a:rPr lang="en-US" sz="1400" b="0" i="0" u="none" strike="noStrike" cap="none">
                <a:solidFill>
                  <a:schemeClr val="dk1"/>
                </a:solidFill>
                <a:latin typeface="Calibri"/>
                <a:ea typeface="Calibri"/>
                <a:cs typeface="Calibri"/>
                <a:sym typeface="Calibri"/>
              </a:rPr>
              <a:t>languages spoken natively</a:t>
            </a:r>
            <a:endParaRPr sz="1400" b="0" i="0" u="none" strike="noStrike" cap="none">
              <a:solidFill>
                <a:srgbClr val="000000"/>
              </a:solidFill>
              <a:latin typeface="Arial"/>
              <a:ea typeface="Arial"/>
              <a:cs typeface="Arial"/>
              <a:sym typeface="Arial"/>
            </a:endParaRPr>
          </a:p>
        </p:txBody>
      </p:sp>
      <p:sp>
        <p:nvSpPr>
          <p:cNvPr id="1234" name="Google Shape;1234;p5"/>
          <p:cNvSpPr txBox="1"/>
          <p:nvPr/>
        </p:nvSpPr>
        <p:spPr>
          <a:xfrm>
            <a:off x="3696925" y="3039876"/>
            <a:ext cx="1818300" cy="803297"/>
          </a:xfrm>
          <a:prstGeom prst="rect">
            <a:avLst/>
          </a:prstGeom>
          <a:noFill/>
          <a:ln>
            <a:noFill/>
          </a:ln>
        </p:spPr>
        <p:txBody>
          <a:bodyPr spcFirstLastPara="1" wrap="square" lIns="0" tIns="0" rIns="0" bIns="0" anchor="ctr" anchorCtr="0">
            <a:sp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chemeClr val="dk2"/>
                </a:solidFill>
                <a:latin typeface="Franklin Gothic"/>
                <a:ea typeface="Franklin Gothic"/>
                <a:cs typeface="Franklin Gothic"/>
                <a:sym typeface="Franklin Gothic"/>
              </a:rPr>
              <a:t>5 offices</a:t>
            </a:r>
            <a:br>
              <a:rPr lang="en-US" sz="1600" b="1" i="0" u="none" strike="noStrike" cap="none">
                <a:solidFill>
                  <a:srgbClr val="0070C0"/>
                </a:solidFill>
                <a:latin typeface="Calibri"/>
                <a:ea typeface="Calibri"/>
                <a:cs typeface="Calibri"/>
                <a:sym typeface="Calibri"/>
              </a:rPr>
            </a:br>
            <a:r>
              <a:rPr lang="en-US" sz="1400" b="0" i="0" u="none" strike="noStrike" cap="none">
                <a:solidFill>
                  <a:schemeClr val="dk1"/>
                </a:solidFill>
                <a:latin typeface="Calibri"/>
                <a:ea typeface="Calibri"/>
                <a:cs typeface="Calibri"/>
                <a:sym typeface="Calibri"/>
              </a:rPr>
              <a:t>Casablanca, Cairo, Mexico, Dubai and Barcelona</a:t>
            </a:r>
            <a:endParaRPr sz="1400" b="0" i="0" u="none" strike="noStrike" cap="none">
              <a:solidFill>
                <a:schemeClr val="dk1"/>
              </a:solidFill>
              <a:latin typeface="Calibri"/>
              <a:ea typeface="Calibri"/>
              <a:cs typeface="Calibri"/>
              <a:sym typeface="Calibri"/>
            </a:endParaRPr>
          </a:p>
        </p:txBody>
      </p:sp>
      <p:sp>
        <p:nvSpPr>
          <p:cNvPr id="1235" name="Google Shape;1235;p5"/>
          <p:cNvSpPr txBox="1"/>
          <p:nvPr/>
        </p:nvSpPr>
        <p:spPr>
          <a:xfrm>
            <a:off x="5186909" y="1623527"/>
            <a:ext cx="1818300" cy="609600"/>
          </a:xfrm>
          <a:prstGeom prst="rect">
            <a:avLst/>
          </a:prstGeom>
          <a:noFill/>
          <a:ln>
            <a:noFill/>
          </a:ln>
        </p:spPr>
        <p:txBody>
          <a:bodyPr spcFirstLastPara="1" wrap="square" lIns="0" tIns="0" rIns="0" bIns="0" anchor="ctr" anchorCtr="0">
            <a:spAutoFit/>
          </a:bodyPr>
          <a:lstStyle/>
          <a:p>
            <a:pPr marL="0" marR="0" lvl="0" indent="0" algn="ctr" rtl="0">
              <a:lnSpc>
                <a:spcPct val="90000"/>
              </a:lnSpc>
              <a:spcBef>
                <a:spcPts val="0"/>
              </a:spcBef>
              <a:spcAft>
                <a:spcPts val="0"/>
              </a:spcAft>
              <a:buClr>
                <a:srgbClr val="000000"/>
              </a:buClr>
              <a:buSzPts val="1600"/>
              <a:buFont typeface="Arial"/>
              <a:buNone/>
            </a:pPr>
            <a:r>
              <a:rPr lang="en-US" sz="1600">
                <a:solidFill>
                  <a:schemeClr val="dk2"/>
                </a:solidFill>
                <a:latin typeface="Franklin Gothic"/>
                <a:ea typeface="Franklin Gothic"/>
                <a:cs typeface="Franklin Gothic"/>
                <a:sym typeface="Franklin Gothic"/>
              </a:rPr>
              <a:t>3</a:t>
            </a:r>
            <a:r>
              <a:rPr lang="en-US" sz="1600" b="0" i="0" u="none" strike="noStrike" cap="none">
                <a:solidFill>
                  <a:schemeClr val="dk2"/>
                </a:solidFill>
                <a:latin typeface="Franklin Gothic"/>
                <a:ea typeface="Franklin Gothic"/>
                <a:cs typeface="Franklin Gothic"/>
                <a:sym typeface="Franklin Gothic"/>
              </a:rPr>
              <a:t>00,000+</a:t>
            </a:r>
            <a:br>
              <a:rPr lang="en-US" sz="1600" b="1" i="0" u="none" strike="noStrike" cap="none">
                <a:solidFill>
                  <a:srgbClr val="0070C0"/>
                </a:solidFill>
                <a:latin typeface="Calibri"/>
                <a:ea typeface="Calibri"/>
                <a:cs typeface="Calibri"/>
                <a:sym typeface="Calibri"/>
              </a:rPr>
            </a:br>
            <a:r>
              <a:rPr lang="en-US" sz="1400" b="0" i="0" u="none" strike="noStrike" cap="none">
                <a:solidFill>
                  <a:schemeClr val="dk1"/>
                </a:solidFill>
                <a:latin typeface="Calibri"/>
                <a:ea typeface="Calibri"/>
                <a:cs typeface="Calibri"/>
                <a:sym typeface="Calibri"/>
              </a:rPr>
              <a:t>requests successfully executed</a:t>
            </a:r>
            <a:endParaRPr sz="1400" b="0" i="0" u="none" strike="noStrike" cap="none">
              <a:solidFill>
                <a:srgbClr val="000000"/>
              </a:solidFill>
              <a:latin typeface="Arial"/>
              <a:ea typeface="Arial"/>
              <a:cs typeface="Arial"/>
              <a:sym typeface="Arial"/>
            </a:endParaRPr>
          </a:p>
        </p:txBody>
      </p:sp>
      <p:sp>
        <p:nvSpPr>
          <p:cNvPr id="1236" name="Google Shape;1236;p5"/>
          <p:cNvSpPr txBox="1"/>
          <p:nvPr/>
        </p:nvSpPr>
        <p:spPr>
          <a:xfrm>
            <a:off x="6551999" y="2963529"/>
            <a:ext cx="2302786" cy="803297"/>
          </a:xfrm>
          <a:prstGeom prst="rect">
            <a:avLst/>
          </a:prstGeom>
          <a:noFill/>
          <a:ln>
            <a:noFill/>
          </a:ln>
        </p:spPr>
        <p:txBody>
          <a:bodyPr spcFirstLastPara="1" wrap="square" lIns="0" tIns="0" rIns="0" bIns="0" anchor="ctr" anchorCtr="0">
            <a:sp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chemeClr val="dk2"/>
                </a:solidFill>
                <a:latin typeface="Franklin Gothic"/>
                <a:ea typeface="Franklin Gothic"/>
                <a:cs typeface="Franklin Gothic"/>
                <a:sym typeface="Franklin Gothic"/>
              </a:rPr>
              <a:t>Geographic distribution</a:t>
            </a:r>
            <a:br>
              <a:rPr lang="en-US" sz="1400" b="0" i="0" u="none" strike="noStrike" cap="none">
                <a:solidFill>
                  <a:schemeClr val="dk1"/>
                </a:solidFill>
                <a:latin typeface="Calibri"/>
                <a:ea typeface="Calibri"/>
                <a:cs typeface="Calibri"/>
                <a:sym typeface="Calibri"/>
              </a:rPr>
            </a:br>
            <a:r>
              <a:rPr lang="en-US" sz="1400" b="0" i="0" u="none" strike="noStrike" cap="none">
                <a:solidFill>
                  <a:schemeClr val="dk1"/>
                </a:solidFill>
                <a:latin typeface="Calibri"/>
                <a:ea typeface="Calibri"/>
                <a:cs typeface="Calibri"/>
                <a:sym typeface="Calibri"/>
              </a:rPr>
              <a:t>of our work:</a:t>
            </a:r>
            <a:br>
              <a:rPr lang="en-US" sz="1400" b="0" i="0" u="none" strike="noStrike" cap="none">
                <a:solidFill>
                  <a:schemeClr val="dk1"/>
                </a:solidFill>
                <a:latin typeface="Calibri"/>
                <a:ea typeface="Calibri"/>
                <a:cs typeface="Calibri"/>
                <a:sym typeface="Calibri"/>
              </a:rPr>
            </a:br>
            <a:r>
              <a:rPr lang="en-US" sz="1400" b="0" i="0" u="none" strike="noStrike" cap="none">
                <a:solidFill>
                  <a:schemeClr val="dk1"/>
                </a:solidFill>
                <a:latin typeface="Calibri"/>
                <a:ea typeface="Calibri"/>
                <a:cs typeface="Calibri"/>
                <a:sym typeface="Calibri"/>
              </a:rPr>
              <a:t>40% Europe, 40% Middle East and Africa, 20% ROW</a:t>
            </a:r>
            <a:endParaRPr sz="1400" b="0" i="0" u="none" strike="noStrike" cap="none">
              <a:solidFill>
                <a:srgbClr val="000000"/>
              </a:solidFill>
              <a:latin typeface="Arial"/>
              <a:ea typeface="Arial"/>
              <a:cs typeface="Arial"/>
              <a:sym typeface="Arial"/>
            </a:endParaRPr>
          </a:p>
        </p:txBody>
      </p:sp>
      <p:sp>
        <p:nvSpPr>
          <p:cNvPr id="1237" name="Google Shape;1237;p5"/>
          <p:cNvSpPr txBox="1"/>
          <p:nvPr/>
        </p:nvSpPr>
        <p:spPr>
          <a:xfrm>
            <a:off x="8443219" y="1623527"/>
            <a:ext cx="1818181" cy="609398"/>
          </a:xfrm>
          <a:prstGeom prst="rect">
            <a:avLst/>
          </a:prstGeom>
          <a:noFill/>
          <a:ln>
            <a:noFill/>
          </a:ln>
        </p:spPr>
        <p:txBody>
          <a:bodyPr spcFirstLastPara="1" wrap="square" lIns="0" tIns="0" rIns="0" bIns="0" anchor="ctr" anchorCtr="0">
            <a:sp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chemeClr val="dk2"/>
                </a:solidFill>
                <a:latin typeface="Franklin Gothic"/>
                <a:ea typeface="Franklin Gothic"/>
                <a:cs typeface="Franklin Gothic"/>
                <a:sym typeface="Franklin Gothic"/>
              </a:rPr>
              <a:t>97% </a:t>
            </a:r>
            <a:r>
              <a:rPr lang="en-US" sz="1400" b="0" i="0" u="none" strike="noStrike" cap="none">
                <a:solidFill>
                  <a:schemeClr val="dk1"/>
                </a:solidFill>
                <a:latin typeface="Calibri"/>
                <a:ea typeface="Calibri"/>
                <a:cs typeface="Calibri"/>
                <a:sym typeface="Calibri"/>
              </a:rPr>
              <a:t>of requests rated as meeting or above expectations</a:t>
            </a:r>
            <a:endParaRPr sz="1400" b="0" i="0" u="none" strike="noStrike" cap="none">
              <a:solidFill>
                <a:srgbClr val="000000"/>
              </a:solidFill>
              <a:latin typeface="Arial"/>
              <a:ea typeface="Arial"/>
              <a:cs typeface="Arial"/>
              <a:sym typeface="Arial"/>
            </a:endParaRPr>
          </a:p>
        </p:txBody>
      </p:sp>
      <p:sp>
        <p:nvSpPr>
          <p:cNvPr id="1238" name="Google Shape;1238;p5"/>
          <p:cNvSpPr txBox="1"/>
          <p:nvPr/>
        </p:nvSpPr>
        <p:spPr>
          <a:xfrm>
            <a:off x="273274" y="4482974"/>
            <a:ext cx="1478944" cy="15388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2000"/>
              <a:buFont typeface="Arial"/>
              <a:buNone/>
            </a:pPr>
            <a:r>
              <a:rPr lang="en-US" sz="2000" b="1" i="0" u="none" strike="noStrike" cap="none">
                <a:solidFill>
                  <a:srgbClr val="0070C0"/>
                </a:solidFill>
                <a:latin typeface="Calibri"/>
                <a:ea typeface="Calibri"/>
                <a:cs typeface="Calibri"/>
                <a:sym typeface="Calibri"/>
              </a:rPr>
              <a:t>Clients</a:t>
            </a:r>
            <a:endParaRPr sz="2000" b="1" i="0" u="none" strike="noStrike" cap="none" baseline="30000">
              <a:solidFill>
                <a:srgbClr val="0070C0"/>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600"/>
              <a:buFont typeface="Arial"/>
              <a:buNone/>
            </a:pPr>
            <a:r>
              <a:rPr lang="en-US" sz="1600" b="0" i="0" u="none" strike="noStrike" cap="none">
                <a:solidFill>
                  <a:schemeClr val="dk1"/>
                </a:solidFill>
                <a:latin typeface="Calibri"/>
                <a:ea typeface="Calibri"/>
                <a:cs typeface="Calibri"/>
                <a:sym typeface="Calibri"/>
              </a:rPr>
              <a:t>All the leading consultancies and</a:t>
            </a:r>
            <a:br>
              <a:rPr lang="en-US" sz="1600" b="0" i="0" u="none" strike="noStrike" cap="none">
                <a:solidFill>
                  <a:schemeClr val="dk1"/>
                </a:solidFill>
                <a:latin typeface="Calibri"/>
                <a:ea typeface="Calibri"/>
                <a:cs typeface="Calibri"/>
                <a:sym typeface="Calibri"/>
              </a:rPr>
            </a:br>
            <a:r>
              <a:rPr lang="en-US" sz="1600" b="0" i="0" u="none" strike="noStrike" cap="none">
                <a:solidFill>
                  <a:schemeClr val="dk1"/>
                </a:solidFill>
                <a:latin typeface="Calibri"/>
                <a:ea typeface="Calibri"/>
                <a:cs typeface="Calibri"/>
                <a:sym typeface="Calibri"/>
              </a:rPr>
              <a:t>50+ of the Fortune 500 companies </a:t>
            </a:r>
            <a:endParaRPr sz="1400" b="0" i="0" u="none" strike="noStrike" cap="none">
              <a:solidFill>
                <a:schemeClr val="dk1"/>
              </a:solidFill>
              <a:latin typeface="Calibri"/>
              <a:ea typeface="Calibri"/>
              <a:cs typeface="Calibri"/>
              <a:sym typeface="Calibri"/>
            </a:endParaRPr>
          </a:p>
        </p:txBody>
      </p:sp>
      <p:sp>
        <p:nvSpPr>
          <p:cNvPr id="1239" name="Google Shape;1239;p5"/>
          <p:cNvSpPr txBox="1"/>
          <p:nvPr/>
        </p:nvSpPr>
        <p:spPr>
          <a:xfrm>
            <a:off x="10197296" y="2963529"/>
            <a:ext cx="1547166" cy="609398"/>
          </a:xfrm>
          <a:prstGeom prst="rect">
            <a:avLst/>
          </a:prstGeom>
          <a:noFill/>
          <a:ln>
            <a:noFill/>
          </a:ln>
        </p:spPr>
        <p:txBody>
          <a:bodyPr spcFirstLastPara="1" wrap="square" lIns="0" tIns="0" rIns="0" bIns="0" anchor="ctr" anchorCtr="0">
            <a:sp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chemeClr val="dk2"/>
                </a:solidFill>
                <a:latin typeface="Franklin Gothic"/>
                <a:ea typeface="Franklin Gothic"/>
                <a:cs typeface="Franklin Gothic"/>
                <a:sym typeface="Franklin Gothic"/>
              </a:rPr>
              <a:t>90%</a:t>
            </a:r>
            <a:br>
              <a:rPr lang="en-US" sz="1600" b="1" i="0" u="none" strike="noStrike" cap="none">
                <a:solidFill>
                  <a:srgbClr val="0070C0"/>
                </a:solidFill>
                <a:latin typeface="Calibri"/>
                <a:ea typeface="Calibri"/>
                <a:cs typeface="Calibri"/>
                <a:sym typeface="Calibri"/>
              </a:rPr>
            </a:br>
            <a:r>
              <a:rPr lang="en-US" sz="1400" b="0" i="0" u="none" strike="noStrike" cap="none">
                <a:solidFill>
                  <a:schemeClr val="dk1"/>
                </a:solidFill>
                <a:latin typeface="Calibri"/>
                <a:ea typeface="Calibri"/>
                <a:cs typeface="Calibri"/>
                <a:sym typeface="Calibri"/>
              </a:rPr>
              <a:t>of our business on</a:t>
            </a:r>
            <a:br>
              <a:rPr lang="en-US" sz="1400" b="0" i="0" u="none" strike="noStrike" cap="none">
                <a:solidFill>
                  <a:schemeClr val="dk1"/>
                </a:solidFill>
                <a:latin typeface="Calibri"/>
                <a:ea typeface="Calibri"/>
                <a:cs typeface="Calibri"/>
                <a:sym typeface="Calibri"/>
              </a:rPr>
            </a:br>
            <a:r>
              <a:rPr lang="en-US" sz="1400" b="0" i="0" u="none" strike="noStrike" cap="none">
                <a:solidFill>
                  <a:schemeClr val="dk1"/>
                </a:solidFill>
                <a:latin typeface="Calibri"/>
                <a:ea typeface="Calibri"/>
                <a:cs typeface="Calibri"/>
                <a:sym typeface="Calibri"/>
              </a:rPr>
              <a:t>a retainer basis</a:t>
            </a:r>
            <a:endParaRPr sz="1400" b="0" i="0" u="none" strike="noStrike" cap="none">
              <a:solidFill>
                <a:srgbClr val="000000"/>
              </a:solidFill>
              <a:latin typeface="Arial"/>
              <a:ea typeface="Arial"/>
              <a:cs typeface="Arial"/>
              <a:sym typeface="Arial"/>
            </a:endParaRPr>
          </a:p>
        </p:txBody>
      </p:sp>
      <p:pic>
        <p:nvPicPr>
          <p:cNvPr id="1240" name="Google Shape;1240;p5"/>
          <p:cNvPicPr preferRelativeResize="0"/>
          <p:nvPr/>
        </p:nvPicPr>
        <p:blipFill rotWithShape="1">
          <a:blip r:embed="rId8">
            <a:alphaModFix/>
          </a:blip>
          <a:srcRect/>
          <a:stretch/>
        </p:blipFill>
        <p:spPr>
          <a:xfrm>
            <a:off x="2279302" y="4244167"/>
            <a:ext cx="962118" cy="481060"/>
          </a:xfrm>
          <a:prstGeom prst="rect">
            <a:avLst/>
          </a:prstGeom>
          <a:noFill/>
          <a:ln>
            <a:noFill/>
          </a:ln>
        </p:spPr>
      </p:pic>
      <p:pic>
        <p:nvPicPr>
          <p:cNvPr id="1241" name="Google Shape;1241;p5"/>
          <p:cNvPicPr preferRelativeResize="0"/>
          <p:nvPr/>
        </p:nvPicPr>
        <p:blipFill rotWithShape="1">
          <a:blip r:embed="rId9">
            <a:alphaModFix/>
          </a:blip>
          <a:srcRect/>
          <a:stretch/>
        </p:blipFill>
        <p:spPr>
          <a:xfrm>
            <a:off x="8480325" y="5288952"/>
            <a:ext cx="608534" cy="462098"/>
          </a:xfrm>
          <a:prstGeom prst="rect">
            <a:avLst/>
          </a:prstGeom>
          <a:noFill/>
          <a:ln>
            <a:noFill/>
          </a:ln>
        </p:spPr>
      </p:pic>
      <p:pic>
        <p:nvPicPr>
          <p:cNvPr id="1242" name="Google Shape;1242;p5"/>
          <p:cNvPicPr preferRelativeResize="0"/>
          <p:nvPr/>
        </p:nvPicPr>
        <p:blipFill rotWithShape="1">
          <a:blip r:embed="rId10">
            <a:alphaModFix/>
          </a:blip>
          <a:srcRect/>
          <a:stretch/>
        </p:blipFill>
        <p:spPr>
          <a:xfrm>
            <a:off x="7093643" y="4868362"/>
            <a:ext cx="1098298" cy="274576"/>
          </a:xfrm>
          <a:prstGeom prst="rect">
            <a:avLst/>
          </a:prstGeom>
          <a:noFill/>
          <a:ln>
            <a:noFill/>
          </a:ln>
        </p:spPr>
      </p:pic>
      <p:pic>
        <p:nvPicPr>
          <p:cNvPr id="1243" name="Google Shape;1243;p5" descr="Cerba HealthCare &amp; Laboratoire Cerba"/>
          <p:cNvPicPr preferRelativeResize="0"/>
          <p:nvPr/>
        </p:nvPicPr>
        <p:blipFill rotWithShape="1">
          <a:blip r:embed="rId11">
            <a:alphaModFix/>
          </a:blip>
          <a:srcRect/>
          <a:stretch/>
        </p:blipFill>
        <p:spPr>
          <a:xfrm>
            <a:off x="2243738" y="5704534"/>
            <a:ext cx="1403706" cy="511210"/>
          </a:xfrm>
          <a:prstGeom prst="rect">
            <a:avLst/>
          </a:prstGeom>
          <a:noFill/>
          <a:ln>
            <a:noFill/>
          </a:ln>
        </p:spPr>
      </p:pic>
      <p:pic>
        <p:nvPicPr>
          <p:cNvPr id="1244" name="Google Shape;1244;p5" descr="Minister of Foreign Affairs and International Cooperation"/>
          <p:cNvPicPr preferRelativeResize="0"/>
          <p:nvPr/>
        </p:nvPicPr>
        <p:blipFill rotWithShape="1">
          <a:blip r:embed="rId12">
            <a:alphaModFix/>
          </a:blip>
          <a:srcRect r="9835"/>
          <a:stretch/>
        </p:blipFill>
        <p:spPr>
          <a:xfrm>
            <a:off x="3605426" y="4251199"/>
            <a:ext cx="1637446" cy="466996"/>
          </a:xfrm>
          <a:prstGeom prst="rect">
            <a:avLst/>
          </a:prstGeom>
          <a:noFill/>
          <a:ln>
            <a:noFill/>
          </a:ln>
        </p:spPr>
      </p:pic>
      <p:pic>
        <p:nvPicPr>
          <p:cNvPr id="1245" name="Google Shape;1245;p5"/>
          <p:cNvPicPr preferRelativeResize="0"/>
          <p:nvPr/>
        </p:nvPicPr>
        <p:blipFill rotWithShape="1">
          <a:blip r:embed="rId13">
            <a:alphaModFix/>
          </a:blip>
          <a:srcRect/>
          <a:stretch/>
        </p:blipFill>
        <p:spPr>
          <a:xfrm>
            <a:off x="5715552" y="5900917"/>
            <a:ext cx="943318" cy="314826"/>
          </a:xfrm>
          <a:prstGeom prst="rect">
            <a:avLst/>
          </a:prstGeom>
          <a:noFill/>
          <a:ln>
            <a:noFill/>
          </a:ln>
        </p:spPr>
      </p:pic>
      <p:pic>
        <p:nvPicPr>
          <p:cNvPr id="1246" name="Google Shape;1246;p5" descr="L'Oreal Logo PNG Transparent &amp; SVG Vector - Freebie Supply"/>
          <p:cNvPicPr preferRelativeResize="0"/>
          <p:nvPr/>
        </p:nvPicPr>
        <p:blipFill rotWithShape="1">
          <a:blip r:embed="rId14">
            <a:alphaModFix/>
          </a:blip>
          <a:srcRect/>
          <a:stretch/>
        </p:blipFill>
        <p:spPr>
          <a:xfrm>
            <a:off x="4274351" y="4927385"/>
            <a:ext cx="813002" cy="156528"/>
          </a:xfrm>
          <a:prstGeom prst="rect">
            <a:avLst/>
          </a:prstGeom>
          <a:noFill/>
          <a:ln>
            <a:noFill/>
          </a:ln>
        </p:spPr>
      </p:pic>
      <p:pic>
        <p:nvPicPr>
          <p:cNvPr id="1247" name="Google Shape;1247;p5"/>
          <p:cNvPicPr preferRelativeResize="0"/>
          <p:nvPr/>
        </p:nvPicPr>
        <p:blipFill rotWithShape="1">
          <a:blip r:embed="rId15">
            <a:alphaModFix/>
          </a:blip>
          <a:srcRect/>
          <a:stretch/>
        </p:blipFill>
        <p:spPr>
          <a:xfrm>
            <a:off x="9180119" y="4238184"/>
            <a:ext cx="878284" cy="493024"/>
          </a:xfrm>
          <a:prstGeom prst="rect">
            <a:avLst/>
          </a:prstGeom>
          <a:noFill/>
          <a:ln>
            <a:noFill/>
          </a:ln>
        </p:spPr>
      </p:pic>
      <p:pic>
        <p:nvPicPr>
          <p:cNvPr id="1248" name="Google Shape;1248;p5" descr="averda — George"/>
          <p:cNvPicPr preferRelativeResize="0"/>
          <p:nvPr/>
        </p:nvPicPr>
        <p:blipFill rotWithShape="1">
          <a:blip r:embed="rId16">
            <a:alphaModFix/>
          </a:blip>
          <a:srcRect/>
          <a:stretch/>
        </p:blipFill>
        <p:spPr>
          <a:xfrm>
            <a:off x="4924650" y="5367759"/>
            <a:ext cx="1163906" cy="304482"/>
          </a:xfrm>
          <a:prstGeom prst="rect">
            <a:avLst/>
          </a:prstGeom>
          <a:noFill/>
          <a:ln>
            <a:noFill/>
          </a:ln>
        </p:spPr>
      </p:pic>
      <p:pic>
        <p:nvPicPr>
          <p:cNvPr id="1249" name="Google Shape;1249;p5" descr="OCP Logo [ Download - Logo - icon ]"/>
          <p:cNvPicPr preferRelativeResize="0"/>
          <p:nvPr/>
        </p:nvPicPr>
        <p:blipFill rotWithShape="1">
          <a:blip r:embed="rId17">
            <a:alphaModFix/>
          </a:blip>
          <a:srcRect/>
          <a:stretch/>
        </p:blipFill>
        <p:spPr>
          <a:xfrm>
            <a:off x="7395322" y="5284476"/>
            <a:ext cx="370560" cy="471050"/>
          </a:xfrm>
          <a:prstGeom prst="rect">
            <a:avLst/>
          </a:prstGeom>
          <a:noFill/>
          <a:ln>
            <a:noFill/>
          </a:ln>
        </p:spPr>
      </p:pic>
      <p:pic>
        <p:nvPicPr>
          <p:cNvPr id="1250" name="Google Shape;1250;p5" descr="Societe Generale Logo - Société Générale"/>
          <p:cNvPicPr preferRelativeResize="0"/>
          <p:nvPr/>
        </p:nvPicPr>
        <p:blipFill rotWithShape="1">
          <a:blip r:embed="rId18">
            <a:alphaModFix/>
          </a:blip>
          <a:srcRect/>
          <a:stretch/>
        </p:blipFill>
        <p:spPr>
          <a:xfrm>
            <a:off x="5548678" y="4355098"/>
            <a:ext cx="1277066" cy="259198"/>
          </a:xfrm>
          <a:prstGeom prst="rect">
            <a:avLst/>
          </a:prstGeom>
          <a:noFill/>
          <a:ln>
            <a:noFill/>
          </a:ln>
        </p:spPr>
      </p:pic>
      <p:pic>
        <p:nvPicPr>
          <p:cNvPr id="1251" name="Google Shape;1251;p5"/>
          <p:cNvPicPr preferRelativeResize="0"/>
          <p:nvPr/>
        </p:nvPicPr>
        <p:blipFill rotWithShape="1">
          <a:blip r:embed="rId19">
            <a:alphaModFix/>
          </a:blip>
          <a:srcRect/>
          <a:stretch/>
        </p:blipFill>
        <p:spPr>
          <a:xfrm>
            <a:off x="2279303" y="5315624"/>
            <a:ext cx="531794" cy="517612"/>
          </a:xfrm>
          <a:prstGeom prst="rect">
            <a:avLst/>
          </a:prstGeom>
          <a:noFill/>
          <a:ln>
            <a:noFill/>
          </a:ln>
        </p:spPr>
      </p:pic>
      <p:pic>
        <p:nvPicPr>
          <p:cNvPr id="1252" name="Google Shape;1252;p5" descr="Almarai Logo Vector (.EPS) Free Download"/>
          <p:cNvPicPr preferRelativeResize="0"/>
          <p:nvPr/>
        </p:nvPicPr>
        <p:blipFill rotWithShape="1">
          <a:blip r:embed="rId20">
            <a:alphaModFix/>
          </a:blip>
          <a:srcRect/>
          <a:stretch/>
        </p:blipFill>
        <p:spPr>
          <a:xfrm>
            <a:off x="3813038" y="5318792"/>
            <a:ext cx="638758" cy="402416"/>
          </a:xfrm>
          <a:prstGeom prst="rect">
            <a:avLst/>
          </a:prstGeom>
          <a:noFill/>
          <a:ln>
            <a:noFill/>
          </a:ln>
        </p:spPr>
      </p:pic>
      <p:pic>
        <p:nvPicPr>
          <p:cNvPr id="1253" name="Google Shape;1253;p5"/>
          <p:cNvPicPr preferRelativeResize="0"/>
          <p:nvPr/>
        </p:nvPicPr>
        <p:blipFill rotWithShape="1">
          <a:blip r:embed="rId21">
            <a:alphaModFix/>
          </a:blip>
          <a:srcRect/>
          <a:stretch/>
        </p:blipFill>
        <p:spPr>
          <a:xfrm>
            <a:off x="10984950" y="5256887"/>
            <a:ext cx="526226" cy="526226"/>
          </a:xfrm>
          <a:prstGeom prst="rect">
            <a:avLst/>
          </a:prstGeom>
          <a:noFill/>
          <a:ln>
            <a:noFill/>
          </a:ln>
        </p:spPr>
      </p:pic>
      <p:pic>
        <p:nvPicPr>
          <p:cNvPr id="1254" name="Google Shape;1254;p5" descr="Carrefour Logo transparent PNG - StickPNG"/>
          <p:cNvPicPr preferRelativeResize="0"/>
          <p:nvPr/>
        </p:nvPicPr>
        <p:blipFill rotWithShape="1">
          <a:blip r:embed="rId22">
            <a:alphaModFix/>
          </a:blip>
          <a:srcRect l="5383" t="13999" r="5187" b="13998"/>
          <a:stretch/>
        </p:blipFill>
        <p:spPr>
          <a:xfrm>
            <a:off x="9793581" y="5291539"/>
            <a:ext cx="567526" cy="456922"/>
          </a:xfrm>
          <a:prstGeom prst="rect">
            <a:avLst/>
          </a:prstGeom>
          <a:noFill/>
          <a:ln>
            <a:noFill/>
          </a:ln>
        </p:spPr>
      </p:pic>
      <p:pic>
        <p:nvPicPr>
          <p:cNvPr id="1255" name="Google Shape;1255;p5" descr="Methodology on information resources and systems - GIZ Azerbaijan"/>
          <p:cNvPicPr preferRelativeResize="0"/>
          <p:nvPr/>
        </p:nvPicPr>
        <p:blipFill rotWithShape="1">
          <a:blip r:embed="rId23">
            <a:alphaModFix/>
          </a:blip>
          <a:srcRect l="2182" t="14255" r="2232" b="35388"/>
          <a:stretch/>
        </p:blipFill>
        <p:spPr>
          <a:xfrm>
            <a:off x="7430612" y="4297144"/>
            <a:ext cx="1424178" cy="375104"/>
          </a:xfrm>
          <a:prstGeom prst="rect">
            <a:avLst/>
          </a:prstGeom>
          <a:noFill/>
          <a:ln>
            <a:noFill/>
          </a:ln>
        </p:spPr>
      </p:pic>
      <p:pic>
        <p:nvPicPr>
          <p:cNvPr id="1256" name="Google Shape;1256;p5"/>
          <p:cNvPicPr preferRelativeResize="0"/>
          <p:nvPr/>
        </p:nvPicPr>
        <p:blipFill rotWithShape="1">
          <a:blip r:embed="rId24">
            <a:alphaModFix/>
          </a:blip>
          <a:srcRect/>
          <a:stretch/>
        </p:blipFill>
        <p:spPr>
          <a:xfrm>
            <a:off x="5638117" y="4857278"/>
            <a:ext cx="803326" cy="296742"/>
          </a:xfrm>
          <a:prstGeom prst="rect">
            <a:avLst/>
          </a:prstGeom>
          <a:noFill/>
          <a:ln>
            <a:noFill/>
          </a:ln>
        </p:spPr>
      </p:pic>
      <p:pic>
        <p:nvPicPr>
          <p:cNvPr id="1257" name="Google Shape;1257;p5" descr="Honeywell Home Developer Site | home"/>
          <p:cNvPicPr preferRelativeResize="0"/>
          <p:nvPr/>
        </p:nvPicPr>
        <p:blipFill rotWithShape="1">
          <a:blip r:embed="rId25">
            <a:alphaModFix/>
          </a:blip>
          <a:srcRect/>
          <a:stretch/>
        </p:blipFill>
        <p:spPr>
          <a:xfrm>
            <a:off x="8839325" y="4906373"/>
            <a:ext cx="1055806" cy="198552"/>
          </a:xfrm>
          <a:prstGeom prst="rect">
            <a:avLst/>
          </a:prstGeom>
          <a:noFill/>
          <a:ln>
            <a:noFill/>
          </a:ln>
        </p:spPr>
      </p:pic>
      <p:pic>
        <p:nvPicPr>
          <p:cNvPr id="1258" name="Google Shape;1258;p5"/>
          <p:cNvPicPr preferRelativeResize="0"/>
          <p:nvPr/>
        </p:nvPicPr>
        <p:blipFill rotWithShape="1">
          <a:blip r:embed="rId26">
            <a:alphaModFix/>
          </a:blip>
          <a:srcRect/>
          <a:stretch/>
        </p:blipFill>
        <p:spPr>
          <a:xfrm>
            <a:off x="10197969" y="4880769"/>
            <a:ext cx="1338004" cy="249762"/>
          </a:xfrm>
          <a:prstGeom prst="rect">
            <a:avLst/>
          </a:prstGeom>
          <a:noFill/>
          <a:ln>
            <a:noFill/>
          </a:ln>
        </p:spPr>
      </p:pic>
      <p:pic>
        <p:nvPicPr>
          <p:cNvPr id="1259" name="Google Shape;1259;p5" descr="Novo Nordisk Logo PNG Transparent &amp; SVG Vector - Freebie Supply"/>
          <p:cNvPicPr preferRelativeResize="0"/>
          <p:nvPr/>
        </p:nvPicPr>
        <p:blipFill rotWithShape="1">
          <a:blip r:embed="rId27">
            <a:alphaModFix/>
          </a:blip>
          <a:srcRect/>
          <a:stretch/>
        </p:blipFill>
        <p:spPr>
          <a:xfrm>
            <a:off x="9095144" y="5587492"/>
            <a:ext cx="800286" cy="573204"/>
          </a:xfrm>
          <a:prstGeom prst="rect">
            <a:avLst/>
          </a:prstGeom>
          <a:noFill/>
          <a:ln>
            <a:noFill/>
          </a:ln>
        </p:spPr>
      </p:pic>
      <p:pic>
        <p:nvPicPr>
          <p:cNvPr id="1260" name="Google Shape;1260;p5"/>
          <p:cNvPicPr preferRelativeResize="0"/>
          <p:nvPr/>
        </p:nvPicPr>
        <p:blipFill rotWithShape="1">
          <a:blip r:embed="rId28">
            <a:alphaModFix/>
          </a:blip>
          <a:srcRect/>
          <a:stretch/>
        </p:blipFill>
        <p:spPr>
          <a:xfrm>
            <a:off x="7468665" y="5730915"/>
            <a:ext cx="1181898" cy="434900"/>
          </a:xfrm>
          <a:prstGeom prst="rect">
            <a:avLst/>
          </a:prstGeom>
          <a:noFill/>
          <a:ln>
            <a:noFill/>
          </a:ln>
        </p:spPr>
      </p:pic>
      <p:pic>
        <p:nvPicPr>
          <p:cNvPr id="1261" name="Google Shape;1261;p5" descr="Renault Logo Transparent PNG | PNG Mart"/>
          <p:cNvPicPr preferRelativeResize="0"/>
          <p:nvPr/>
        </p:nvPicPr>
        <p:blipFill rotWithShape="1">
          <a:blip r:embed="rId29">
            <a:alphaModFix/>
          </a:blip>
          <a:srcRect/>
          <a:stretch/>
        </p:blipFill>
        <p:spPr>
          <a:xfrm>
            <a:off x="10449236" y="4297829"/>
            <a:ext cx="1040478" cy="373736"/>
          </a:xfrm>
          <a:prstGeom prst="rect">
            <a:avLst/>
          </a:prstGeom>
          <a:noFill/>
          <a:ln>
            <a:noFill/>
          </a:ln>
        </p:spPr>
      </p:pic>
      <p:pic>
        <p:nvPicPr>
          <p:cNvPr id="1262" name="Google Shape;1262;p5" descr="Saint-Gobain logo and symbol, meaning, history, PNG"/>
          <p:cNvPicPr preferRelativeResize="0"/>
          <p:nvPr/>
        </p:nvPicPr>
        <p:blipFill rotWithShape="1">
          <a:blip r:embed="rId30">
            <a:alphaModFix/>
          </a:blip>
          <a:srcRect l="5204" t="15865" r="6398" b="24892"/>
          <a:stretch/>
        </p:blipFill>
        <p:spPr>
          <a:xfrm>
            <a:off x="4095563" y="5792943"/>
            <a:ext cx="1009420" cy="422800"/>
          </a:xfrm>
          <a:prstGeom prst="rect">
            <a:avLst/>
          </a:prstGeom>
          <a:noFill/>
          <a:ln>
            <a:noFill/>
          </a:ln>
        </p:spPr>
      </p:pic>
      <p:pic>
        <p:nvPicPr>
          <p:cNvPr id="1263" name="Google Shape;1263;p5" descr="McDonald Development - Top Developer of Investment-Quality Real Estate"/>
          <p:cNvPicPr preferRelativeResize="0"/>
          <p:nvPr/>
        </p:nvPicPr>
        <p:blipFill rotWithShape="1">
          <a:blip r:embed="rId31">
            <a:alphaModFix/>
          </a:blip>
          <a:srcRect/>
          <a:stretch/>
        </p:blipFill>
        <p:spPr>
          <a:xfrm>
            <a:off x="2258978" y="4839840"/>
            <a:ext cx="1658092" cy="331618"/>
          </a:xfrm>
          <a:prstGeom prst="rect">
            <a:avLst/>
          </a:prstGeom>
          <a:noFill/>
          <a:ln>
            <a:noFill/>
          </a:ln>
        </p:spPr>
      </p:pic>
      <p:pic>
        <p:nvPicPr>
          <p:cNvPr id="1264" name="Google Shape;1264;p5" descr="General Mills | Partners in Food Solutions"/>
          <p:cNvPicPr preferRelativeResize="0"/>
          <p:nvPr/>
        </p:nvPicPr>
        <p:blipFill rotWithShape="1">
          <a:blip r:embed="rId32">
            <a:alphaModFix/>
          </a:blip>
          <a:srcRect/>
          <a:stretch/>
        </p:blipFill>
        <p:spPr>
          <a:xfrm>
            <a:off x="6415305" y="5266213"/>
            <a:ext cx="785820" cy="463554"/>
          </a:xfrm>
          <a:prstGeom prst="rect">
            <a:avLst/>
          </a:prstGeom>
          <a:noFill/>
          <a:ln>
            <a:noFill/>
          </a:ln>
        </p:spPr>
      </p:pic>
      <p:pic>
        <p:nvPicPr>
          <p:cNvPr id="1265" name="Google Shape;1265;p5"/>
          <p:cNvPicPr preferRelativeResize="0"/>
          <p:nvPr/>
        </p:nvPicPr>
        <p:blipFill rotWithShape="1">
          <a:blip r:embed="rId33">
            <a:alphaModFix/>
          </a:blip>
          <a:srcRect/>
          <a:stretch/>
        </p:blipFill>
        <p:spPr>
          <a:xfrm>
            <a:off x="8989155" y="2244280"/>
            <a:ext cx="735140" cy="735140"/>
          </a:xfrm>
          <a:prstGeom prst="rect">
            <a:avLst/>
          </a:prstGeom>
          <a:noFill/>
          <a:ln>
            <a:noFill/>
          </a:ln>
        </p:spPr>
      </p:pic>
      <p:pic>
        <p:nvPicPr>
          <p:cNvPr id="1266" name="Google Shape;1266;p5"/>
          <p:cNvPicPr preferRelativeResize="0"/>
          <p:nvPr/>
        </p:nvPicPr>
        <p:blipFill rotWithShape="1">
          <a:blip r:embed="rId34">
            <a:alphaModFix/>
          </a:blip>
          <a:srcRect/>
          <a:stretch/>
        </p:blipFill>
        <p:spPr>
          <a:xfrm>
            <a:off x="10666890" y="2366814"/>
            <a:ext cx="528788" cy="528786"/>
          </a:xfrm>
          <a:prstGeom prst="rect">
            <a:avLst/>
          </a:prstGeom>
          <a:noFill/>
          <a:ln>
            <a:noFill/>
          </a:ln>
        </p:spPr>
      </p:pic>
      <p:cxnSp>
        <p:nvCxnSpPr>
          <p:cNvPr id="1267" name="Google Shape;1267;p5"/>
          <p:cNvCxnSpPr/>
          <p:nvPr/>
        </p:nvCxnSpPr>
        <p:spPr>
          <a:xfrm>
            <a:off x="9793581" y="2604690"/>
            <a:ext cx="769620" cy="0"/>
          </a:xfrm>
          <a:prstGeom prst="straightConnector1">
            <a:avLst/>
          </a:prstGeom>
          <a:solidFill>
            <a:schemeClr val="lt1"/>
          </a:solidFill>
          <a:ln w="9525" cap="flat" cmpd="sng">
            <a:solidFill>
              <a:srgbClr val="A1A1A1"/>
            </a:solidFill>
            <a:prstDash val="solid"/>
            <a:miter lim="800000"/>
            <a:headEnd type="none" w="sm" len="sm"/>
            <a:tailEnd type="none" w="sm" len="sm"/>
          </a:ln>
        </p:spPr>
      </p:cxnSp>
      <p:cxnSp>
        <p:nvCxnSpPr>
          <p:cNvPr id="1268" name="Google Shape;1268;p5"/>
          <p:cNvCxnSpPr/>
          <p:nvPr/>
        </p:nvCxnSpPr>
        <p:spPr>
          <a:xfrm>
            <a:off x="11299371" y="2604690"/>
            <a:ext cx="315966" cy="0"/>
          </a:xfrm>
          <a:prstGeom prst="straightConnector1">
            <a:avLst/>
          </a:prstGeom>
          <a:solidFill>
            <a:schemeClr val="lt1"/>
          </a:solidFill>
          <a:ln w="9525" cap="flat" cmpd="sng">
            <a:solidFill>
              <a:srgbClr val="A1A1A1"/>
            </a:solidFill>
            <a:prstDash val="solid"/>
            <a:miter lim="800000"/>
            <a:headEnd type="none" w="sm" len="sm"/>
            <a:tailEnd type="none" w="sm" len="sm"/>
          </a:ln>
        </p:spPr>
      </p:cxnSp>
      <p:cxnSp>
        <p:nvCxnSpPr>
          <p:cNvPr id="1269" name="Google Shape;1269;p5"/>
          <p:cNvCxnSpPr/>
          <p:nvPr/>
        </p:nvCxnSpPr>
        <p:spPr>
          <a:xfrm>
            <a:off x="8150249" y="2604690"/>
            <a:ext cx="769620" cy="0"/>
          </a:xfrm>
          <a:prstGeom prst="straightConnector1">
            <a:avLst/>
          </a:prstGeom>
          <a:solidFill>
            <a:schemeClr val="lt1"/>
          </a:solidFill>
          <a:ln w="9525" cap="flat" cmpd="sng">
            <a:solidFill>
              <a:srgbClr val="A1A1A1"/>
            </a:solidFill>
            <a:prstDash val="solid"/>
            <a:miter lim="800000"/>
            <a:headEnd type="none" w="sm" len="sm"/>
            <a:tailEnd type="none" w="sm" len="sm"/>
          </a:ln>
        </p:spPr>
      </p:cxnSp>
      <p:cxnSp>
        <p:nvCxnSpPr>
          <p:cNvPr id="1270" name="Google Shape;1270;p5"/>
          <p:cNvCxnSpPr/>
          <p:nvPr/>
        </p:nvCxnSpPr>
        <p:spPr>
          <a:xfrm>
            <a:off x="6536463" y="2604690"/>
            <a:ext cx="769620" cy="0"/>
          </a:xfrm>
          <a:prstGeom prst="straightConnector1">
            <a:avLst/>
          </a:prstGeom>
          <a:solidFill>
            <a:schemeClr val="lt1"/>
          </a:solidFill>
          <a:ln w="9525" cap="flat" cmpd="sng">
            <a:solidFill>
              <a:srgbClr val="A1A1A1"/>
            </a:solidFill>
            <a:prstDash val="solid"/>
            <a:miter lim="800000"/>
            <a:headEnd type="none" w="sm" len="sm"/>
            <a:tailEnd type="none" w="sm" len="sm"/>
          </a:ln>
        </p:spPr>
      </p:cxnSp>
      <p:cxnSp>
        <p:nvCxnSpPr>
          <p:cNvPr id="1271" name="Google Shape;1271;p5"/>
          <p:cNvCxnSpPr/>
          <p:nvPr/>
        </p:nvCxnSpPr>
        <p:spPr>
          <a:xfrm>
            <a:off x="5033102" y="2604690"/>
            <a:ext cx="769620" cy="0"/>
          </a:xfrm>
          <a:prstGeom prst="straightConnector1">
            <a:avLst/>
          </a:prstGeom>
          <a:solidFill>
            <a:schemeClr val="lt1"/>
          </a:solidFill>
          <a:ln w="9525" cap="flat" cmpd="sng">
            <a:solidFill>
              <a:srgbClr val="A1A1A1"/>
            </a:solidFill>
            <a:prstDash val="solid"/>
            <a:miter lim="800000"/>
            <a:headEnd type="none" w="sm" len="sm"/>
            <a:tailEnd type="none" w="sm" len="sm"/>
          </a:ln>
        </p:spPr>
      </p:cxnSp>
      <p:cxnSp>
        <p:nvCxnSpPr>
          <p:cNvPr id="1272" name="Google Shape;1272;p5"/>
          <p:cNvCxnSpPr/>
          <p:nvPr/>
        </p:nvCxnSpPr>
        <p:spPr>
          <a:xfrm>
            <a:off x="3478654" y="2604690"/>
            <a:ext cx="769620" cy="0"/>
          </a:xfrm>
          <a:prstGeom prst="straightConnector1">
            <a:avLst/>
          </a:prstGeom>
          <a:solidFill>
            <a:schemeClr val="lt1"/>
          </a:solidFill>
          <a:ln w="9525" cap="flat" cmpd="sng">
            <a:solidFill>
              <a:srgbClr val="A1A1A1"/>
            </a:solidFill>
            <a:prstDash val="solid"/>
            <a:miter lim="800000"/>
            <a:headEnd type="none" w="sm" len="sm"/>
            <a:tailEnd type="none" w="sm" len="sm"/>
          </a:ln>
        </p:spPr>
      </p:cxnSp>
      <p:cxnSp>
        <p:nvCxnSpPr>
          <p:cNvPr id="1273" name="Google Shape;1273;p5"/>
          <p:cNvCxnSpPr/>
          <p:nvPr/>
        </p:nvCxnSpPr>
        <p:spPr>
          <a:xfrm>
            <a:off x="1752218" y="2604690"/>
            <a:ext cx="769620" cy="0"/>
          </a:xfrm>
          <a:prstGeom prst="straightConnector1">
            <a:avLst/>
          </a:prstGeom>
          <a:solidFill>
            <a:schemeClr val="lt1"/>
          </a:solidFill>
          <a:ln w="9525" cap="flat" cmpd="sng">
            <a:solidFill>
              <a:srgbClr val="A1A1A1"/>
            </a:solidFill>
            <a:prstDash val="solid"/>
            <a:miter lim="800000"/>
            <a:headEnd type="none" w="sm" len="sm"/>
            <a:tailEnd type="none" w="sm" len="sm"/>
          </a:ln>
        </p:spPr>
      </p:cxnSp>
      <p:cxnSp>
        <p:nvCxnSpPr>
          <p:cNvPr id="1274" name="Google Shape;1274;p5"/>
          <p:cNvCxnSpPr/>
          <p:nvPr/>
        </p:nvCxnSpPr>
        <p:spPr>
          <a:xfrm>
            <a:off x="539400" y="2604690"/>
            <a:ext cx="315966" cy="0"/>
          </a:xfrm>
          <a:prstGeom prst="straightConnector1">
            <a:avLst/>
          </a:prstGeom>
          <a:solidFill>
            <a:schemeClr val="lt1"/>
          </a:solidFill>
          <a:ln w="9525" cap="flat" cmpd="sng">
            <a:solidFill>
              <a:srgbClr val="A1A1A1"/>
            </a:solidFill>
            <a:prstDash val="solid"/>
            <a:miter lim="800000"/>
            <a:headEnd type="none" w="sm" len="sm"/>
            <a:tailEnd type="none" w="sm" len="sm"/>
          </a:ln>
        </p:spPr>
      </p:cxnSp>
      <p:cxnSp>
        <p:nvCxnSpPr>
          <p:cNvPr id="1275" name="Google Shape;1275;p5"/>
          <p:cNvCxnSpPr/>
          <p:nvPr/>
        </p:nvCxnSpPr>
        <p:spPr>
          <a:xfrm>
            <a:off x="1966627" y="4299767"/>
            <a:ext cx="0" cy="1905297"/>
          </a:xfrm>
          <a:prstGeom prst="straightConnector1">
            <a:avLst/>
          </a:prstGeom>
          <a:noFill/>
          <a:ln w="19050" cap="flat" cmpd="sng">
            <a:solidFill>
              <a:schemeClr val="dk2"/>
            </a:solidFill>
            <a:prstDash val="solid"/>
            <a:miter lim="800000"/>
            <a:headEnd type="none" w="sm" len="sm"/>
            <a:tailEnd type="none" w="sm" len="sm"/>
          </a:ln>
        </p:spPr>
      </p:cxnSp>
      <p:grpSp>
        <p:nvGrpSpPr>
          <p:cNvPr id="1276" name="Google Shape;1276;p5"/>
          <p:cNvGrpSpPr/>
          <p:nvPr/>
        </p:nvGrpSpPr>
        <p:grpSpPr>
          <a:xfrm>
            <a:off x="1822627" y="5108415"/>
            <a:ext cx="288000" cy="288000"/>
            <a:chOff x="550862" y="2496471"/>
            <a:chExt cx="360000" cy="360000"/>
          </a:xfrm>
        </p:grpSpPr>
        <p:sp>
          <p:nvSpPr>
            <p:cNvPr id="1277" name="Google Shape;1277;p5"/>
            <p:cNvSpPr/>
            <p:nvPr/>
          </p:nvSpPr>
          <p:spPr>
            <a:xfrm>
              <a:off x="564471" y="2510079"/>
              <a:ext cx="332784" cy="332784"/>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278" name="Google Shape;1278;p5"/>
            <p:cNvPicPr preferRelativeResize="0"/>
            <p:nvPr/>
          </p:nvPicPr>
          <p:blipFill rotWithShape="1">
            <a:blip r:embed="rId35">
              <a:alphaModFix/>
            </a:blip>
            <a:srcRect/>
            <a:stretch/>
          </p:blipFill>
          <p:spPr>
            <a:xfrm>
              <a:off x="550862" y="2496471"/>
              <a:ext cx="360000" cy="360000"/>
            </a:xfrm>
            <a:prstGeom prst="rect">
              <a:avLst/>
            </a:prstGeom>
            <a:noFill/>
            <a:ln>
              <a:noFill/>
            </a:ln>
          </p:spPr>
        </p:pic>
      </p:grpSp>
      <p:pic>
        <p:nvPicPr>
          <p:cNvPr id="1279" name="Google Shape;1279;p5" descr="AboutUs – Media-ap"/>
          <p:cNvPicPr preferRelativeResize="0"/>
          <p:nvPr/>
        </p:nvPicPr>
        <p:blipFill rotWithShape="1">
          <a:blip r:embed="rId36">
            <a:alphaModFix/>
          </a:blip>
          <a:srcRect t="29181" b="25878"/>
          <a:stretch/>
        </p:blipFill>
        <p:spPr>
          <a:xfrm>
            <a:off x="10198298" y="5826644"/>
            <a:ext cx="979342" cy="324220"/>
          </a:xfrm>
          <a:prstGeom prst="rect">
            <a:avLst/>
          </a:prstGeom>
          <a:noFill/>
          <a:ln>
            <a:noFill/>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1846"/>
        <p:cNvGrpSpPr/>
        <p:nvPr/>
      </p:nvGrpSpPr>
      <p:grpSpPr>
        <a:xfrm>
          <a:off x="0" y="0"/>
          <a:ext cx="0" cy="0"/>
          <a:chOff x="0" y="0"/>
          <a:chExt cx="0" cy="0"/>
        </a:xfrm>
      </p:grpSpPr>
      <p:pic>
        <p:nvPicPr>
          <p:cNvPr id="1847" name="Google Shape;1847;p13"/>
          <p:cNvPicPr preferRelativeResize="0"/>
          <p:nvPr/>
        </p:nvPicPr>
        <p:blipFill rotWithShape="1">
          <a:blip r:embed="rId3">
            <a:alphaModFix/>
          </a:blip>
          <a:srcRect/>
          <a:stretch/>
        </p:blipFill>
        <p:spPr>
          <a:xfrm>
            <a:off x="1" y="0"/>
            <a:ext cx="3449255" cy="6858000"/>
          </a:xfrm>
          <a:prstGeom prst="rect">
            <a:avLst/>
          </a:prstGeom>
          <a:noFill/>
          <a:ln>
            <a:noFill/>
          </a:ln>
        </p:spPr>
      </p:pic>
      <p:sp>
        <p:nvSpPr>
          <p:cNvPr id="1848" name="Google Shape;1848;p13"/>
          <p:cNvSpPr/>
          <p:nvPr/>
        </p:nvSpPr>
        <p:spPr>
          <a:xfrm>
            <a:off x="0" y="-1"/>
            <a:ext cx="3460830" cy="6857999"/>
          </a:xfrm>
          <a:prstGeom prst="rect">
            <a:avLst/>
          </a:prstGeom>
          <a:gradFill>
            <a:gsLst>
              <a:gs pos="0">
                <a:srgbClr val="062379"/>
              </a:gs>
              <a:gs pos="55000">
                <a:srgbClr val="0F47F2">
                  <a:alpha val="67843"/>
                </a:srgbClr>
              </a:gs>
              <a:gs pos="76000">
                <a:srgbClr val="0F47F2">
                  <a:alpha val="6784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nvGrpSpPr>
          <p:cNvPr id="1849" name="Google Shape;1849;p13"/>
          <p:cNvGrpSpPr/>
          <p:nvPr/>
        </p:nvGrpSpPr>
        <p:grpSpPr>
          <a:xfrm>
            <a:off x="11588674" y="2061558"/>
            <a:ext cx="644875" cy="638649"/>
            <a:chOff x="373784" y="6837540"/>
            <a:chExt cx="578798" cy="581782"/>
          </a:xfrm>
        </p:grpSpPr>
        <p:sp>
          <p:nvSpPr>
            <p:cNvPr id="1850" name="Google Shape;1850;p13"/>
            <p:cNvSpPr/>
            <p:nvPr/>
          </p:nvSpPr>
          <p:spPr>
            <a:xfrm>
              <a:off x="378969" y="6843587"/>
              <a:ext cx="571141" cy="572050"/>
            </a:xfrm>
            <a:custGeom>
              <a:avLst/>
              <a:gdLst/>
              <a:ahLst/>
              <a:cxnLst/>
              <a:rect l="l" t="t" r="r" b="b"/>
              <a:pathLst>
                <a:path w="571141" h="572050" extrusionOk="0">
                  <a:moveTo>
                    <a:pt x="946" y="262566"/>
                  </a:moveTo>
                  <a:lnTo>
                    <a:pt x="3737" y="239629"/>
                  </a:lnTo>
                  <a:lnTo>
                    <a:pt x="8299" y="217289"/>
                  </a:lnTo>
                  <a:lnTo>
                    <a:pt x="14558" y="195618"/>
                  </a:lnTo>
                  <a:lnTo>
                    <a:pt x="22441" y="174690"/>
                  </a:lnTo>
                  <a:lnTo>
                    <a:pt x="31874" y="154579"/>
                  </a:lnTo>
                  <a:lnTo>
                    <a:pt x="42785" y="135359"/>
                  </a:lnTo>
                  <a:lnTo>
                    <a:pt x="55098" y="117102"/>
                  </a:lnTo>
                  <a:lnTo>
                    <a:pt x="68742" y="99882"/>
                  </a:lnTo>
                  <a:lnTo>
                    <a:pt x="83641" y="83774"/>
                  </a:lnTo>
                  <a:lnTo>
                    <a:pt x="99724" y="68851"/>
                  </a:lnTo>
                  <a:lnTo>
                    <a:pt x="116916" y="55186"/>
                  </a:lnTo>
                  <a:lnTo>
                    <a:pt x="135144" y="42852"/>
                  </a:lnTo>
                  <a:lnTo>
                    <a:pt x="154334" y="31925"/>
                  </a:lnTo>
                  <a:lnTo>
                    <a:pt x="174413" y="22477"/>
                  </a:lnTo>
                  <a:lnTo>
                    <a:pt x="195308" y="14581"/>
                  </a:lnTo>
                  <a:lnTo>
                    <a:pt x="216945" y="8312"/>
                  </a:lnTo>
                  <a:lnTo>
                    <a:pt x="239249" y="3743"/>
                  </a:lnTo>
                  <a:lnTo>
                    <a:pt x="262149" y="948"/>
                  </a:lnTo>
                  <a:lnTo>
                    <a:pt x="285570" y="0"/>
                  </a:lnTo>
                  <a:lnTo>
                    <a:pt x="308992" y="948"/>
                  </a:lnTo>
                  <a:lnTo>
                    <a:pt x="331892" y="3743"/>
                  </a:lnTo>
                  <a:lnTo>
                    <a:pt x="354197" y="8312"/>
                  </a:lnTo>
                  <a:lnTo>
                    <a:pt x="375833" y="14581"/>
                  </a:lnTo>
                  <a:lnTo>
                    <a:pt x="396728" y="22477"/>
                  </a:lnTo>
                  <a:lnTo>
                    <a:pt x="416807" y="31925"/>
                  </a:lnTo>
                  <a:lnTo>
                    <a:pt x="435997" y="42853"/>
                  </a:lnTo>
                  <a:lnTo>
                    <a:pt x="454225" y="55186"/>
                  </a:lnTo>
                  <a:lnTo>
                    <a:pt x="471417" y="68851"/>
                  </a:lnTo>
                  <a:lnTo>
                    <a:pt x="487500" y="83774"/>
                  </a:lnTo>
                  <a:lnTo>
                    <a:pt x="502400" y="99882"/>
                  </a:lnTo>
                  <a:lnTo>
                    <a:pt x="516043" y="117102"/>
                  </a:lnTo>
                  <a:lnTo>
                    <a:pt x="528356" y="135359"/>
                  </a:lnTo>
                  <a:lnTo>
                    <a:pt x="539267" y="154579"/>
                  </a:lnTo>
                  <a:lnTo>
                    <a:pt x="548700" y="174691"/>
                  </a:lnTo>
                  <a:lnTo>
                    <a:pt x="556583" y="195618"/>
                  </a:lnTo>
                  <a:lnTo>
                    <a:pt x="562842" y="217289"/>
                  </a:lnTo>
                  <a:lnTo>
                    <a:pt x="567404" y="239630"/>
                  </a:lnTo>
                  <a:lnTo>
                    <a:pt x="570195" y="262566"/>
                  </a:lnTo>
                  <a:lnTo>
                    <a:pt x="571141" y="286024"/>
                  </a:lnTo>
                  <a:lnTo>
                    <a:pt x="570195" y="309483"/>
                  </a:lnTo>
                  <a:lnTo>
                    <a:pt x="567404" y="332420"/>
                  </a:lnTo>
                  <a:lnTo>
                    <a:pt x="562842" y="354760"/>
                  </a:lnTo>
                  <a:lnTo>
                    <a:pt x="556583" y="376431"/>
                  </a:lnTo>
                  <a:lnTo>
                    <a:pt x="548700" y="397359"/>
                  </a:lnTo>
                  <a:lnTo>
                    <a:pt x="539267" y="417470"/>
                  </a:lnTo>
                  <a:lnTo>
                    <a:pt x="528356" y="436690"/>
                  </a:lnTo>
                  <a:lnTo>
                    <a:pt x="516043" y="454947"/>
                  </a:lnTo>
                  <a:lnTo>
                    <a:pt x="502399" y="472167"/>
                  </a:lnTo>
                  <a:lnTo>
                    <a:pt x="487500" y="488275"/>
                  </a:lnTo>
                  <a:lnTo>
                    <a:pt x="471417" y="503198"/>
                  </a:lnTo>
                  <a:lnTo>
                    <a:pt x="454225" y="516863"/>
                  </a:lnTo>
                  <a:lnTo>
                    <a:pt x="435997" y="529197"/>
                  </a:lnTo>
                  <a:lnTo>
                    <a:pt x="416807" y="540124"/>
                  </a:lnTo>
                  <a:lnTo>
                    <a:pt x="396728" y="549572"/>
                  </a:lnTo>
                  <a:lnTo>
                    <a:pt x="375833" y="557468"/>
                  </a:lnTo>
                  <a:lnTo>
                    <a:pt x="354197" y="563737"/>
                  </a:lnTo>
                  <a:lnTo>
                    <a:pt x="331892" y="568306"/>
                  </a:lnTo>
                  <a:lnTo>
                    <a:pt x="308992" y="571101"/>
                  </a:lnTo>
                  <a:lnTo>
                    <a:pt x="285571" y="572050"/>
                  </a:lnTo>
                  <a:lnTo>
                    <a:pt x="262149" y="571101"/>
                  </a:lnTo>
                  <a:lnTo>
                    <a:pt x="239249" y="568306"/>
                  </a:lnTo>
                  <a:lnTo>
                    <a:pt x="216945" y="563737"/>
                  </a:lnTo>
                  <a:lnTo>
                    <a:pt x="195308" y="557468"/>
                  </a:lnTo>
                  <a:lnTo>
                    <a:pt x="174413" y="549572"/>
                  </a:lnTo>
                  <a:lnTo>
                    <a:pt x="154334" y="540124"/>
                  </a:lnTo>
                  <a:lnTo>
                    <a:pt x="135144" y="529197"/>
                  </a:lnTo>
                  <a:lnTo>
                    <a:pt x="116916" y="516863"/>
                  </a:lnTo>
                  <a:lnTo>
                    <a:pt x="99724" y="503198"/>
                  </a:lnTo>
                  <a:lnTo>
                    <a:pt x="83641" y="488275"/>
                  </a:lnTo>
                  <a:lnTo>
                    <a:pt x="68742" y="472167"/>
                  </a:lnTo>
                  <a:lnTo>
                    <a:pt x="55098" y="454947"/>
                  </a:lnTo>
                  <a:lnTo>
                    <a:pt x="42785" y="436690"/>
                  </a:lnTo>
                  <a:lnTo>
                    <a:pt x="31875" y="417470"/>
                  </a:lnTo>
                  <a:lnTo>
                    <a:pt x="22441" y="397359"/>
                  </a:lnTo>
                  <a:lnTo>
                    <a:pt x="14558" y="376431"/>
                  </a:lnTo>
                  <a:lnTo>
                    <a:pt x="8299" y="354760"/>
                  </a:lnTo>
                  <a:lnTo>
                    <a:pt x="3737" y="332420"/>
                  </a:lnTo>
                  <a:lnTo>
                    <a:pt x="946" y="309483"/>
                  </a:lnTo>
                  <a:lnTo>
                    <a:pt x="0" y="286025"/>
                  </a:lnTo>
                  <a:lnTo>
                    <a:pt x="946" y="262566"/>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51" name="Google Shape;1851;p13"/>
            <p:cNvSpPr/>
            <p:nvPr/>
          </p:nvSpPr>
          <p:spPr>
            <a:xfrm>
              <a:off x="458665" y="6923414"/>
              <a:ext cx="409337" cy="409995"/>
            </a:xfrm>
            <a:custGeom>
              <a:avLst/>
              <a:gdLst/>
              <a:ahLst/>
              <a:cxnLst/>
              <a:rect l="l" t="t" r="r" b="b"/>
              <a:pathLst>
                <a:path w="409337" h="409995" extrusionOk="0">
                  <a:moveTo>
                    <a:pt x="5955" y="155688"/>
                  </a:moveTo>
                  <a:lnTo>
                    <a:pt x="10445" y="140178"/>
                  </a:lnTo>
                  <a:lnTo>
                    <a:pt x="16099" y="125197"/>
                  </a:lnTo>
                  <a:lnTo>
                    <a:pt x="14958" y="204853"/>
                  </a:lnTo>
                  <a:lnTo>
                    <a:pt x="15588" y="220429"/>
                  </a:lnTo>
                  <a:lnTo>
                    <a:pt x="17446" y="235662"/>
                  </a:lnTo>
                  <a:lnTo>
                    <a:pt x="20483" y="250503"/>
                  </a:lnTo>
                  <a:lnTo>
                    <a:pt x="24648" y="264902"/>
                  </a:lnTo>
                  <a:lnTo>
                    <a:pt x="29893" y="278810"/>
                  </a:lnTo>
                  <a:lnTo>
                    <a:pt x="36169" y="292178"/>
                  </a:lnTo>
                  <a:lnTo>
                    <a:pt x="43425" y="304956"/>
                  </a:lnTo>
                  <a:lnTo>
                    <a:pt x="51612" y="317096"/>
                  </a:lnTo>
                  <a:lnTo>
                    <a:pt x="60682" y="328547"/>
                  </a:lnTo>
                  <a:lnTo>
                    <a:pt x="70584" y="339261"/>
                  </a:lnTo>
                  <a:lnTo>
                    <a:pt x="81269" y="349189"/>
                  </a:lnTo>
                  <a:lnTo>
                    <a:pt x="92688" y="358281"/>
                  </a:lnTo>
                  <a:lnTo>
                    <a:pt x="104791" y="366487"/>
                  </a:lnTo>
                  <a:lnTo>
                    <a:pt x="117529" y="373760"/>
                  </a:lnTo>
                  <a:lnTo>
                    <a:pt x="130852" y="380048"/>
                  </a:lnTo>
                  <a:lnTo>
                    <a:pt x="144712" y="385304"/>
                  </a:lnTo>
                  <a:lnTo>
                    <a:pt x="159059" y="389478"/>
                  </a:lnTo>
                  <a:lnTo>
                    <a:pt x="173842" y="392520"/>
                  </a:lnTo>
                  <a:lnTo>
                    <a:pt x="189014" y="394381"/>
                  </a:lnTo>
                  <a:lnTo>
                    <a:pt x="204524" y="395013"/>
                  </a:lnTo>
                  <a:lnTo>
                    <a:pt x="220076" y="394381"/>
                  </a:lnTo>
                  <a:lnTo>
                    <a:pt x="235284" y="392520"/>
                  </a:lnTo>
                  <a:lnTo>
                    <a:pt x="250101" y="389478"/>
                  </a:lnTo>
                  <a:lnTo>
                    <a:pt x="264477" y="385304"/>
                  </a:lnTo>
                  <a:lnTo>
                    <a:pt x="278363" y="380048"/>
                  </a:lnTo>
                  <a:lnTo>
                    <a:pt x="291709" y="373760"/>
                  </a:lnTo>
                  <a:lnTo>
                    <a:pt x="304467" y="366487"/>
                  </a:lnTo>
                  <a:lnTo>
                    <a:pt x="316587" y="358281"/>
                  </a:lnTo>
                  <a:lnTo>
                    <a:pt x="328020" y="349189"/>
                  </a:lnTo>
                  <a:lnTo>
                    <a:pt x="338717" y="339261"/>
                  </a:lnTo>
                  <a:lnTo>
                    <a:pt x="348628" y="328547"/>
                  </a:lnTo>
                  <a:lnTo>
                    <a:pt x="357706" y="317096"/>
                  </a:lnTo>
                  <a:lnTo>
                    <a:pt x="365899" y="304956"/>
                  </a:lnTo>
                  <a:lnTo>
                    <a:pt x="373160" y="292178"/>
                  </a:lnTo>
                  <a:lnTo>
                    <a:pt x="379438" y="278810"/>
                  </a:lnTo>
                  <a:lnTo>
                    <a:pt x="384686" y="264902"/>
                  </a:lnTo>
                  <a:lnTo>
                    <a:pt x="388853" y="250503"/>
                  </a:lnTo>
                  <a:lnTo>
                    <a:pt x="391890" y="235662"/>
                  </a:lnTo>
                  <a:lnTo>
                    <a:pt x="393748" y="220429"/>
                  </a:lnTo>
                  <a:lnTo>
                    <a:pt x="394379" y="204853"/>
                  </a:lnTo>
                  <a:lnTo>
                    <a:pt x="393748" y="189318"/>
                  </a:lnTo>
                  <a:lnTo>
                    <a:pt x="391890" y="174122"/>
                  </a:lnTo>
                  <a:lnTo>
                    <a:pt x="388853" y="159314"/>
                  </a:lnTo>
                  <a:lnTo>
                    <a:pt x="384686" y="144945"/>
                  </a:lnTo>
                  <a:lnTo>
                    <a:pt x="379438" y="131063"/>
                  </a:lnTo>
                  <a:lnTo>
                    <a:pt x="373160" y="117718"/>
                  </a:lnTo>
                  <a:lnTo>
                    <a:pt x="365899" y="104959"/>
                  </a:lnTo>
                  <a:lnTo>
                    <a:pt x="357706" y="92837"/>
                  </a:lnTo>
                  <a:lnTo>
                    <a:pt x="348628" y="81399"/>
                  </a:lnTo>
                  <a:lnTo>
                    <a:pt x="338717" y="70697"/>
                  </a:lnTo>
                  <a:lnTo>
                    <a:pt x="328020" y="60779"/>
                  </a:lnTo>
                  <a:lnTo>
                    <a:pt x="316587" y="51695"/>
                  </a:lnTo>
                  <a:lnTo>
                    <a:pt x="304467" y="43495"/>
                  </a:lnTo>
                  <a:lnTo>
                    <a:pt x="291709" y="36227"/>
                  </a:lnTo>
                  <a:lnTo>
                    <a:pt x="278363" y="29942"/>
                  </a:lnTo>
                  <a:lnTo>
                    <a:pt x="264477" y="24688"/>
                  </a:lnTo>
                  <a:lnTo>
                    <a:pt x="250101" y="20516"/>
                  </a:lnTo>
                  <a:lnTo>
                    <a:pt x="235284" y="17474"/>
                  </a:lnTo>
                  <a:lnTo>
                    <a:pt x="220076" y="15613"/>
                  </a:lnTo>
                  <a:lnTo>
                    <a:pt x="204524" y="14982"/>
                  </a:lnTo>
                  <a:lnTo>
                    <a:pt x="189014" y="15613"/>
                  </a:lnTo>
                  <a:lnTo>
                    <a:pt x="173842" y="17474"/>
                  </a:lnTo>
                  <a:lnTo>
                    <a:pt x="159059" y="20516"/>
                  </a:lnTo>
                  <a:lnTo>
                    <a:pt x="144712" y="24688"/>
                  </a:lnTo>
                  <a:lnTo>
                    <a:pt x="130852" y="29942"/>
                  </a:lnTo>
                  <a:lnTo>
                    <a:pt x="117529" y="36227"/>
                  </a:lnTo>
                  <a:lnTo>
                    <a:pt x="104791" y="43495"/>
                  </a:lnTo>
                  <a:lnTo>
                    <a:pt x="92688" y="51695"/>
                  </a:lnTo>
                  <a:lnTo>
                    <a:pt x="81269" y="60779"/>
                  </a:lnTo>
                  <a:lnTo>
                    <a:pt x="70584" y="70697"/>
                  </a:lnTo>
                  <a:lnTo>
                    <a:pt x="60682" y="81399"/>
                  </a:lnTo>
                  <a:lnTo>
                    <a:pt x="51612" y="92837"/>
                  </a:lnTo>
                  <a:lnTo>
                    <a:pt x="43425" y="104959"/>
                  </a:lnTo>
                  <a:lnTo>
                    <a:pt x="36169" y="117718"/>
                  </a:lnTo>
                  <a:lnTo>
                    <a:pt x="29893" y="131063"/>
                  </a:lnTo>
                  <a:lnTo>
                    <a:pt x="24648" y="144945"/>
                  </a:lnTo>
                  <a:lnTo>
                    <a:pt x="30688" y="97031"/>
                  </a:lnTo>
                  <a:lnTo>
                    <a:pt x="39517" y="83953"/>
                  </a:lnTo>
                  <a:lnTo>
                    <a:pt x="49297" y="71616"/>
                  </a:lnTo>
                  <a:lnTo>
                    <a:pt x="59976" y="60073"/>
                  </a:lnTo>
                  <a:lnTo>
                    <a:pt x="71501" y="49376"/>
                  </a:lnTo>
                  <a:lnTo>
                    <a:pt x="83818" y="39580"/>
                  </a:lnTo>
                  <a:lnTo>
                    <a:pt x="96875" y="30738"/>
                  </a:lnTo>
                  <a:lnTo>
                    <a:pt x="110619" y="22902"/>
                  </a:lnTo>
                  <a:lnTo>
                    <a:pt x="124996" y="16125"/>
                  </a:lnTo>
                  <a:lnTo>
                    <a:pt x="139953" y="10462"/>
                  </a:lnTo>
                  <a:lnTo>
                    <a:pt x="155438" y="5964"/>
                  </a:lnTo>
                  <a:lnTo>
                    <a:pt x="171396" y="2686"/>
                  </a:lnTo>
                  <a:lnTo>
                    <a:pt x="187776" y="680"/>
                  </a:lnTo>
                  <a:lnTo>
                    <a:pt x="204524" y="0"/>
                  </a:lnTo>
                  <a:lnTo>
                    <a:pt x="221313" y="680"/>
                  </a:lnTo>
                  <a:lnTo>
                    <a:pt x="237730" y="2686"/>
                  </a:lnTo>
                  <a:lnTo>
                    <a:pt x="253722" y="5964"/>
                  </a:lnTo>
                  <a:lnTo>
                    <a:pt x="269236" y="10462"/>
                  </a:lnTo>
                  <a:lnTo>
                    <a:pt x="284219" y="16125"/>
                  </a:lnTo>
                  <a:lnTo>
                    <a:pt x="298619" y="22902"/>
                  </a:lnTo>
                  <a:lnTo>
                    <a:pt x="312382" y="30738"/>
                  </a:lnTo>
                  <a:lnTo>
                    <a:pt x="325456" y="39580"/>
                  </a:lnTo>
                  <a:lnTo>
                    <a:pt x="337787" y="49376"/>
                  </a:lnTo>
                  <a:lnTo>
                    <a:pt x="349324" y="60073"/>
                  </a:lnTo>
                  <a:lnTo>
                    <a:pt x="360013" y="71616"/>
                  </a:lnTo>
                  <a:lnTo>
                    <a:pt x="369801" y="83953"/>
                  </a:lnTo>
                  <a:lnTo>
                    <a:pt x="378636" y="97031"/>
                  </a:lnTo>
                  <a:lnTo>
                    <a:pt x="386464" y="110797"/>
                  </a:lnTo>
                  <a:lnTo>
                    <a:pt x="393232" y="125197"/>
                  </a:lnTo>
                  <a:lnTo>
                    <a:pt x="398889" y="140178"/>
                  </a:lnTo>
                  <a:lnTo>
                    <a:pt x="403381" y="155688"/>
                  </a:lnTo>
                  <a:lnTo>
                    <a:pt x="406654" y="171672"/>
                  </a:lnTo>
                  <a:lnTo>
                    <a:pt x="408657" y="188078"/>
                  </a:lnTo>
                  <a:lnTo>
                    <a:pt x="409337" y="204853"/>
                  </a:lnTo>
                  <a:lnTo>
                    <a:pt x="408657" y="221669"/>
                  </a:lnTo>
                  <a:lnTo>
                    <a:pt x="406654" y="238112"/>
                  </a:lnTo>
                  <a:lnTo>
                    <a:pt x="403381" y="254130"/>
                  </a:lnTo>
                  <a:lnTo>
                    <a:pt x="398889" y="269669"/>
                  </a:lnTo>
                  <a:lnTo>
                    <a:pt x="393232" y="284676"/>
                  </a:lnTo>
                  <a:lnTo>
                    <a:pt x="386464" y="299099"/>
                  </a:lnTo>
                  <a:lnTo>
                    <a:pt x="378636" y="312884"/>
                  </a:lnTo>
                  <a:lnTo>
                    <a:pt x="369801" y="325979"/>
                  </a:lnTo>
                  <a:lnTo>
                    <a:pt x="360013" y="338331"/>
                  </a:lnTo>
                  <a:lnTo>
                    <a:pt x="349324" y="349886"/>
                  </a:lnTo>
                  <a:lnTo>
                    <a:pt x="337787" y="360592"/>
                  </a:lnTo>
                  <a:lnTo>
                    <a:pt x="325456" y="370396"/>
                  </a:lnTo>
                  <a:lnTo>
                    <a:pt x="312382" y="379244"/>
                  </a:lnTo>
                  <a:lnTo>
                    <a:pt x="298619" y="387085"/>
                  </a:lnTo>
                  <a:lnTo>
                    <a:pt x="284219" y="393865"/>
                  </a:lnTo>
                  <a:lnTo>
                    <a:pt x="269236" y="399530"/>
                  </a:lnTo>
                  <a:lnTo>
                    <a:pt x="253722" y="404029"/>
                  </a:lnTo>
                  <a:lnTo>
                    <a:pt x="237730" y="407308"/>
                  </a:lnTo>
                  <a:lnTo>
                    <a:pt x="221313" y="409314"/>
                  </a:lnTo>
                  <a:lnTo>
                    <a:pt x="204524" y="409995"/>
                  </a:lnTo>
                  <a:lnTo>
                    <a:pt x="187776" y="409314"/>
                  </a:lnTo>
                  <a:lnTo>
                    <a:pt x="171396" y="407308"/>
                  </a:lnTo>
                  <a:lnTo>
                    <a:pt x="155438" y="404029"/>
                  </a:lnTo>
                  <a:lnTo>
                    <a:pt x="139953" y="399530"/>
                  </a:lnTo>
                  <a:lnTo>
                    <a:pt x="124996" y="393865"/>
                  </a:lnTo>
                  <a:lnTo>
                    <a:pt x="110619" y="387085"/>
                  </a:lnTo>
                  <a:lnTo>
                    <a:pt x="96875" y="379244"/>
                  </a:lnTo>
                  <a:lnTo>
                    <a:pt x="83818" y="370396"/>
                  </a:lnTo>
                  <a:lnTo>
                    <a:pt x="71501" y="360592"/>
                  </a:lnTo>
                  <a:lnTo>
                    <a:pt x="59976" y="349886"/>
                  </a:lnTo>
                  <a:lnTo>
                    <a:pt x="49297" y="338331"/>
                  </a:lnTo>
                  <a:lnTo>
                    <a:pt x="39517" y="325979"/>
                  </a:lnTo>
                  <a:lnTo>
                    <a:pt x="30688" y="312884"/>
                  </a:lnTo>
                  <a:lnTo>
                    <a:pt x="22865" y="299099"/>
                  </a:lnTo>
                  <a:lnTo>
                    <a:pt x="16099" y="284676"/>
                  </a:lnTo>
                  <a:lnTo>
                    <a:pt x="10445" y="269669"/>
                  </a:lnTo>
                  <a:lnTo>
                    <a:pt x="5955" y="254130"/>
                  </a:lnTo>
                  <a:lnTo>
                    <a:pt x="2682" y="238112"/>
                  </a:lnTo>
                  <a:lnTo>
                    <a:pt x="679" y="221669"/>
                  </a:lnTo>
                  <a:lnTo>
                    <a:pt x="0" y="204853"/>
                  </a:lnTo>
                  <a:lnTo>
                    <a:pt x="679" y="188078"/>
                  </a:lnTo>
                  <a:lnTo>
                    <a:pt x="2682" y="171672"/>
                  </a:lnTo>
                  <a:lnTo>
                    <a:pt x="5955" y="155688"/>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52" name="Google Shape;1852;p13"/>
            <p:cNvSpPr/>
            <p:nvPr/>
          </p:nvSpPr>
          <p:spPr>
            <a:xfrm>
              <a:off x="473623" y="7020446"/>
              <a:ext cx="15730" cy="107822"/>
            </a:xfrm>
            <a:custGeom>
              <a:avLst/>
              <a:gdLst/>
              <a:ahLst/>
              <a:cxnLst/>
              <a:rect l="l" t="t" r="r" b="b"/>
              <a:pathLst>
                <a:path w="15730" h="107822" extrusionOk="0">
                  <a:moveTo>
                    <a:pt x="7907" y="13765"/>
                  </a:moveTo>
                  <a:lnTo>
                    <a:pt x="15730" y="0"/>
                  </a:lnTo>
                  <a:lnTo>
                    <a:pt x="9690" y="47913"/>
                  </a:lnTo>
                  <a:lnTo>
                    <a:pt x="5525" y="62283"/>
                  </a:lnTo>
                  <a:lnTo>
                    <a:pt x="2488" y="77090"/>
                  </a:lnTo>
                  <a:lnTo>
                    <a:pt x="630" y="92286"/>
                  </a:lnTo>
                  <a:lnTo>
                    <a:pt x="0" y="107822"/>
                  </a:lnTo>
                  <a:lnTo>
                    <a:pt x="1141" y="28165"/>
                  </a:lnTo>
                  <a:lnTo>
                    <a:pt x="7907" y="1376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53" name="Google Shape;1853;p13"/>
            <p:cNvSpPr/>
            <p:nvPr/>
          </p:nvSpPr>
          <p:spPr>
            <a:xfrm>
              <a:off x="465894" y="6930670"/>
              <a:ext cx="394858" cy="394272"/>
            </a:xfrm>
            <a:custGeom>
              <a:avLst/>
              <a:gdLst/>
              <a:ahLst/>
              <a:cxnLst/>
              <a:rect l="l" t="t" r="r" b="b"/>
              <a:pathLst>
                <a:path w="394858" h="394272" extrusionOk="0">
                  <a:moveTo>
                    <a:pt x="654" y="180967"/>
                  </a:moveTo>
                  <a:lnTo>
                    <a:pt x="2584" y="165159"/>
                  </a:lnTo>
                  <a:lnTo>
                    <a:pt x="5737" y="149761"/>
                  </a:lnTo>
                  <a:lnTo>
                    <a:pt x="10065" y="134825"/>
                  </a:lnTo>
                  <a:lnTo>
                    <a:pt x="15514" y="120401"/>
                  </a:lnTo>
                  <a:lnTo>
                    <a:pt x="22036" y="106540"/>
                  </a:lnTo>
                  <a:lnTo>
                    <a:pt x="29579" y="93293"/>
                  </a:lnTo>
                  <a:lnTo>
                    <a:pt x="38092" y="80709"/>
                  </a:lnTo>
                  <a:lnTo>
                    <a:pt x="47524" y="68841"/>
                  </a:lnTo>
                  <a:lnTo>
                    <a:pt x="57825" y="57739"/>
                  </a:lnTo>
                  <a:lnTo>
                    <a:pt x="68944" y="47454"/>
                  </a:lnTo>
                  <a:lnTo>
                    <a:pt x="80830" y="38035"/>
                  </a:lnTo>
                  <a:lnTo>
                    <a:pt x="93431" y="29535"/>
                  </a:lnTo>
                  <a:lnTo>
                    <a:pt x="106699" y="22003"/>
                  </a:lnTo>
                  <a:lnTo>
                    <a:pt x="120580" y="15491"/>
                  </a:lnTo>
                  <a:lnTo>
                    <a:pt x="135026" y="10050"/>
                  </a:lnTo>
                  <a:lnTo>
                    <a:pt x="149984" y="5729"/>
                  </a:lnTo>
                  <a:lnTo>
                    <a:pt x="165405" y="2580"/>
                  </a:lnTo>
                  <a:lnTo>
                    <a:pt x="181236" y="653"/>
                  </a:lnTo>
                  <a:lnTo>
                    <a:pt x="197429" y="0"/>
                  </a:lnTo>
                  <a:lnTo>
                    <a:pt x="213621" y="653"/>
                  </a:lnTo>
                  <a:lnTo>
                    <a:pt x="229453" y="2580"/>
                  </a:lnTo>
                  <a:lnTo>
                    <a:pt x="244873" y="5729"/>
                  </a:lnTo>
                  <a:lnTo>
                    <a:pt x="259832" y="10050"/>
                  </a:lnTo>
                  <a:lnTo>
                    <a:pt x="274277" y="15491"/>
                  </a:lnTo>
                  <a:lnTo>
                    <a:pt x="288159" y="22003"/>
                  </a:lnTo>
                  <a:lnTo>
                    <a:pt x="301426" y="29535"/>
                  </a:lnTo>
                  <a:lnTo>
                    <a:pt x="314028" y="38035"/>
                  </a:lnTo>
                  <a:lnTo>
                    <a:pt x="325913" y="47454"/>
                  </a:lnTo>
                  <a:lnTo>
                    <a:pt x="337032" y="57739"/>
                  </a:lnTo>
                  <a:lnTo>
                    <a:pt x="347333" y="68842"/>
                  </a:lnTo>
                  <a:lnTo>
                    <a:pt x="356765" y="80710"/>
                  </a:lnTo>
                  <a:lnTo>
                    <a:pt x="365278" y="93293"/>
                  </a:lnTo>
                  <a:lnTo>
                    <a:pt x="372821" y="106540"/>
                  </a:lnTo>
                  <a:lnTo>
                    <a:pt x="379343" y="120401"/>
                  </a:lnTo>
                  <a:lnTo>
                    <a:pt x="384793" y="134825"/>
                  </a:lnTo>
                  <a:lnTo>
                    <a:pt x="389120" y="149761"/>
                  </a:lnTo>
                  <a:lnTo>
                    <a:pt x="392274" y="165159"/>
                  </a:lnTo>
                  <a:lnTo>
                    <a:pt x="394203" y="180967"/>
                  </a:lnTo>
                  <a:lnTo>
                    <a:pt x="394858" y="197136"/>
                  </a:lnTo>
                  <a:lnTo>
                    <a:pt x="394203" y="213304"/>
                  </a:lnTo>
                  <a:lnTo>
                    <a:pt x="392274" y="229112"/>
                  </a:lnTo>
                  <a:lnTo>
                    <a:pt x="389120" y="244510"/>
                  </a:lnTo>
                  <a:lnTo>
                    <a:pt x="384793" y="259446"/>
                  </a:lnTo>
                  <a:lnTo>
                    <a:pt x="379343" y="273870"/>
                  </a:lnTo>
                  <a:lnTo>
                    <a:pt x="372821" y="287731"/>
                  </a:lnTo>
                  <a:lnTo>
                    <a:pt x="365278" y="300979"/>
                  </a:lnTo>
                  <a:lnTo>
                    <a:pt x="356765" y="313562"/>
                  </a:lnTo>
                  <a:lnTo>
                    <a:pt x="347333" y="325430"/>
                  </a:lnTo>
                  <a:lnTo>
                    <a:pt x="337032" y="336532"/>
                  </a:lnTo>
                  <a:lnTo>
                    <a:pt x="325913" y="346818"/>
                  </a:lnTo>
                  <a:lnTo>
                    <a:pt x="314028" y="356236"/>
                  </a:lnTo>
                  <a:lnTo>
                    <a:pt x="301426" y="364737"/>
                  </a:lnTo>
                  <a:lnTo>
                    <a:pt x="288159" y="372268"/>
                  </a:lnTo>
                  <a:lnTo>
                    <a:pt x="274277" y="378780"/>
                  </a:lnTo>
                  <a:lnTo>
                    <a:pt x="259832" y="384222"/>
                  </a:lnTo>
                  <a:lnTo>
                    <a:pt x="244873" y="388543"/>
                  </a:lnTo>
                  <a:lnTo>
                    <a:pt x="229453" y="391692"/>
                  </a:lnTo>
                  <a:lnTo>
                    <a:pt x="213621" y="393619"/>
                  </a:lnTo>
                  <a:lnTo>
                    <a:pt x="197429" y="394272"/>
                  </a:lnTo>
                  <a:lnTo>
                    <a:pt x="181236" y="393619"/>
                  </a:lnTo>
                  <a:lnTo>
                    <a:pt x="165405" y="391692"/>
                  </a:lnTo>
                  <a:lnTo>
                    <a:pt x="149984" y="388543"/>
                  </a:lnTo>
                  <a:lnTo>
                    <a:pt x="135026" y="384222"/>
                  </a:lnTo>
                  <a:lnTo>
                    <a:pt x="120580" y="378780"/>
                  </a:lnTo>
                  <a:lnTo>
                    <a:pt x="106699" y="372268"/>
                  </a:lnTo>
                  <a:lnTo>
                    <a:pt x="93431" y="364737"/>
                  </a:lnTo>
                  <a:lnTo>
                    <a:pt x="80830" y="356236"/>
                  </a:lnTo>
                  <a:lnTo>
                    <a:pt x="68944" y="346818"/>
                  </a:lnTo>
                  <a:lnTo>
                    <a:pt x="57825" y="336532"/>
                  </a:lnTo>
                  <a:lnTo>
                    <a:pt x="47524" y="325430"/>
                  </a:lnTo>
                  <a:lnTo>
                    <a:pt x="38092" y="313562"/>
                  </a:lnTo>
                  <a:lnTo>
                    <a:pt x="29579" y="300979"/>
                  </a:lnTo>
                  <a:lnTo>
                    <a:pt x="22036" y="287731"/>
                  </a:lnTo>
                  <a:lnTo>
                    <a:pt x="15515" y="273870"/>
                  </a:lnTo>
                  <a:lnTo>
                    <a:pt x="10065" y="259446"/>
                  </a:lnTo>
                  <a:lnTo>
                    <a:pt x="5737" y="244510"/>
                  </a:lnTo>
                  <a:lnTo>
                    <a:pt x="2584" y="229113"/>
                  </a:lnTo>
                  <a:lnTo>
                    <a:pt x="654" y="213304"/>
                  </a:lnTo>
                  <a:lnTo>
                    <a:pt x="0" y="197136"/>
                  </a:lnTo>
                  <a:lnTo>
                    <a:pt x="654" y="180967"/>
                  </a:lnTo>
                  <a:close/>
                </a:path>
              </a:pathLst>
            </a:custGeom>
            <a:solidFill>
              <a:srgbClr val="CECFC8"/>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54" name="Google Shape;1854;p13"/>
            <p:cNvSpPr/>
            <p:nvPr/>
          </p:nvSpPr>
          <p:spPr>
            <a:xfrm>
              <a:off x="373784" y="6837540"/>
              <a:ext cx="578798" cy="581782"/>
            </a:xfrm>
            <a:custGeom>
              <a:avLst/>
              <a:gdLst/>
              <a:ahLst/>
              <a:cxnLst/>
              <a:rect l="l" t="t" r="r" b="b"/>
              <a:pathLst>
                <a:path w="578798" h="581782" extrusionOk="0">
                  <a:moveTo>
                    <a:pt x="312805" y="580950"/>
                  </a:moveTo>
                  <a:lnTo>
                    <a:pt x="335838" y="578244"/>
                  </a:lnTo>
                  <a:lnTo>
                    <a:pt x="358281" y="573741"/>
                  </a:lnTo>
                  <a:lnTo>
                    <a:pt x="380061" y="567517"/>
                  </a:lnTo>
                  <a:lnTo>
                    <a:pt x="401106" y="559648"/>
                  </a:lnTo>
                  <a:lnTo>
                    <a:pt x="421341" y="550210"/>
                  </a:lnTo>
                  <a:lnTo>
                    <a:pt x="440694" y="539279"/>
                  </a:lnTo>
                  <a:lnTo>
                    <a:pt x="459093" y="526931"/>
                  </a:lnTo>
                  <a:lnTo>
                    <a:pt x="476463" y="513243"/>
                  </a:lnTo>
                  <a:lnTo>
                    <a:pt x="492732" y="498289"/>
                  </a:lnTo>
                  <a:lnTo>
                    <a:pt x="507827" y="482148"/>
                  </a:lnTo>
                  <a:lnTo>
                    <a:pt x="521675" y="464893"/>
                  </a:lnTo>
                  <a:lnTo>
                    <a:pt x="534203" y="446602"/>
                  </a:lnTo>
                  <a:lnTo>
                    <a:pt x="545338" y="427351"/>
                  </a:lnTo>
                  <a:lnTo>
                    <a:pt x="555006" y="407215"/>
                  </a:lnTo>
                  <a:lnTo>
                    <a:pt x="563135" y="386271"/>
                  </a:lnTo>
                  <a:lnTo>
                    <a:pt x="569652" y="364595"/>
                  </a:lnTo>
                  <a:lnTo>
                    <a:pt x="574483" y="342262"/>
                  </a:lnTo>
                  <a:lnTo>
                    <a:pt x="577557" y="319350"/>
                  </a:lnTo>
                  <a:lnTo>
                    <a:pt x="578727" y="297270"/>
                  </a:lnTo>
                  <a:lnTo>
                    <a:pt x="578727" y="283601"/>
                  </a:lnTo>
                  <a:lnTo>
                    <a:pt x="577155" y="258101"/>
                  </a:lnTo>
                  <a:lnTo>
                    <a:pt x="573349" y="232358"/>
                  </a:lnTo>
                  <a:lnTo>
                    <a:pt x="567353" y="207471"/>
                  </a:lnTo>
                  <a:lnTo>
                    <a:pt x="559165" y="183453"/>
                  </a:lnTo>
                  <a:lnTo>
                    <a:pt x="548787" y="160315"/>
                  </a:lnTo>
                  <a:lnTo>
                    <a:pt x="536217" y="138070"/>
                  </a:lnTo>
                  <a:lnTo>
                    <a:pt x="521458" y="116731"/>
                  </a:lnTo>
                  <a:lnTo>
                    <a:pt x="504507" y="96309"/>
                  </a:lnTo>
                  <a:lnTo>
                    <a:pt x="489695" y="80985"/>
                  </a:lnTo>
                  <a:lnTo>
                    <a:pt x="469619" y="63122"/>
                  </a:lnTo>
                  <a:lnTo>
                    <a:pt x="448594" y="47465"/>
                  </a:lnTo>
                  <a:lnTo>
                    <a:pt x="426633" y="34023"/>
                  </a:lnTo>
                  <a:lnTo>
                    <a:pt x="403744" y="22801"/>
                  </a:lnTo>
                  <a:lnTo>
                    <a:pt x="379938" y="13809"/>
                  </a:lnTo>
                  <a:lnTo>
                    <a:pt x="355225" y="7053"/>
                  </a:lnTo>
                  <a:lnTo>
                    <a:pt x="329616" y="2542"/>
                  </a:lnTo>
                  <a:lnTo>
                    <a:pt x="303120" y="282"/>
                  </a:lnTo>
                  <a:lnTo>
                    <a:pt x="289542" y="0"/>
                  </a:lnTo>
                  <a:lnTo>
                    <a:pt x="288387" y="2"/>
                  </a:lnTo>
                  <a:lnTo>
                    <a:pt x="261590" y="1221"/>
                  </a:lnTo>
                  <a:lnTo>
                    <a:pt x="235619" y="4686"/>
                  </a:lnTo>
                  <a:lnTo>
                    <a:pt x="210496" y="10391"/>
                  </a:lnTo>
                  <a:lnTo>
                    <a:pt x="186244" y="18329"/>
                  </a:lnTo>
                  <a:lnTo>
                    <a:pt x="162884" y="28496"/>
                  </a:lnTo>
                  <a:lnTo>
                    <a:pt x="140438" y="40885"/>
                  </a:lnTo>
                  <a:lnTo>
                    <a:pt x="118930" y="55492"/>
                  </a:lnTo>
                  <a:lnTo>
                    <a:pt x="98380" y="72310"/>
                  </a:lnTo>
                  <a:lnTo>
                    <a:pt x="79986" y="90113"/>
                  </a:lnTo>
                  <a:lnTo>
                    <a:pt x="62381" y="110184"/>
                  </a:lnTo>
                  <a:lnTo>
                    <a:pt x="46955" y="131228"/>
                  </a:lnTo>
                  <a:lnTo>
                    <a:pt x="33712" y="153232"/>
                  </a:lnTo>
                  <a:lnTo>
                    <a:pt x="22655" y="176180"/>
                  </a:lnTo>
                  <a:lnTo>
                    <a:pt x="29523" y="180559"/>
                  </a:lnTo>
                  <a:lnTo>
                    <a:pt x="38901" y="160578"/>
                  </a:lnTo>
                  <a:lnTo>
                    <a:pt x="49740" y="141488"/>
                  </a:lnTo>
                  <a:lnTo>
                    <a:pt x="61964" y="123364"/>
                  </a:lnTo>
                  <a:lnTo>
                    <a:pt x="75498" y="106277"/>
                  </a:lnTo>
                  <a:lnTo>
                    <a:pt x="90266" y="90300"/>
                  </a:lnTo>
                  <a:lnTo>
                    <a:pt x="106194" y="75505"/>
                  </a:lnTo>
                  <a:lnTo>
                    <a:pt x="123205" y="61964"/>
                  </a:lnTo>
                  <a:lnTo>
                    <a:pt x="141224" y="49751"/>
                  </a:lnTo>
                  <a:lnTo>
                    <a:pt x="160176" y="38936"/>
                  </a:lnTo>
                  <a:lnTo>
                    <a:pt x="179985" y="29594"/>
                  </a:lnTo>
                  <a:lnTo>
                    <a:pt x="200577" y="21795"/>
                  </a:lnTo>
                  <a:lnTo>
                    <a:pt x="221875" y="15614"/>
                  </a:lnTo>
                  <a:lnTo>
                    <a:pt x="243804" y="11121"/>
                  </a:lnTo>
                  <a:lnTo>
                    <a:pt x="266290" y="8389"/>
                  </a:lnTo>
                  <a:lnTo>
                    <a:pt x="289255" y="7492"/>
                  </a:lnTo>
                  <a:lnTo>
                    <a:pt x="312254" y="8383"/>
                  </a:lnTo>
                  <a:lnTo>
                    <a:pt x="334753" y="11095"/>
                  </a:lnTo>
                  <a:lnTo>
                    <a:pt x="356680" y="15555"/>
                  </a:lnTo>
                  <a:lnTo>
                    <a:pt x="377963" y="21692"/>
                  </a:lnTo>
                  <a:lnTo>
                    <a:pt x="398529" y="29432"/>
                  </a:lnTo>
                  <a:lnTo>
                    <a:pt x="418306" y="38703"/>
                  </a:lnTo>
                  <a:lnTo>
                    <a:pt x="437220" y="49433"/>
                  </a:lnTo>
                  <a:lnTo>
                    <a:pt x="455200" y="61549"/>
                  </a:lnTo>
                  <a:lnTo>
                    <a:pt x="472172" y="74979"/>
                  </a:lnTo>
                  <a:lnTo>
                    <a:pt x="488065" y="89651"/>
                  </a:lnTo>
                  <a:lnTo>
                    <a:pt x="502804" y="105492"/>
                  </a:lnTo>
                  <a:lnTo>
                    <a:pt x="516319" y="122430"/>
                  </a:lnTo>
                  <a:lnTo>
                    <a:pt x="528536" y="140393"/>
                  </a:lnTo>
                  <a:lnTo>
                    <a:pt x="539382" y="159307"/>
                  </a:lnTo>
                  <a:lnTo>
                    <a:pt x="548786" y="179101"/>
                  </a:lnTo>
                  <a:lnTo>
                    <a:pt x="556673" y="199702"/>
                  </a:lnTo>
                  <a:lnTo>
                    <a:pt x="562973" y="221037"/>
                  </a:lnTo>
                  <a:lnTo>
                    <a:pt x="567612" y="243036"/>
                  </a:lnTo>
                  <a:lnTo>
                    <a:pt x="570518" y="265624"/>
                  </a:lnTo>
                  <a:lnTo>
                    <a:pt x="571617" y="288730"/>
                  </a:lnTo>
                  <a:lnTo>
                    <a:pt x="570838" y="312392"/>
                  </a:lnTo>
                  <a:lnTo>
                    <a:pt x="568207" y="335447"/>
                  </a:lnTo>
                  <a:lnTo>
                    <a:pt x="563806" y="357832"/>
                  </a:lnTo>
                  <a:lnTo>
                    <a:pt x="557714" y="379482"/>
                  </a:lnTo>
                  <a:lnTo>
                    <a:pt x="550011" y="400335"/>
                  </a:lnTo>
                  <a:lnTo>
                    <a:pt x="540776" y="420328"/>
                  </a:lnTo>
                  <a:lnTo>
                    <a:pt x="530088" y="439398"/>
                  </a:lnTo>
                  <a:lnTo>
                    <a:pt x="518029" y="457482"/>
                  </a:lnTo>
                  <a:lnTo>
                    <a:pt x="504676" y="474516"/>
                  </a:lnTo>
                  <a:lnTo>
                    <a:pt x="490111" y="490437"/>
                  </a:lnTo>
                  <a:lnTo>
                    <a:pt x="474413" y="505183"/>
                  </a:lnTo>
                  <a:lnTo>
                    <a:pt x="457661" y="518690"/>
                  </a:lnTo>
                  <a:lnTo>
                    <a:pt x="439936" y="530895"/>
                  </a:lnTo>
                  <a:lnTo>
                    <a:pt x="421316" y="541736"/>
                  </a:lnTo>
                  <a:lnTo>
                    <a:pt x="401882" y="551148"/>
                  </a:lnTo>
                  <a:lnTo>
                    <a:pt x="381714" y="559069"/>
                  </a:lnTo>
                  <a:lnTo>
                    <a:pt x="360890" y="565435"/>
                  </a:lnTo>
                  <a:lnTo>
                    <a:pt x="339491" y="570184"/>
                  </a:lnTo>
                  <a:lnTo>
                    <a:pt x="317597" y="573253"/>
                  </a:lnTo>
                  <a:lnTo>
                    <a:pt x="295287" y="574578"/>
                  </a:lnTo>
                  <a:lnTo>
                    <a:pt x="271578" y="574071"/>
                  </a:lnTo>
                  <a:lnTo>
                    <a:pt x="248411" y="571650"/>
                  </a:lnTo>
                  <a:lnTo>
                    <a:pt x="225860" y="567395"/>
                  </a:lnTo>
                  <a:lnTo>
                    <a:pt x="203996" y="561385"/>
                  </a:lnTo>
                  <a:lnTo>
                    <a:pt x="182894" y="553701"/>
                  </a:lnTo>
                  <a:lnTo>
                    <a:pt x="162625" y="544420"/>
                  </a:lnTo>
                  <a:lnTo>
                    <a:pt x="143263" y="533622"/>
                  </a:lnTo>
                  <a:lnTo>
                    <a:pt x="124880" y="521387"/>
                  </a:lnTo>
                  <a:lnTo>
                    <a:pt x="107549" y="507794"/>
                  </a:lnTo>
                  <a:lnTo>
                    <a:pt x="91343" y="492923"/>
                  </a:lnTo>
                  <a:lnTo>
                    <a:pt x="76336" y="476851"/>
                  </a:lnTo>
                  <a:lnTo>
                    <a:pt x="62598" y="459660"/>
                  </a:lnTo>
                  <a:lnTo>
                    <a:pt x="50204" y="441428"/>
                  </a:lnTo>
                  <a:lnTo>
                    <a:pt x="39227" y="422234"/>
                  </a:lnTo>
                  <a:lnTo>
                    <a:pt x="29738" y="402159"/>
                  </a:lnTo>
                  <a:lnTo>
                    <a:pt x="21812" y="381280"/>
                  </a:lnTo>
                  <a:lnTo>
                    <a:pt x="15520" y="359678"/>
                  </a:lnTo>
                  <a:lnTo>
                    <a:pt x="10936" y="337431"/>
                  </a:lnTo>
                  <a:lnTo>
                    <a:pt x="8132" y="314620"/>
                  </a:lnTo>
                  <a:lnTo>
                    <a:pt x="7181" y="291323"/>
                  </a:lnTo>
                  <a:lnTo>
                    <a:pt x="8125" y="267964"/>
                  </a:lnTo>
                  <a:lnTo>
                    <a:pt x="10170" y="212341"/>
                  </a:lnTo>
                  <a:lnTo>
                    <a:pt x="7104" y="224852"/>
                  </a:lnTo>
                  <a:lnTo>
                    <a:pt x="4586" y="237587"/>
                  </a:lnTo>
                  <a:lnTo>
                    <a:pt x="2616" y="250547"/>
                  </a:lnTo>
                  <a:lnTo>
                    <a:pt x="1195" y="263727"/>
                  </a:lnTo>
                  <a:lnTo>
                    <a:pt x="322" y="277128"/>
                  </a:lnTo>
                  <a:lnTo>
                    <a:pt x="0" y="290747"/>
                  </a:lnTo>
                  <a:lnTo>
                    <a:pt x="852" y="314710"/>
                  </a:lnTo>
                  <a:lnTo>
                    <a:pt x="3616" y="338139"/>
                  </a:lnTo>
                  <a:lnTo>
                    <a:pt x="8211" y="360957"/>
                  </a:lnTo>
                  <a:lnTo>
                    <a:pt x="14557" y="383090"/>
                  </a:lnTo>
                  <a:lnTo>
                    <a:pt x="22575" y="404459"/>
                  </a:lnTo>
                  <a:lnTo>
                    <a:pt x="32185" y="424991"/>
                  </a:lnTo>
                  <a:lnTo>
                    <a:pt x="43308" y="444607"/>
                  </a:lnTo>
                  <a:lnTo>
                    <a:pt x="55863" y="463233"/>
                  </a:lnTo>
                  <a:lnTo>
                    <a:pt x="69771" y="480793"/>
                  </a:lnTo>
                  <a:lnTo>
                    <a:pt x="84952" y="497209"/>
                  </a:lnTo>
                  <a:lnTo>
                    <a:pt x="101327" y="512406"/>
                  </a:lnTo>
                  <a:lnTo>
                    <a:pt x="118816" y="526309"/>
                  </a:lnTo>
                  <a:lnTo>
                    <a:pt x="137338" y="538841"/>
                  </a:lnTo>
                  <a:lnTo>
                    <a:pt x="156815" y="549925"/>
                  </a:lnTo>
                  <a:lnTo>
                    <a:pt x="177167" y="559486"/>
                  </a:lnTo>
                  <a:lnTo>
                    <a:pt x="198313" y="567448"/>
                  </a:lnTo>
                  <a:lnTo>
                    <a:pt x="220175" y="573735"/>
                  </a:lnTo>
                  <a:lnTo>
                    <a:pt x="242673" y="578270"/>
                  </a:lnTo>
                  <a:lnTo>
                    <a:pt x="265726" y="580978"/>
                  </a:lnTo>
                  <a:lnTo>
                    <a:pt x="287513" y="581723"/>
                  </a:lnTo>
                  <a:lnTo>
                    <a:pt x="290940" y="581723"/>
                  </a:lnTo>
                  <a:lnTo>
                    <a:pt x="312805" y="580950"/>
                  </a:lnTo>
                  <a:close/>
                </a:path>
                <a:path w="578798" h="581782" extrusionOk="0">
                  <a:moveTo>
                    <a:pt x="10906" y="245136"/>
                  </a:moveTo>
                  <a:lnTo>
                    <a:pt x="15450" y="222911"/>
                  </a:lnTo>
                  <a:lnTo>
                    <a:pt x="21681" y="201361"/>
                  </a:lnTo>
                  <a:lnTo>
                    <a:pt x="29523" y="180559"/>
                  </a:lnTo>
                  <a:lnTo>
                    <a:pt x="22655" y="176180"/>
                  </a:lnTo>
                  <a:lnTo>
                    <a:pt x="17946" y="188003"/>
                  </a:lnTo>
                  <a:lnTo>
                    <a:pt x="13784" y="200058"/>
                  </a:lnTo>
                  <a:lnTo>
                    <a:pt x="10170" y="212341"/>
                  </a:lnTo>
                  <a:lnTo>
                    <a:pt x="8125" y="267964"/>
                  </a:lnTo>
                  <a:lnTo>
                    <a:pt x="10906" y="24513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55" name="Google Shape;1855;p13"/>
            <p:cNvSpPr/>
            <p:nvPr/>
          </p:nvSpPr>
          <p:spPr>
            <a:xfrm>
              <a:off x="584244" y="6885923"/>
              <a:ext cx="13282" cy="27816"/>
            </a:xfrm>
            <a:custGeom>
              <a:avLst/>
              <a:gdLst/>
              <a:ahLst/>
              <a:cxnLst/>
              <a:rect l="l" t="t" r="r" b="b"/>
              <a:pathLst>
                <a:path w="13282" h="27816" extrusionOk="0">
                  <a:moveTo>
                    <a:pt x="7379" y="2367"/>
                  </a:moveTo>
                  <a:lnTo>
                    <a:pt x="8559" y="1479"/>
                  </a:lnTo>
                  <a:lnTo>
                    <a:pt x="11216" y="0"/>
                  </a:lnTo>
                  <a:lnTo>
                    <a:pt x="12101" y="295"/>
                  </a:lnTo>
                  <a:lnTo>
                    <a:pt x="12987" y="3255"/>
                  </a:lnTo>
                  <a:lnTo>
                    <a:pt x="13282" y="4734"/>
                  </a:lnTo>
                  <a:lnTo>
                    <a:pt x="12987" y="5622"/>
                  </a:lnTo>
                  <a:lnTo>
                    <a:pt x="11511" y="6214"/>
                  </a:lnTo>
                  <a:lnTo>
                    <a:pt x="8559" y="7398"/>
                  </a:lnTo>
                  <a:lnTo>
                    <a:pt x="7083" y="10061"/>
                  </a:lnTo>
                  <a:lnTo>
                    <a:pt x="7969" y="13612"/>
                  </a:lnTo>
                  <a:lnTo>
                    <a:pt x="8854" y="16867"/>
                  </a:lnTo>
                  <a:lnTo>
                    <a:pt x="10035" y="20418"/>
                  </a:lnTo>
                  <a:lnTo>
                    <a:pt x="11216" y="23969"/>
                  </a:lnTo>
                  <a:lnTo>
                    <a:pt x="11511" y="25449"/>
                  </a:lnTo>
                  <a:lnTo>
                    <a:pt x="11216" y="26337"/>
                  </a:lnTo>
                  <a:lnTo>
                    <a:pt x="9445" y="26633"/>
                  </a:lnTo>
                  <a:lnTo>
                    <a:pt x="7969" y="27225"/>
                  </a:lnTo>
                  <a:lnTo>
                    <a:pt x="6493" y="27816"/>
                  </a:lnTo>
                  <a:lnTo>
                    <a:pt x="5903" y="25449"/>
                  </a:lnTo>
                  <a:lnTo>
                    <a:pt x="4132" y="19235"/>
                  </a:lnTo>
                  <a:lnTo>
                    <a:pt x="2066" y="13020"/>
                  </a:lnTo>
                  <a:lnTo>
                    <a:pt x="295" y="6806"/>
                  </a:lnTo>
                  <a:lnTo>
                    <a:pt x="0" y="6214"/>
                  </a:lnTo>
                  <a:lnTo>
                    <a:pt x="295" y="4734"/>
                  </a:lnTo>
                  <a:lnTo>
                    <a:pt x="885" y="4438"/>
                  </a:lnTo>
                  <a:lnTo>
                    <a:pt x="2361" y="4142"/>
                  </a:lnTo>
                  <a:lnTo>
                    <a:pt x="5608" y="4142"/>
                  </a:lnTo>
                  <a:lnTo>
                    <a:pt x="6493" y="3255"/>
                  </a:lnTo>
                  <a:lnTo>
                    <a:pt x="7379" y="2367"/>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56" name="Google Shape;1856;p13"/>
            <p:cNvSpPr/>
            <p:nvPr/>
          </p:nvSpPr>
          <p:spPr>
            <a:xfrm>
              <a:off x="570946" y="7332195"/>
              <a:ext cx="32603" cy="37491"/>
            </a:xfrm>
            <a:custGeom>
              <a:avLst/>
              <a:gdLst/>
              <a:ahLst/>
              <a:cxnLst/>
              <a:rect l="l" t="t" r="r" b="b"/>
              <a:pathLst>
                <a:path w="32603" h="37491" extrusionOk="0">
                  <a:moveTo>
                    <a:pt x="12647" y="10172"/>
                  </a:moveTo>
                  <a:lnTo>
                    <a:pt x="9275" y="13369"/>
                  </a:lnTo>
                  <a:lnTo>
                    <a:pt x="7588" y="17728"/>
                  </a:lnTo>
                  <a:lnTo>
                    <a:pt x="7869" y="22378"/>
                  </a:lnTo>
                  <a:lnTo>
                    <a:pt x="8150" y="25866"/>
                  </a:lnTo>
                  <a:lnTo>
                    <a:pt x="10118" y="28191"/>
                  </a:lnTo>
                  <a:lnTo>
                    <a:pt x="13490" y="29354"/>
                  </a:lnTo>
                  <a:lnTo>
                    <a:pt x="16301" y="30226"/>
                  </a:lnTo>
                  <a:lnTo>
                    <a:pt x="19112" y="29354"/>
                  </a:lnTo>
                  <a:lnTo>
                    <a:pt x="21079" y="26738"/>
                  </a:lnTo>
                  <a:lnTo>
                    <a:pt x="22484" y="24994"/>
                  </a:lnTo>
                  <a:lnTo>
                    <a:pt x="27825" y="25866"/>
                  </a:lnTo>
                  <a:lnTo>
                    <a:pt x="28387" y="27900"/>
                  </a:lnTo>
                  <a:lnTo>
                    <a:pt x="28668" y="28482"/>
                  </a:lnTo>
                  <a:lnTo>
                    <a:pt x="28387" y="29644"/>
                  </a:lnTo>
                  <a:lnTo>
                    <a:pt x="27825" y="30516"/>
                  </a:lnTo>
                  <a:lnTo>
                    <a:pt x="25014" y="34876"/>
                  </a:lnTo>
                  <a:lnTo>
                    <a:pt x="20798" y="37491"/>
                  </a:lnTo>
                  <a:lnTo>
                    <a:pt x="15458" y="36910"/>
                  </a:lnTo>
                  <a:lnTo>
                    <a:pt x="9275" y="36038"/>
                  </a:lnTo>
                  <a:lnTo>
                    <a:pt x="4215" y="33132"/>
                  </a:lnTo>
                  <a:lnTo>
                    <a:pt x="1405" y="27029"/>
                  </a:lnTo>
                  <a:lnTo>
                    <a:pt x="562" y="24994"/>
                  </a:lnTo>
                  <a:lnTo>
                    <a:pt x="562" y="22669"/>
                  </a:lnTo>
                  <a:lnTo>
                    <a:pt x="0" y="21216"/>
                  </a:lnTo>
                  <a:lnTo>
                    <a:pt x="843" y="13659"/>
                  </a:lnTo>
                  <a:lnTo>
                    <a:pt x="2810" y="7556"/>
                  </a:lnTo>
                  <a:lnTo>
                    <a:pt x="8712" y="3487"/>
                  </a:lnTo>
                  <a:lnTo>
                    <a:pt x="14053" y="0"/>
                  </a:lnTo>
                  <a:lnTo>
                    <a:pt x="19674" y="290"/>
                  </a:lnTo>
                  <a:lnTo>
                    <a:pt x="25014" y="3196"/>
                  </a:lnTo>
                  <a:lnTo>
                    <a:pt x="30073" y="5812"/>
                  </a:lnTo>
                  <a:lnTo>
                    <a:pt x="32603" y="9881"/>
                  </a:lnTo>
                  <a:lnTo>
                    <a:pt x="32603" y="19181"/>
                  </a:lnTo>
                  <a:lnTo>
                    <a:pt x="32041" y="19472"/>
                  </a:lnTo>
                  <a:lnTo>
                    <a:pt x="28949" y="18310"/>
                  </a:lnTo>
                  <a:lnTo>
                    <a:pt x="26419" y="17438"/>
                  </a:lnTo>
                  <a:lnTo>
                    <a:pt x="25295" y="16275"/>
                  </a:lnTo>
                  <a:lnTo>
                    <a:pt x="24733" y="13659"/>
                  </a:lnTo>
                  <a:lnTo>
                    <a:pt x="23890" y="8137"/>
                  </a:lnTo>
                  <a:lnTo>
                    <a:pt x="16582" y="6103"/>
                  </a:lnTo>
                  <a:lnTo>
                    <a:pt x="12647" y="1017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57" name="Google Shape;1857;p13"/>
            <p:cNvSpPr/>
            <p:nvPr/>
          </p:nvSpPr>
          <p:spPr>
            <a:xfrm>
              <a:off x="746202" y="7330972"/>
              <a:ext cx="5515" cy="16751"/>
            </a:xfrm>
            <a:custGeom>
              <a:avLst/>
              <a:gdLst/>
              <a:ahLst/>
              <a:cxnLst/>
              <a:rect l="l" t="t" r="r" b="b"/>
              <a:pathLst>
                <a:path w="5515" h="16751" extrusionOk="0">
                  <a:moveTo>
                    <a:pt x="290" y="1444"/>
                  </a:moveTo>
                  <a:lnTo>
                    <a:pt x="2612" y="866"/>
                  </a:lnTo>
                  <a:lnTo>
                    <a:pt x="3483" y="577"/>
                  </a:lnTo>
                  <a:lnTo>
                    <a:pt x="4354" y="0"/>
                  </a:lnTo>
                  <a:lnTo>
                    <a:pt x="5515" y="16751"/>
                  </a:lnTo>
                  <a:lnTo>
                    <a:pt x="2322" y="16751"/>
                  </a:lnTo>
                  <a:lnTo>
                    <a:pt x="1161" y="12130"/>
                  </a:lnTo>
                  <a:lnTo>
                    <a:pt x="3773" y="11841"/>
                  </a:lnTo>
                  <a:lnTo>
                    <a:pt x="2902" y="9530"/>
                  </a:lnTo>
                  <a:lnTo>
                    <a:pt x="2031" y="6931"/>
                  </a:lnTo>
                  <a:lnTo>
                    <a:pt x="870" y="4620"/>
                  </a:lnTo>
                  <a:lnTo>
                    <a:pt x="0" y="2888"/>
                  </a:lnTo>
                  <a:lnTo>
                    <a:pt x="290" y="144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58" name="Google Shape;1858;p13"/>
            <p:cNvSpPr/>
            <p:nvPr/>
          </p:nvSpPr>
          <p:spPr>
            <a:xfrm>
              <a:off x="735172" y="7330972"/>
              <a:ext cx="30187" cy="38700"/>
            </a:xfrm>
            <a:custGeom>
              <a:avLst/>
              <a:gdLst/>
              <a:ahLst/>
              <a:cxnLst/>
              <a:rect l="l" t="t" r="r" b="b"/>
              <a:pathLst>
                <a:path w="30187" h="38700" extrusionOk="0">
                  <a:moveTo>
                    <a:pt x="15384" y="0"/>
                  </a:moveTo>
                  <a:lnTo>
                    <a:pt x="16835" y="0"/>
                  </a:lnTo>
                  <a:lnTo>
                    <a:pt x="18286" y="577"/>
                  </a:lnTo>
                  <a:lnTo>
                    <a:pt x="18577" y="1155"/>
                  </a:lnTo>
                  <a:lnTo>
                    <a:pt x="23330" y="12872"/>
                  </a:lnTo>
                  <a:lnTo>
                    <a:pt x="27953" y="24719"/>
                  </a:lnTo>
                  <a:lnTo>
                    <a:pt x="29607" y="29169"/>
                  </a:lnTo>
                  <a:lnTo>
                    <a:pt x="30187" y="30614"/>
                  </a:lnTo>
                  <a:lnTo>
                    <a:pt x="29897" y="31480"/>
                  </a:lnTo>
                  <a:lnTo>
                    <a:pt x="28446" y="31769"/>
                  </a:lnTo>
                  <a:lnTo>
                    <a:pt x="26704" y="32058"/>
                  </a:lnTo>
                  <a:lnTo>
                    <a:pt x="24962" y="32346"/>
                  </a:lnTo>
                  <a:lnTo>
                    <a:pt x="23221" y="32635"/>
                  </a:lnTo>
                  <a:lnTo>
                    <a:pt x="22931" y="32924"/>
                  </a:lnTo>
                  <a:lnTo>
                    <a:pt x="22350" y="32924"/>
                  </a:lnTo>
                  <a:lnTo>
                    <a:pt x="22060" y="33213"/>
                  </a:lnTo>
                  <a:lnTo>
                    <a:pt x="18867" y="36967"/>
                  </a:lnTo>
                  <a:lnTo>
                    <a:pt x="15093" y="38700"/>
                  </a:lnTo>
                  <a:lnTo>
                    <a:pt x="10159" y="36967"/>
                  </a:lnTo>
                  <a:lnTo>
                    <a:pt x="4934" y="35235"/>
                  </a:lnTo>
                  <a:lnTo>
                    <a:pt x="2322" y="30902"/>
                  </a:lnTo>
                  <a:lnTo>
                    <a:pt x="1451" y="25704"/>
                  </a:lnTo>
                  <a:lnTo>
                    <a:pt x="0" y="19639"/>
                  </a:lnTo>
                  <a:lnTo>
                    <a:pt x="2612" y="14151"/>
                  </a:lnTo>
                  <a:lnTo>
                    <a:pt x="7546" y="12707"/>
                  </a:lnTo>
                  <a:lnTo>
                    <a:pt x="9869" y="11841"/>
                  </a:lnTo>
                  <a:lnTo>
                    <a:pt x="12191" y="12130"/>
                  </a:lnTo>
                  <a:lnTo>
                    <a:pt x="13352" y="16751"/>
                  </a:lnTo>
                  <a:lnTo>
                    <a:pt x="10449" y="16751"/>
                  </a:lnTo>
                  <a:lnTo>
                    <a:pt x="8417" y="19061"/>
                  </a:lnTo>
                  <a:lnTo>
                    <a:pt x="8417" y="27148"/>
                  </a:lnTo>
                  <a:lnTo>
                    <a:pt x="11900" y="31191"/>
                  </a:lnTo>
                  <a:lnTo>
                    <a:pt x="18286" y="31191"/>
                  </a:lnTo>
                  <a:lnTo>
                    <a:pt x="20028" y="28881"/>
                  </a:lnTo>
                  <a:lnTo>
                    <a:pt x="20028" y="21660"/>
                  </a:lnTo>
                  <a:lnTo>
                    <a:pt x="16545" y="16751"/>
                  </a:lnTo>
                  <a:lnTo>
                    <a:pt x="15384" y="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59" name="Google Shape;1859;p13"/>
            <p:cNvSpPr/>
            <p:nvPr/>
          </p:nvSpPr>
          <p:spPr>
            <a:xfrm>
              <a:off x="711026" y="7349116"/>
              <a:ext cx="26564" cy="27816"/>
            </a:xfrm>
            <a:custGeom>
              <a:avLst/>
              <a:gdLst/>
              <a:ahLst/>
              <a:cxnLst/>
              <a:rect l="l" t="t" r="r" b="b"/>
              <a:pathLst>
                <a:path w="26564" h="27816" extrusionOk="0">
                  <a:moveTo>
                    <a:pt x="8854" y="16919"/>
                  </a:moveTo>
                  <a:lnTo>
                    <a:pt x="11140" y="21794"/>
                  </a:lnTo>
                  <a:lnTo>
                    <a:pt x="15710" y="22367"/>
                  </a:lnTo>
                  <a:lnTo>
                    <a:pt x="18566" y="18353"/>
                  </a:lnTo>
                  <a:lnTo>
                    <a:pt x="19995" y="16632"/>
                  </a:lnTo>
                  <a:lnTo>
                    <a:pt x="21708" y="16058"/>
                  </a:lnTo>
                  <a:lnTo>
                    <a:pt x="23422" y="15485"/>
                  </a:lnTo>
                  <a:lnTo>
                    <a:pt x="25136" y="15198"/>
                  </a:lnTo>
                  <a:lnTo>
                    <a:pt x="25993" y="16058"/>
                  </a:lnTo>
                  <a:lnTo>
                    <a:pt x="25422" y="17492"/>
                  </a:lnTo>
                  <a:lnTo>
                    <a:pt x="24279" y="19500"/>
                  </a:lnTo>
                  <a:lnTo>
                    <a:pt x="23422" y="22080"/>
                  </a:lnTo>
                  <a:lnTo>
                    <a:pt x="21708" y="23514"/>
                  </a:lnTo>
                  <a:lnTo>
                    <a:pt x="17995" y="27242"/>
                  </a:lnTo>
                  <a:lnTo>
                    <a:pt x="11140" y="27816"/>
                  </a:lnTo>
                  <a:lnTo>
                    <a:pt x="7141" y="25522"/>
                  </a:lnTo>
                  <a:lnTo>
                    <a:pt x="2856" y="22941"/>
                  </a:lnTo>
                  <a:lnTo>
                    <a:pt x="0" y="16632"/>
                  </a:lnTo>
                  <a:lnTo>
                    <a:pt x="856" y="11183"/>
                  </a:lnTo>
                  <a:lnTo>
                    <a:pt x="1713" y="6308"/>
                  </a:lnTo>
                  <a:lnTo>
                    <a:pt x="4570" y="2867"/>
                  </a:lnTo>
                  <a:lnTo>
                    <a:pt x="7426" y="9176"/>
                  </a:lnTo>
                  <a:lnTo>
                    <a:pt x="7998" y="12044"/>
                  </a:lnTo>
                  <a:lnTo>
                    <a:pt x="10854" y="11470"/>
                  </a:lnTo>
                  <a:lnTo>
                    <a:pt x="13425" y="10610"/>
                  </a:lnTo>
                  <a:lnTo>
                    <a:pt x="16567" y="9749"/>
                  </a:lnTo>
                  <a:lnTo>
                    <a:pt x="15139" y="6882"/>
                  </a:lnTo>
                  <a:lnTo>
                    <a:pt x="13710" y="6022"/>
                  </a:lnTo>
                  <a:lnTo>
                    <a:pt x="13996" y="0"/>
                  </a:lnTo>
                  <a:lnTo>
                    <a:pt x="18281" y="860"/>
                  </a:lnTo>
                  <a:lnTo>
                    <a:pt x="21708" y="4588"/>
                  </a:lnTo>
                  <a:lnTo>
                    <a:pt x="21994" y="4875"/>
                  </a:lnTo>
                  <a:lnTo>
                    <a:pt x="22280" y="5161"/>
                  </a:lnTo>
                  <a:lnTo>
                    <a:pt x="22565" y="5735"/>
                  </a:lnTo>
                  <a:lnTo>
                    <a:pt x="26564" y="11757"/>
                  </a:lnTo>
                  <a:lnTo>
                    <a:pt x="25993" y="12617"/>
                  </a:lnTo>
                  <a:lnTo>
                    <a:pt x="19423" y="14338"/>
                  </a:lnTo>
                  <a:lnTo>
                    <a:pt x="15996" y="15198"/>
                  </a:lnTo>
                  <a:lnTo>
                    <a:pt x="12568" y="16058"/>
                  </a:lnTo>
                  <a:lnTo>
                    <a:pt x="8854" y="16919"/>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0" name="Google Shape;1860;p13"/>
            <p:cNvSpPr/>
            <p:nvPr/>
          </p:nvSpPr>
          <p:spPr>
            <a:xfrm>
              <a:off x="715597" y="7349116"/>
              <a:ext cx="9426" cy="9176"/>
            </a:xfrm>
            <a:custGeom>
              <a:avLst/>
              <a:gdLst/>
              <a:ahLst/>
              <a:cxnLst/>
              <a:rect l="l" t="t" r="r" b="b"/>
              <a:pathLst>
                <a:path w="9426" h="9176" extrusionOk="0">
                  <a:moveTo>
                    <a:pt x="6855" y="6595"/>
                  </a:moveTo>
                  <a:lnTo>
                    <a:pt x="4284" y="7455"/>
                  </a:lnTo>
                  <a:lnTo>
                    <a:pt x="2856" y="9176"/>
                  </a:lnTo>
                  <a:lnTo>
                    <a:pt x="0" y="2867"/>
                  </a:lnTo>
                  <a:lnTo>
                    <a:pt x="4855" y="1433"/>
                  </a:lnTo>
                  <a:lnTo>
                    <a:pt x="9426" y="0"/>
                  </a:lnTo>
                  <a:lnTo>
                    <a:pt x="9140" y="6022"/>
                  </a:lnTo>
                  <a:lnTo>
                    <a:pt x="6855" y="659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1" name="Google Shape;1861;p13"/>
            <p:cNvSpPr/>
            <p:nvPr/>
          </p:nvSpPr>
          <p:spPr>
            <a:xfrm>
              <a:off x="602348" y="7350335"/>
              <a:ext cx="25357" cy="29026"/>
            </a:xfrm>
            <a:custGeom>
              <a:avLst/>
              <a:gdLst/>
              <a:ahLst/>
              <a:cxnLst/>
              <a:rect l="l" t="t" r="r" b="b"/>
              <a:pathLst>
                <a:path w="25357" h="29026" extrusionOk="0">
                  <a:moveTo>
                    <a:pt x="20229" y="27248"/>
                  </a:moveTo>
                  <a:lnTo>
                    <a:pt x="14245" y="29026"/>
                  </a:lnTo>
                  <a:lnTo>
                    <a:pt x="7692" y="26656"/>
                  </a:lnTo>
                  <a:lnTo>
                    <a:pt x="2849" y="24583"/>
                  </a:lnTo>
                  <a:lnTo>
                    <a:pt x="0" y="20140"/>
                  </a:lnTo>
                  <a:lnTo>
                    <a:pt x="569" y="14216"/>
                  </a:lnTo>
                  <a:lnTo>
                    <a:pt x="854" y="7404"/>
                  </a:lnTo>
                  <a:lnTo>
                    <a:pt x="4273" y="2665"/>
                  </a:lnTo>
                  <a:lnTo>
                    <a:pt x="9972" y="1184"/>
                  </a:lnTo>
                  <a:lnTo>
                    <a:pt x="15100" y="0"/>
                  </a:lnTo>
                  <a:lnTo>
                    <a:pt x="20798" y="2073"/>
                  </a:lnTo>
                  <a:lnTo>
                    <a:pt x="23363" y="6516"/>
                  </a:lnTo>
                  <a:lnTo>
                    <a:pt x="25357" y="9774"/>
                  </a:lnTo>
                  <a:lnTo>
                    <a:pt x="25072" y="13328"/>
                  </a:lnTo>
                  <a:lnTo>
                    <a:pt x="24502" y="16882"/>
                  </a:lnTo>
                  <a:lnTo>
                    <a:pt x="24502" y="18659"/>
                  </a:lnTo>
                  <a:lnTo>
                    <a:pt x="23363" y="18955"/>
                  </a:lnTo>
                  <a:lnTo>
                    <a:pt x="21653" y="18659"/>
                  </a:lnTo>
                  <a:lnTo>
                    <a:pt x="17949" y="17474"/>
                  </a:lnTo>
                  <a:lnTo>
                    <a:pt x="17949" y="10070"/>
                  </a:lnTo>
                  <a:lnTo>
                    <a:pt x="16525" y="8885"/>
                  </a:lnTo>
                  <a:lnTo>
                    <a:pt x="15100" y="7108"/>
                  </a:lnTo>
                  <a:lnTo>
                    <a:pt x="13391" y="6812"/>
                  </a:lnTo>
                  <a:lnTo>
                    <a:pt x="11681" y="6219"/>
                  </a:lnTo>
                  <a:lnTo>
                    <a:pt x="9687" y="7404"/>
                  </a:lnTo>
                  <a:lnTo>
                    <a:pt x="9117" y="10070"/>
                  </a:lnTo>
                  <a:lnTo>
                    <a:pt x="11681" y="10662"/>
                  </a:lnTo>
                  <a:lnTo>
                    <a:pt x="13960" y="16586"/>
                  </a:lnTo>
                  <a:lnTo>
                    <a:pt x="9972" y="15697"/>
                  </a:lnTo>
                  <a:lnTo>
                    <a:pt x="9402" y="15401"/>
                  </a:lnTo>
                  <a:lnTo>
                    <a:pt x="7977" y="15401"/>
                  </a:lnTo>
                  <a:lnTo>
                    <a:pt x="7692" y="15993"/>
                  </a:lnTo>
                  <a:lnTo>
                    <a:pt x="7407" y="16586"/>
                  </a:lnTo>
                  <a:lnTo>
                    <a:pt x="7407" y="17771"/>
                  </a:lnTo>
                  <a:lnTo>
                    <a:pt x="7692" y="18659"/>
                  </a:lnTo>
                  <a:lnTo>
                    <a:pt x="8832" y="21325"/>
                  </a:lnTo>
                  <a:lnTo>
                    <a:pt x="12536" y="22806"/>
                  </a:lnTo>
                  <a:lnTo>
                    <a:pt x="15385" y="21029"/>
                  </a:lnTo>
                  <a:lnTo>
                    <a:pt x="17949" y="19548"/>
                  </a:lnTo>
                  <a:lnTo>
                    <a:pt x="20229" y="20436"/>
                  </a:lnTo>
                  <a:lnTo>
                    <a:pt x="22793" y="21621"/>
                  </a:lnTo>
                  <a:lnTo>
                    <a:pt x="20229" y="27248"/>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2" name="Google Shape;1862;p13"/>
            <p:cNvSpPr/>
            <p:nvPr/>
          </p:nvSpPr>
          <p:spPr>
            <a:xfrm>
              <a:off x="614030" y="7360405"/>
              <a:ext cx="6268" cy="7404"/>
            </a:xfrm>
            <a:custGeom>
              <a:avLst/>
              <a:gdLst/>
              <a:ahLst/>
              <a:cxnLst/>
              <a:rect l="l" t="t" r="r" b="b"/>
              <a:pathLst>
                <a:path w="6268" h="7404" extrusionOk="0">
                  <a:moveTo>
                    <a:pt x="6268" y="7404"/>
                  </a:moveTo>
                  <a:lnTo>
                    <a:pt x="2279" y="6516"/>
                  </a:lnTo>
                  <a:lnTo>
                    <a:pt x="0" y="592"/>
                  </a:lnTo>
                  <a:lnTo>
                    <a:pt x="2279" y="1480"/>
                  </a:lnTo>
                  <a:lnTo>
                    <a:pt x="4843" y="1777"/>
                  </a:lnTo>
                  <a:lnTo>
                    <a:pt x="5128" y="1777"/>
                  </a:lnTo>
                  <a:lnTo>
                    <a:pt x="5698" y="592"/>
                  </a:lnTo>
                  <a:lnTo>
                    <a:pt x="6268" y="0"/>
                  </a:lnTo>
                  <a:lnTo>
                    <a:pt x="6268" y="740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3" name="Google Shape;1863;p13"/>
            <p:cNvSpPr/>
            <p:nvPr/>
          </p:nvSpPr>
          <p:spPr>
            <a:xfrm>
              <a:off x="679636" y="7346700"/>
              <a:ext cx="15697" cy="36282"/>
            </a:xfrm>
            <a:custGeom>
              <a:avLst/>
              <a:gdLst/>
              <a:ahLst/>
              <a:cxnLst/>
              <a:rect l="l" t="t" r="r" b="b"/>
              <a:pathLst>
                <a:path w="15697" h="36282" extrusionOk="0">
                  <a:moveTo>
                    <a:pt x="13984" y="6335"/>
                  </a:moveTo>
                  <a:lnTo>
                    <a:pt x="13414" y="6622"/>
                  </a:lnTo>
                  <a:lnTo>
                    <a:pt x="12843" y="7198"/>
                  </a:lnTo>
                  <a:lnTo>
                    <a:pt x="11986" y="7198"/>
                  </a:lnTo>
                  <a:lnTo>
                    <a:pt x="11416" y="7486"/>
                  </a:lnTo>
                  <a:lnTo>
                    <a:pt x="10845" y="8062"/>
                  </a:lnTo>
                  <a:lnTo>
                    <a:pt x="10559" y="8926"/>
                  </a:lnTo>
                  <a:lnTo>
                    <a:pt x="10845" y="9502"/>
                  </a:lnTo>
                  <a:lnTo>
                    <a:pt x="10845" y="9790"/>
                  </a:lnTo>
                  <a:lnTo>
                    <a:pt x="11701" y="10366"/>
                  </a:lnTo>
                  <a:lnTo>
                    <a:pt x="12272" y="10366"/>
                  </a:lnTo>
                  <a:lnTo>
                    <a:pt x="13699" y="10654"/>
                  </a:lnTo>
                  <a:lnTo>
                    <a:pt x="15126" y="9790"/>
                  </a:lnTo>
                  <a:lnTo>
                    <a:pt x="15411" y="12094"/>
                  </a:lnTo>
                  <a:lnTo>
                    <a:pt x="15697" y="14109"/>
                  </a:lnTo>
                  <a:lnTo>
                    <a:pt x="15126" y="15261"/>
                  </a:lnTo>
                  <a:lnTo>
                    <a:pt x="12843" y="15837"/>
                  </a:lnTo>
                  <a:lnTo>
                    <a:pt x="12272" y="15837"/>
                  </a:lnTo>
                  <a:lnTo>
                    <a:pt x="11416" y="16989"/>
                  </a:lnTo>
                  <a:lnTo>
                    <a:pt x="11416" y="17853"/>
                  </a:lnTo>
                  <a:lnTo>
                    <a:pt x="11701" y="22172"/>
                  </a:lnTo>
                  <a:lnTo>
                    <a:pt x="11986" y="26491"/>
                  </a:lnTo>
                  <a:lnTo>
                    <a:pt x="12557" y="30811"/>
                  </a:lnTo>
                  <a:lnTo>
                    <a:pt x="13128" y="34842"/>
                  </a:lnTo>
                  <a:lnTo>
                    <a:pt x="12843" y="35418"/>
                  </a:lnTo>
                  <a:lnTo>
                    <a:pt x="8562" y="35706"/>
                  </a:lnTo>
                  <a:lnTo>
                    <a:pt x="6278" y="36282"/>
                  </a:lnTo>
                  <a:lnTo>
                    <a:pt x="5422" y="35130"/>
                  </a:lnTo>
                  <a:lnTo>
                    <a:pt x="5422" y="32538"/>
                  </a:lnTo>
                  <a:lnTo>
                    <a:pt x="5137" y="28219"/>
                  </a:lnTo>
                  <a:lnTo>
                    <a:pt x="4851" y="23900"/>
                  </a:lnTo>
                  <a:lnTo>
                    <a:pt x="4281" y="19292"/>
                  </a:lnTo>
                  <a:lnTo>
                    <a:pt x="4281" y="17853"/>
                  </a:lnTo>
                  <a:lnTo>
                    <a:pt x="3995" y="16125"/>
                  </a:lnTo>
                  <a:lnTo>
                    <a:pt x="1427" y="16413"/>
                  </a:lnTo>
                  <a:lnTo>
                    <a:pt x="1141" y="16413"/>
                  </a:lnTo>
                  <a:lnTo>
                    <a:pt x="0" y="14973"/>
                  </a:lnTo>
                  <a:lnTo>
                    <a:pt x="0" y="13533"/>
                  </a:lnTo>
                  <a:lnTo>
                    <a:pt x="570" y="11806"/>
                  </a:lnTo>
                  <a:lnTo>
                    <a:pt x="1141" y="11806"/>
                  </a:lnTo>
                  <a:lnTo>
                    <a:pt x="2854" y="11230"/>
                  </a:lnTo>
                  <a:lnTo>
                    <a:pt x="3139" y="10078"/>
                  </a:lnTo>
                  <a:lnTo>
                    <a:pt x="3424" y="8350"/>
                  </a:lnTo>
                  <a:lnTo>
                    <a:pt x="3995" y="3455"/>
                  </a:lnTo>
                  <a:lnTo>
                    <a:pt x="8847" y="0"/>
                  </a:lnTo>
                  <a:lnTo>
                    <a:pt x="13128" y="1439"/>
                  </a:lnTo>
                  <a:lnTo>
                    <a:pt x="13984" y="1727"/>
                  </a:lnTo>
                  <a:lnTo>
                    <a:pt x="14555" y="3743"/>
                  </a:lnTo>
                  <a:lnTo>
                    <a:pt x="14841" y="4895"/>
                  </a:lnTo>
                  <a:lnTo>
                    <a:pt x="15126" y="5471"/>
                  </a:lnTo>
                  <a:lnTo>
                    <a:pt x="13984" y="633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4" name="Google Shape;1864;p13"/>
            <p:cNvSpPr/>
            <p:nvPr/>
          </p:nvSpPr>
          <p:spPr>
            <a:xfrm>
              <a:off x="649439" y="7350331"/>
              <a:ext cx="16905" cy="32654"/>
            </a:xfrm>
            <a:custGeom>
              <a:avLst/>
              <a:gdLst/>
              <a:ahLst/>
              <a:cxnLst/>
              <a:rect l="l" t="t" r="r" b="b"/>
              <a:pathLst>
                <a:path w="16905" h="32654" extrusionOk="0">
                  <a:moveTo>
                    <a:pt x="14864" y="12536"/>
                  </a:moveTo>
                  <a:lnTo>
                    <a:pt x="14281" y="12536"/>
                  </a:lnTo>
                  <a:lnTo>
                    <a:pt x="11658" y="12245"/>
                  </a:lnTo>
                  <a:lnTo>
                    <a:pt x="11075" y="13702"/>
                  </a:lnTo>
                  <a:lnTo>
                    <a:pt x="11075" y="18367"/>
                  </a:lnTo>
                  <a:lnTo>
                    <a:pt x="10784" y="20991"/>
                  </a:lnTo>
                  <a:lnTo>
                    <a:pt x="10784" y="23324"/>
                  </a:lnTo>
                  <a:lnTo>
                    <a:pt x="10492" y="25656"/>
                  </a:lnTo>
                  <a:lnTo>
                    <a:pt x="11075" y="26822"/>
                  </a:lnTo>
                  <a:lnTo>
                    <a:pt x="13407" y="27114"/>
                  </a:lnTo>
                  <a:lnTo>
                    <a:pt x="14281" y="27406"/>
                  </a:lnTo>
                  <a:lnTo>
                    <a:pt x="15447" y="28572"/>
                  </a:lnTo>
                  <a:lnTo>
                    <a:pt x="15447" y="29446"/>
                  </a:lnTo>
                  <a:lnTo>
                    <a:pt x="15739" y="30904"/>
                  </a:lnTo>
                  <a:lnTo>
                    <a:pt x="15447" y="32362"/>
                  </a:lnTo>
                  <a:lnTo>
                    <a:pt x="13407" y="32654"/>
                  </a:lnTo>
                  <a:lnTo>
                    <a:pt x="4954" y="32654"/>
                  </a:lnTo>
                  <a:lnTo>
                    <a:pt x="3206" y="30613"/>
                  </a:lnTo>
                  <a:lnTo>
                    <a:pt x="3789" y="25365"/>
                  </a:lnTo>
                  <a:lnTo>
                    <a:pt x="3789" y="13411"/>
                  </a:lnTo>
                  <a:lnTo>
                    <a:pt x="3497" y="12245"/>
                  </a:lnTo>
                  <a:lnTo>
                    <a:pt x="1748" y="11953"/>
                  </a:lnTo>
                  <a:lnTo>
                    <a:pt x="874" y="11662"/>
                  </a:lnTo>
                  <a:lnTo>
                    <a:pt x="0" y="10495"/>
                  </a:lnTo>
                  <a:lnTo>
                    <a:pt x="0" y="8746"/>
                  </a:lnTo>
                  <a:lnTo>
                    <a:pt x="874" y="7288"/>
                  </a:lnTo>
                  <a:lnTo>
                    <a:pt x="1457" y="7288"/>
                  </a:lnTo>
                  <a:lnTo>
                    <a:pt x="4371" y="6997"/>
                  </a:lnTo>
                  <a:lnTo>
                    <a:pt x="4371" y="2040"/>
                  </a:lnTo>
                  <a:lnTo>
                    <a:pt x="3789" y="0"/>
                  </a:lnTo>
                  <a:lnTo>
                    <a:pt x="6412" y="0"/>
                  </a:lnTo>
                  <a:lnTo>
                    <a:pt x="11367" y="291"/>
                  </a:lnTo>
                  <a:lnTo>
                    <a:pt x="11658" y="291"/>
                  </a:lnTo>
                  <a:lnTo>
                    <a:pt x="11658" y="7580"/>
                  </a:lnTo>
                  <a:lnTo>
                    <a:pt x="14864" y="7580"/>
                  </a:lnTo>
                  <a:lnTo>
                    <a:pt x="16905" y="7871"/>
                  </a:lnTo>
                  <a:lnTo>
                    <a:pt x="16322" y="9912"/>
                  </a:lnTo>
                  <a:lnTo>
                    <a:pt x="16030" y="11079"/>
                  </a:lnTo>
                  <a:lnTo>
                    <a:pt x="16030" y="11662"/>
                  </a:lnTo>
                  <a:lnTo>
                    <a:pt x="14864" y="1253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5" name="Google Shape;1865;p13"/>
            <p:cNvSpPr/>
            <p:nvPr/>
          </p:nvSpPr>
          <p:spPr>
            <a:xfrm>
              <a:off x="628924" y="7355170"/>
              <a:ext cx="19319" cy="25397"/>
            </a:xfrm>
            <a:custGeom>
              <a:avLst/>
              <a:gdLst/>
              <a:ahLst/>
              <a:cxnLst/>
              <a:rect l="l" t="t" r="r" b="b"/>
              <a:pathLst>
                <a:path w="19319" h="25397" extrusionOk="0">
                  <a:moveTo>
                    <a:pt x="1463" y="15802"/>
                  </a:moveTo>
                  <a:lnTo>
                    <a:pt x="2049" y="9594"/>
                  </a:lnTo>
                  <a:lnTo>
                    <a:pt x="2927" y="3668"/>
                  </a:lnTo>
                  <a:lnTo>
                    <a:pt x="3219" y="2539"/>
                  </a:lnTo>
                  <a:lnTo>
                    <a:pt x="4098" y="846"/>
                  </a:lnTo>
                  <a:lnTo>
                    <a:pt x="6439" y="846"/>
                  </a:lnTo>
                  <a:lnTo>
                    <a:pt x="9074" y="0"/>
                  </a:lnTo>
                  <a:lnTo>
                    <a:pt x="10245" y="2821"/>
                  </a:lnTo>
                  <a:lnTo>
                    <a:pt x="10245" y="3104"/>
                  </a:lnTo>
                  <a:lnTo>
                    <a:pt x="10537" y="3104"/>
                  </a:lnTo>
                  <a:lnTo>
                    <a:pt x="10537" y="3386"/>
                  </a:lnTo>
                  <a:lnTo>
                    <a:pt x="12294" y="2821"/>
                  </a:lnTo>
                  <a:lnTo>
                    <a:pt x="14050" y="1975"/>
                  </a:lnTo>
                  <a:lnTo>
                    <a:pt x="15806" y="1693"/>
                  </a:lnTo>
                  <a:lnTo>
                    <a:pt x="16977" y="1410"/>
                  </a:lnTo>
                  <a:lnTo>
                    <a:pt x="19026" y="1975"/>
                  </a:lnTo>
                  <a:lnTo>
                    <a:pt x="19026" y="2539"/>
                  </a:lnTo>
                  <a:lnTo>
                    <a:pt x="19319" y="3950"/>
                  </a:lnTo>
                  <a:lnTo>
                    <a:pt x="19026" y="5926"/>
                  </a:lnTo>
                  <a:lnTo>
                    <a:pt x="18734" y="7337"/>
                  </a:lnTo>
                  <a:lnTo>
                    <a:pt x="18734" y="7901"/>
                  </a:lnTo>
                  <a:lnTo>
                    <a:pt x="16977" y="8183"/>
                  </a:lnTo>
                  <a:lnTo>
                    <a:pt x="16099" y="8183"/>
                  </a:lnTo>
                  <a:lnTo>
                    <a:pt x="12587" y="7901"/>
                  </a:lnTo>
                  <a:lnTo>
                    <a:pt x="9952" y="9594"/>
                  </a:lnTo>
                  <a:lnTo>
                    <a:pt x="9367" y="13545"/>
                  </a:lnTo>
                  <a:lnTo>
                    <a:pt x="8488" y="16367"/>
                  </a:lnTo>
                  <a:lnTo>
                    <a:pt x="8196" y="19753"/>
                  </a:lnTo>
                  <a:lnTo>
                    <a:pt x="7903" y="22857"/>
                  </a:lnTo>
                  <a:lnTo>
                    <a:pt x="7610" y="25115"/>
                  </a:lnTo>
                  <a:lnTo>
                    <a:pt x="6439" y="25397"/>
                  </a:lnTo>
                  <a:lnTo>
                    <a:pt x="4390" y="25115"/>
                  </a:lnTo>
                  <a:lnTo>
                    <a:pt x="2634" y="24551"/>
                  </a:lnTo>
                  <a:lnTo>
                    <a:pt x="0" y="25115"/>
                  </a:lnTo>
                  <a:lnTo>
                    <a:pt x="585" y="22011"/>
                  </a:lnTo>
                  <a:lnTo>
                    <a:pt x="1463" y="1580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6" name="Google Shape;1866;p13"/>
            <p:cNvSpPr/>
            <p:nvPr/>
          </p:nvSpPr>
          <p:spPr>
            <a:xfrm>
              <a:off x="698945" y="7355165"/>
              <a:ext cx="10867" cy="25397"/>
            </a:xfrm>
            <a:custGeom>
              <a:avLst/>
              <a:gdLst/>
              <a:ahLst/>
              <a:cxnLst/>
              <a:rect l="l" t="t" r="r" b="b"/>
              <a:pathLst>
                <a:path w="10867" h="25397" extrusionOk="0">
                  <a:moveTo>
                    <a:pt x="285" y="1167"/>
                  </a:moveTo>
                  <a:lnTo>
                    <a:pt x="571" y="1167"/>
                  </a:lnTo>
                  <a:lnTo>
                    <a:pt x="2287" y="583"/>
                  </a:lnTo>
                  <a:lnTo>
                    <a:pt x="4003" y="0"/>
                  </a:lnTo>
                  <a:lnTo>
                    <a:pt x="5719" y="0"/>
                  </a:lnTo>
                  <a:lnTo>
                    <a:pt x="6577" y="291"/>
                  </a:lnTo>
                  <a:lnTo>
                    <a:pt x="7149" y="2335"/>
                  </a:lnTo>
                  <a:lnTo>
                    <a:pt x="7435" y="3503"/>
                  </a:lnTo>
                  <a:lnTo>
                    <a:pt x="8293" y="8757"/>
                  </a:lnTo>
                  <a:lnTo>
                    <a:pt x="9151" y="14304"/>
                  </a:lnTo>
                  <a:lnTo>
                    <a:pt x="10009" y="19850"/>
                  </a:lnTo>
                  <a:lnTo>
                    <a:pt x="10867" y="24521"/>
                  </a:lnTo>
                  <a:lnTo>
                    <a:pt x="10295" y="25105"/>
                  </a:lnTo>
                  <a:lnTo>
                    <a:pt x="4861" y="25397"/>
                  </a:lnTo>
                  <a:lnTo>
                    <a:pt x="4575" y="25105"/>
                  </a:lnTo>
                  <a:lnTo>
                    <a:pt x="3717" y="24521"/>
                  </a:lnTo>
                  <a:lnTo>
                    <a:pt x="3431" y="23645"/>
                  </a:lnTo>
                  <a:lnTo>
                    <a:pt x="2287" y="16931"/>
                  </a:lnTo>
                  <a:lnTo>
                    <a:pt x="1143" y="9925"/>
                  </a:lnTo>
                  <a:lnTo>
                    <a:pt x="0" y="2919"/>
                  </a:lnTo>
                  <a:lnTo>
                    <a:pt x="0" y="2335"/>
                  </a:lnTo>
                  <a:lnTo>
                    <a:pt x="285" y="1167"/>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7" name="Google Shape;1867;p13"/>
            <p:cNvSpPr/>
            <p:nvPr/>
          </p:nvSpPr>
          <p:spPr>
            <a:xfrm>
              <a:off x="668766" y="7357586"/>
              <a:ext cx="8452" cy="25397"/>
            </a:xfrm>
            <a:custGeom>
              <a:avLst/>
              <a:gdLst/>
              <a:ahLst/>
              <a:cxnLst/>
              <a:rect l="l" t="t" r="r" b="b"/>
              <a:pathLst>
                <a:path w="8452" h="25397" extrusionOk="0">
                  <a:moveTo>
                    <a:pt x="3924" y="0"/>
                  </a:moveTo>
                  <a:lnTo>
                    <a:pt x="7546" y="0"/>
                  </a:lnTo>
                  <a:lnTo>
                    <a:pt x="7848" y="3543"/>
                  </a:lnTo>
                  <a:lnTo>
                    <a:pt x="7848" y="9745"/>
                  </a:lnTo>
                  <a:lnTo>
                    <a:pt x="8150" y="15651"/>
                  </a:lnTo>
                  <a:lnTo>
                    <a:pt x="8452" y="21853"/>
                  </a:lnTo>
                  <a:lnTo>
                    <a:pt x="8452" y="24216"/>
                  </a:lnTo>
                  <a:lnTo>
                    <a:pt x="8150" y="25397"/>
                  </a:lnTo>
                  <a:lnTo>
                    <a:pt x="905" y="25397"/>
                  </a:lnTo>
                  <a:lnTo>
                    <a:pt x="603" y="22149"/>
                  </a:lnTo>
                  <a:lnTo>
                    <a:pt x="603" y="15947"/>
                  </a:lnTo>
                  <a:lnTo>
                    <a:pt x="301" y="9745"/>
                  </a:lnTo>
                  <a:lnTo>
                    <a:pt x="301" y="3543"/>
                  </a:lnTo>
                  <a:lnTo>
                    <a:pt x="0" y="295"/>
                  </a:lnTo>
                  <a:lnTo>
                    <a:pt x="603" y="0"/>
                  </a:lnTo>
                  <a:lnTo>
                    <a:pt x="3924" y="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8" name="Google Shape;1868;p13"/>
            <p:cNvSpPr/>
            <p:nvPr/>
          </p:nvSpPr>
          <p:spPr>
            <a:xfrm>
              <a:off x="697739" y="7345484"/>
              <a:ext cx="7245" cy="7256"/>
            </a:xfrm>
            <a:custGeom>
              <a:avLst/>
              <a:gdLst/>
              <a:ahLst/>
              <a:cxnLst/>
              <a:rect l="l" t="t" r="r" b="b"/>
              <a:pathLst>
                <a:path w="7245" h="7256" extrusionOk="0">
                  <a:moveTo>
                    <a:pt x="2069" y="6977"/>
                  </a:moveTo>
                  <a:lnTo>
                    <a:pt x="0" y="6977"/>
                  </a:lnTo>
                  <a:lnTo>
                    <a:pt x="517" y="4465"/>
                  </a:lnTo>
                  <a:lnTo>
                    <a:pt x="517" y="0"/>
                  </a:lnTo>
                  <a:lnTo>
                    <a:pt x="3104" y="1116"/>
                  </a:lnTo>
                  <a:lnTo>
                    <a:pt x="4657" y="837"/>
                  </a:lnTo>
                  <a:lnTo>
                    <a:pt x="7245" y="279"/>
                  </a:lnTo>
                  <a:lnTo>
                    <a:pt x="6986" y="2790"/>
                  </a:lnTo>
                  <a:lnTo>
                    <a:pt x="7245" y="4465"/>
                  </a:lnTo>
                  <a:lnTo>
                    <a:pt x="7245" y="6140"/>
                  </a:lnTo>
                  <a:lnTo>
                    <a:pt x="5692" y="7256"/>
                  </a:lnTo>
                  <a:lnTo>
                    <a:pt x="2069" y="6977"/>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9" name="Google Shape;1869;p13"/>
            <p:cNvSpPr/>
            <p:nvPr/>
          </p:nvSpPr>
          <p:spPr>
            <a:xfrm>
              <a:off x="668767" y="7349115"/>
              <a:ext cx="7244" cy="6047"/>
            </a:xfrm>
            <a:custGeom>
              <a:avLst/>
              <a:gdLst/>
              <a:ahLst/>
              <a:cxnLst/>
              <a:rect l="l" t="t" r="r" b="b"/>
              <a:pathLst>
                <a:path w="7244" h="6047" extrusionOk="0">
                  <a:moveTo>
                    <a:pt x="2897" y="5784"/>
                  </a:moveTo>
                  <a:lnTo>
                    <a:pt x="1159" y="6047"/>
                  </a:lnTo>
                  <a:lnTo>
                    <a:pt x="0" y="6047"/>
                  </a:lnTo>
                  <a:lnTo>
                    <a:pt x="0" y="788"/>
                  </a:lnTo>
                  <a:lnTo>
                    <a:pt x="289" y="525"/>
                  </a:lnTo>
                  <a:lnTo>
                    <a:pt x="4636" y="0"/>
                  </a:lnTo>
                  <a:lnTo>
                    <a:pt x="6665" y="0"/>
                  </a:lnTo>
                  <a:lnTo>
                    <a:pt x="7244" y="788"/>
                  </a:lnTo>
                  <a:lnTo>
                    <a:pt x="7244" y="5521"/>
                  </a:lnTo>
                  <a:lnTo>
                    <a:pt x="2897" y="578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0" name="Google Shape;1870;p13"/>
            <p:cNvSpPr/>
            <p:nvPr/>
          </p:nvSpPr>
          <p:spPr>
            <a:xfrm>
              <a:off x="654264" y="6868984"/>
              <a:ext cx="31395" cy="32653"/>
            </a:xfrm>
            <a:custGeom>
              <a:avLst/>
              <a:gdLst/>
              <a:ahLst/>
              <a:cxnLst/>
              <a:rect l="l" t="t" r="r" b="b"/>
              <a:pathLst>
                <a:path w="31395" h="32653" extrusionOk="0">
                  <a:moveTo>
                    <a:pt x="8064" y="844"/>
                  </a:moveTo>
                  <a:lnTo>
                    <a:pt x="8352" y="844"/>
                  </a:lnTo>
                  <a:lnTo>
                    <a:pt x="9793" y="5630"/>
                  </a:lnTo>
                  <a:lnTo>
                    <a:pt x="11521" y="11541"/>
                  </a:lnTo>
                  <a:lnTo>
                    <a:pt x="13537" y="17171"/>
                  </a:lnTo>
                  <a:lnTo>
                    <a:pt x="15265" y="23082"/>
                  </a:lnTo>
                  <a:lnTo>
                    <a:pt x="16129" y="23082"/>
                  </a:lnTo>
                  <a:lnTo>
                    <a:pt x="16993" y="20831"/>
                  </a:lnTo>
                  <a:lnTo>
                    <a:pt x="17569" y="18860"/>
                  </a:lnTo>
                  <a:lnTo>
                    <a:pt x="18434" y="16608"/>
                  </a:lnTo>
                  <a:lnTo>
                    <a:pt x="19874" y="12667"/>
                  </a:lnTo>
                  <a:lnTo>
                    <a:pt x="21026" y="8445"/>
                  </a:lnTo>
                  <a:lnTo>
                    <a:pt x="22466" y="4504"/>
                  </a:lnTo>
                  <a:lnTo>
                    <a:pt x="23618" y="1407"/>
                  </a:lnTo>
                  <a:lnTo>
                    <a:pt x="27363" y="0"/>
                  </a:lnTo>
                  <a:lnTo>
                    <a:pt x="30243" y="1970"/>
                  </a:lnTo>
                  <a:lnTo>
                    <a:pt x="31107" y="2252"/>
                  </a:lnTo>
                  <a:lnTo>
                    <a:pt x="31395" y="3659"/>
                  </a:lnTo>
                  <a:lnTo>
                    <a:pt x="31395" y="12949"/>
                  </a:lnTo>
                  <a:lnTo>
                    <a:pt x="31107" y="21112"/>
                  </a:lnTo>
                  <a:lnTo>
                    <a:pt x="31107" y="29557"/>
                  </a:lnTo>
                  <a:lnTo>
                    <a:pt x="30819" y="31246"/>
                  </a:lnTo>
                  <a:lnTo>
                    <a:pt x="30819" y="32653"/>
                  </a:lnTo>
                  <a:lnTo>
                    <a:pt x="25923" y="32653"/>
                  </a:lnTo>
                  <a:lnTo>
                    <a:pt x="25346" y="31528"/>
                  </a:lnTo>
                  <a:lnTo>
                    <a:pt x="25346" y="11541"/>
                  </a:lnTo>
                  <a:lnTo>
                    <a:pt x="23330" y="17452"/>
                  </a:lnTo>
                  <a:lnTo>
                    <a:pt x="21026" y="23364"/>
                  </a:lnTo>
                  <a:lnTo>
                    <a:pt x="19010" y="29275"/>
                  </a:lnTo>
                  <a:lnTo>
                    <a:pt x="18434" y="30964"/>
                  </a:lnTo>
                  <a:lnTo>
                    <a:pt x="17858" y="32653"/>
                  </a:lnTo>
                  <a:lnTo>
                    <a:pt x="12961" y="32653"/>
                  </a:lnTo>
                  <a:lnTo>
                    <a:pt x="12673" y="30964"/>
                  </a:lnTo>
                  <a:lnTo>
                    <a:pt x="12097" y="29275"/>
                  </a:lnTo>
                  <a:lnTo>
                    <a:pt x="10081" y="23646"/>
                  </a:lnTo>
                  <a:lnTo>
                    <a:pt x="8352" y="18015"/>
                  </a:lnTo>
                  <a:lnTo>
                    <a:pt x="5760" y="12386"/>
                  </a:lnTo>
                  <a:lnTo>
                    <a:pt x="5760" y="13230"/>
                  </a:lnTo>
                  <a:lnTo>
                    <a:pt x="5472" y="14074"/>
                  </a:lnTo>
                  <a:lnTo>
                    <a:pt x="5472" y="31246"/>
                  </a:lnTo>
                  <a:lnTo>
                    <a:pt x="4608" y="32090"/>
                  </a:lnTo>
                  <a:lnTo>
                    <a:pt x="576" y="32090"/>
                  </a:lnTo>
                  <a:lnTo>
                    <a:pt x="0" y="30964"/>
                  </a:lnTo>
                  <a:lnTo>
                    <a:pt x="0" y="29275"/>
                  </a:lnTo>
                  <a:lnTo>
                    <a:pt x="286" y="16473"/>
                  </a:lnTo>
                  <a:lnTo>
                    <a:pt x="568" y="3879"/>
                  </a:lnTo>
                  <a:lnTo>
                    <a:pt x="576" y="3659"/>
                  </a:lnTo>
                  <a:lnTo>
                    <a:pt x="576" y="1970"/>
                  </a:lnTo>
                  <a:lnTo>
                    <a:pt x="1152" y="1126"/>
                  </a:lnTo>
                  <a:lnTo>
                    <a:pt x="2880" y="1126"/>
                  </a:lnTo>
                  <a:lnTo>
                    <a:pt x="8064" y="84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1" name="Google Shape;1871;p13"/>
            <p:cNvSpPr/>
            <p:nvPr/>
          </p:nvSpPr>
          <p:spPr>
            <a:xfrm>
              <a:off x="795543" y="6924609"/>
              <a:ext cx="37433" cy="37490"/>
            </a:xfrm>
            <a:custGeom>
              <a:avLst/>
              <a:gdLst/>
              <a:ahLst/>
              <a:cxnLst/>
              <a:rect l="l" t="t" r="r" b="b"/>
              <a:pathLst>
                <a:path w="37433" h="37490" extrusionOk="0">
                  <a:moveTo>
                    <a:pt x="580" y="16856"/>
                  </a:moveTo>
                  <a:lnTo>
                    <a:pt x="2031" y="15403"/>
                  </a:lnTo>
                  <a:lnTo>
                    <a:pt x="5513" y="11043"/>
                  </a:lnTo>
                  <a:lnTo>
                    <a:pt x="8705" y="6393"/>
                  </a:lnTo>
                  <a:lnTo>
                    <a:pt x="12187" y="2325"/>
                  </a:lnTo>
                  <a:lnTo>
                    <a:pt x="13058" y="1453"/>
                  </a:lnTo>
                  <a:lnTo>
                    <a:pt x="14509" y="0"/>
                  </a:lnTo>
                  <a:lnTo>
                    <a:pt x="15089" y="290"/>
                  </a:lnTo>
                  <a:lnTo>
                    <a:pt x="16540" y="871"/>
                  </a:lnTo>
                  <a:lnTo>
                    <a:pt x="17410" y="2325"/>
                  </a:lnTo>
                  <a:lnTo>
                    <a:pt x="18571" y="3487"/>
                  </a:lnTo>
                  <a:lnTo>
                    <a:pt x="18281" y="3778"/>
                  </a:lnTo>
                  <a:lnTo>
                    <a:pt x="18281" y="4068"/>
                  </a:lnTo>
                  <a:lnTo>
                    <a:pt x="17991" y="4359"/>
                  </a:lnTo>
                  <a:lnTo>
                    <a:pt x="22634" y="4359"/>
                  </a:lnTo>
                  <a:lnTo>
                    <a:pt x="25535" y="6103"/>
                  </a:lnTo>
                  <a:lnTo>
                    <a:pt x="26696" y="10753"/>
                  </a:lnTo>
                  <a:lnTo>
                    <a:pt x="26986" y="11334"/>
                  </a:lnTo>
                  <a:lnTo>
                    <a:pt x="28437" y="12206"/>
                  </a:lnTo>
                  <a:lnTo>
                    <a:pt x="32500" y="12206"/>
                  </a:lnTo>
                  <a:lnTo>
                    <a:pt x="34821" y="13950"/>
                  </a:lnTo>
                  <a:lnTo>
                    <a:pt x="35982" y="16565"/>
                  </a:lnTo>
                  <a:lnTo>
                    <a:pt x="37433" y="19472"/>
                  </a:lnTo>
                  <a:lnTo>
                    <a:pt x="36562" y="22087"/>
                  </a:lnTo>
                  <a:lnTo>
                    <a:pt x="34821" y="24703"/>
                  </a:lnTo>
                  <a:lnTo>
                    <a:pt x="31919" y="28190"/>
                  </a:lnTo>
                  <a:lnTo>
                    <a:pt x="29018" y="31678"/>
                  </a:lnTo>
                  <a:lnTo>
                    <a:pt x="26406" y="35456"/>
                  </a:lnTo>
                  <a:lnTo>
                    <a:pt x="24955" y="37490"/>
                  </a:lnTo>
                  <a:lnTo>
                    <a:pt x="23794" y="36618"/>
                  </a:lnTo>
                  <a:lnTo>
                    <a:pt x="22343" y="35456"/>
                  </a:lnTo>
                  <a:lnTo>
                    <a:pt x="20602" y="34293"/>
                  </a:lnTo>
                  <a:lnTo>
                    <a:pt x="20893" y="33422"/>
                  </a:lnTo>
                  <a:lnTo>
                    <a:pt x="22053" y="31968"/>
                  </a:lnTo>
                  <a:lnTo>
                    <a:pt x="24665" y="28772"/>
                  </a:lnTo>
                  <a:lnTo>
                    <a:pt x="26986" y="25575"/>
                  </a:lnTo>
                  <a:lnTo>
                    <a:pt x="29598" y="22378"/>
                  </a:lnTo>
                  <a:lnTo>
                    <a:pt x="31049" y="20634"/>
                  </a:lnTo>
                  <a:lnTo>
                    <a:pt x="31919" y="18600"/>
                  </a:lnTo>
                  <a:lnTo>
                    <a:pt x="29598" y="16856"/>
                  </a:lnTo>
                  <a:lnTo>
                    <a:pt x="27857" y="15112"/>
                  </a:lnTo>
                  <a:lnTo>
                    <a:pt x="25826" y="15403"/>
                  </a:lnTo>
                  <a:lnTo>
                    <a:pt x="23794" y="17728"/>
                  </a:lnTo>
                  <a:lnTo>
                    <a:pt x="21183" y="20634"/>
                  </a:lnTo>
                  <a:lnTo>
                    <a:pt x="18571" y="23831"/>
                  </a:lnTo>
                  <a:lnTo>
                    <a:pt x="16250" y="27318"/>
                  </a:lnTo>
                  <a:lnTo>
                    <a:pt x="15089" y="29062"/>
                  </a:lnTo>
                  <a:lnTo>
                    <a:pt x="13928" y="29062"/>
                  </a:lnTo>
                  <a:lnTo>
                    <a:pt x="12477" y="27900"/>
                  </a:lnTo>
                  <a:lnTo>
                    <a:pt x="10736" y="26737"/>
                  </a:lnTo>
                  <a:lnTo>
                    <a:pt x="10446" y="25575"/>
                  </a:lnTo>
                  <a:lnTo>
                    <a:pt x="11897" y="23831"/>
                  </a:lnTo>
                  <a:lnTo>
                    <a:pt x="14218" y="20925"/>
                  </a:lnTo>
                  <a:lnTo>
                    <a:pt x="16830" y="17728"/>
                  </a:lnTo>
                  <a:lnTo>
                    <a:pt x="19151" y="14531"/>
                  </a:lnTo>
                  <a:lnTo>
                    <a:pt x="20312" y="12787"/>
                  </a:lnTo>
                  <a:lnTo>
                    <a:pt x="22053" y="11043"/>
                  </a:lnTo>
                  <a:lnTo>
                    <a:pt x="19732" y="9009"/>
                  </a:lnTo>
                  <a:lnTo>
                    <a:pt x="17991" y="7265"/>
                  </a:lnTo>
                  <a:lnTo>
                    <a:pt x="15089" y="7556"/>
                  </a:lnTo>
                  <a:lnTo>
                    <a:pt x="13348" y="9881"/>
                  </a:lnTo>
                  <a:lnTo>
                    <a:pt x="10736" y="12787"/>
                  </a:lnTo>
                  <a:lnTo>
                    <a:pt x="8415" y="15693"/>
                  </a:lnTo>
                  <a:lnTo>
                    <a:pt x="6383" y="18890"/>
                  </a:lnTo>
                  <a:lnTo>
                    <a:pt x="4933" y="20634"/>
                  </a:lnTo>
                  <a:lnTo>
                    <a:pt x="4062" y="21215"/>
                  </a:lnTo>
                  <a:lnTo>
                    <a:pt x="2031" y="19762"/>
                  </a:lnTo>
                  <a:lnTo>
                    <a:pt x="0" y="18018"/>
                  </a:lnTo>
                  <a:lnTo>
                    <a:pt x="580" y="1685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2" name="Google Shape;1872;p13"/>
            <p:cNvSpPr/>
            <p:nvPr/>
          </p:nvSpPr>
          <p:spPr>
            <a:xfrm>
              <a:off x="753280" y="6900421"/>
              <a:ext cx="28980" cy="35072"/>
            </a:xfrm>
            <a:custGeom>
              <a:avLst/>
              <a:gdLst/>
              <a:ahLst/>
              <a:cxnLst/>
              <a:rect l="l" t="t" r="r" b="b"/>
              <a:pathLst>
                <a:path w="28980" h="35072" extrusionOk="0">
                  <a:moveTo>
                    <a:pt x="568" y="22344"/>
                  </a:moveTo>
                  <a:lnTo>
                    <a:pt x="1136" y="21212"/>
                  </a:lnTo>
                  <a:lnTo>
                    <a:pt x="2272" y="22061"/>
                  </a:lnTo>
                  <a:lnTo>
                    <a:pt x="3977" y="22627"/>
                  </a:lnTo>
                  <a:lnTo>
                    <a:pt x="5114" y="23758"/>
                  </a:lnTo>
                  <a:lnTo>
                    <a:pt x="5682" y="24607"/>
                  </a:lnTo>
                  <a:lnTo>
                    <a:pt x="5966" y="26021"/>
                  </a:lnTo>
                  <a:lnTo>
                    <a:pt x="6818" y="26869"/>
                  </a:lnTo>
                  <a:lnTo>
                    <a:pt x="9944" y="29980"/>
                  </a:lnTo>
                  <a:lnTo>
                    <a:pt x="13637" y="28566"/>
                  </a:lnTo>
                  <a:lnTo>
                    <a:pt x="14490" y="24607"/>
                  </a:lnTo>
                  <a:lnTo>
                    <a:pt x="11933" y="23758"/>
                  </a:lnTo>
                  <a:lnTo>
                    <a:pt x="9091" y="23192"/>
                  </a:lnTo>
                  <a:lnTo>
                    <a:pt x="7103" y="21778"/>
                  </a:lnTo>
                  <a:lnTo>
                    <a:pt x="2557" y="18950"/>
                  </a:lnTo>
                  <a:lnTo>
                    <a:pt x="3125" y="12162"/>
                  </a:lnTo>
                  <a:lnTo>
                    <a:pt x="5682" y="7919"/>
                  </a:lnTo>
                  <a:lnTo>
                    <a:pt x="7387" y="5656"/>
                  </a:lnTo>
                  <a:lnTo>
                    <a:pt x="9660" y="3111"/>
                  </a:lnTo>
                  <a:lnTo>
                    <a:pt x="8807" y="11313"/>
                  </a:lnTo>
                  <a:lnTo>
                    <a:pt x="9091" y="15273"/>
                  </a:lnTo>
                  <a:lnTo>
                    <a:pt x="9091" y="17818"/>
                  </a:lnTo>
                  <a:lnTo>
                    <a:pt x="11080" y="19798"/>
                  </a:lnTo>
                  <a:lnTo>
                    <a:pt x="13922" y="19798"/>
                  </a:lnTo>
                  <a:lnTo>
                    <a:pt x="17047" y="19515"/>
                  </a:lnTo>
                  <a:lnTo>
                    <a:pt x="20741" y="14990"/>
                  </a:lnTo>
                  <a:lnTo>
                    <a:pt x="20456" y="11030"/>
                  </a:lnTo>
                  <a:lnTo>
                    <a:pt x="20456" y="8485"/>
                  </a:lnTo>
                  <a:lnTo>
                    <a:pt x="18468" y="6222"/>
                  </a:lnTo>
                  <a:lnTo>
                    <a:pt x="15910" y="6222"/>
                  </a:lnTo>
                  <a:lnTo>
                    <a:pt x="12785" y="5939"/>
                  </a:lnTo>
                  <a:lnTo>
                    <a:pt x="16479" y="0"/>
                  </a:lnTo>
                  <a:lnTo>
                    <a:pt x="19888" y="1414"/>
                  </a:lnTo>
                  <a:lnTo>
                    <a:pt x="23014" y="5939"/>
                  </a:lnTo>
                  <a:lnTo>
                    <a:pt x="24150" y="5939"/>
                  </a:lnTo>
                  <a:lnTo>
                    <a:pt x="25002" y="5656"/>
                  </a:lnTo>
                  <a:lnTo>
                    <a:pt x="26139" y="5939"/>
                  </a:lnTo>
                  <a:lnTo>
                    <a:pt x="28696" y="6788"/>
                  </a:lnTo>
                  <a:lnTo>
                    <a:pt x="28980" y="7353"/>
                  </a:lnTo>
                  <a:lnTo>
                    <a:pt x="27844" y="9899"/>
                  </a:lnTo>
                  <a:lnTo>
                    <a:pt x="25002" y="15556"/>
                  </a:lnTo>
                  <a:lnTo>
                    <a:pt x="22729" y="21212"/>
                  </a:lnTo>
                  <a:lnTo>
                    <a:pt x="19888" y="26869"/>
                  </a:lnTo>
                  <a:lnTo>
                    <a:pt x="16195" y="34223"/>
                  </a:lnTo>
                  <a:lnTo>
                    <a:pt x="6534" y="35072"/>
                  </a:lnTo>
                  <a:lnTo>
                    <a:pt x="1420" y="28283"/>
                  </a:lnTo>
                  <a:lnTo>
                    <a:pt x="852" y="27152"/>
                  </a:lnTo>
                  <a:lnTo>
                    <a:pt x="284" y="26021"/>
                  </a:lnTo>
                  <a:lnTo>
                    <a:pt x="0" y="24889"/>
                  </a:lnTo>
                  <a:lnTo>
                    <a:pt x="0" y="23758"/>
                  </a:lnTo>
                  <a:lnTo>
                    <a:pt x="568" y="2234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3" name="Google Shape;1873;p13"/>
            <p:cNvSpPr/>
            <p:nvPr/>
          </p:nvSpPr>
          <p:spPr>
            <a:xfrm>
              <a:off x="762088" y="6900421"/>
              <a:ext cx="7671" cy="11313"/>
            </a:xfrm>
            <a:custGeom>
              <a:avLst/>
              <a:gdLst/>
              <a:ahLst/>
              <a:cxnLst/>
              <a:rect l="l" t="t" r="r" b="b"/>
              <a:pathLst>
                <a:path w="7671" h="11313" extrusionOk="0">
                  <a:moveTo>
                    <a:pt x="3977" y="5939"/>
                  </a:moveTo>
                  <a:lnTo>
                    <a:pt x="0" y="11313"/>
                  </a:lnTo>
                  <a:lnTo>
                    <a:pt x="852" y="3111"/>
                  </a:lnTo>
                  <a:lnTo>
                    <a:pt x="3409" y="1979"/>
                  </a:lnTo>
                  <a:lnTo>
                    <a:pt x="7671" y="0"/>
                  </a:lnTo>
                  <a:lnTo>
                    <a:pt x="3977" y="5939"/>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4" name="Google Shape;1874;p13"/>
            <p:cNvSpPr/>
            <p:nvPr/>
          </p:nvSpPr>
          <p:spPr>
            <a:xfrm>
              <a:off x="689284" y="6890508"/>
              <a:ext cx="8114" cy="14485"/>
            </a:xfrm>
            <a:custGeom>
              <a:avLst/>
              <a:gdLst/>
              <a:ahLst/>
              <a:cxnLst/>
              <a:rect l="l" t="t" r="r" b="b"/>
              <a:pathLst>
                <a:path w="8114" h="14485" extrusionOk="0">
                  <a:moveTo>
                    <a:pt x="2898" y="295"/>
                  </a:moveTo>
                  <a:lnTo>
                    <a:pt x="6375" y="0"/>
                  </a:lnTo>
                  <a:lnTo>
                    <a:pt x="8114" y="0"/>
                  </a:lnTo>
                  <a:lnTo>
                    <a:pt x="6375" y="5912"/>
                  </a:lnTo>
                  <a:lnTo>
                    <a:pt x="6085" y="6799"/>
                  </a:lnTo>
                  <a:lnTo>
                    <a:pt x="6085" y="7686"/>
                  </a:lnTo>
                  <a:lnTo>
                    <a:pt x="8114" y="14485"/>
                  </a:lnTo>
                  <a:lnTo>
                    <a:pt x="5796" y="13894"/>
                  </a:lnTo>
                  <a:lnTo>
                    <a:pt x="4057" y="13303"/>
                  </a:lnTo>
                  <a:lnTo>
                    <a:pt x="1159" y="12120"/>
                  </a:lnTo>
                  <a:lnTo>
                    <a:pt x="0" y="9164"/>
                  </a:lnTo>
                  <a:lnTo>
                    <a:pt x="289" y="5912"/>
                  </a:lnTo>
                  <a:lnTo>
                    <a:pt x="1159" y="2069"/>
                  </a:lnTo>
                  <a:lnTo>
                    <a:pt x="2898" y="29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5" name="Google Shape;1875;p13"/>
            <p:cNvSpPr/>
            <p:nvPr/>
          </p:nvSpPr>
          <p:spPr>
            <a:xfrm>
              <a:off x="691892" y="6879865"/>
              <a:ext cx="19127" cy="26606"/>
            </a:xfrm>
            <a:custGeom>
              <a:avLst/>
              <a:gdLst/>
              <a:ahLst/>
              <a:cxnLst/>
              <a:rect l="l" t="t" r="r" b="b"/>
              <a:pathLst>
                <a:path w="19127" h="26606" extrusionOk="0">
                  <a:moveTo>
                    <a:pt x="17967" y="14190"/>
                  </a:moveTo>
                  <a:lnTo>
                    <a:pt x="17678" y="16850"/>
                  </a:lnTo>
                  <a:lnTo>
                    <a:pt x="17388" y="18920"/>
                  </a:lnTo>
                  <a:lnTo>
                    <a:pt x="16808" y="20989"/>
                  </a:lnTo>
                  <a:lnTo>
                    <a:pt x="18547" y="22763"/>
                  </a:lnTo>
                  <a:lnTo>
                    <a:pt x="18837" y="23354"/>
                  </a:lnTo>
                  <a:lnTo>
                    <a:pt x="18547" y="25719"/>
                  </a:lnTo>
                  <a:lnTo>
                    <a:pt x="17967" y="25719"/>
                  </a:lnTo>
                  <a:lnTo>
                    <a:pt x="16808" y="26311"/>
                  </a:lnTo>
                  <a:lnTo>
                    <a:pt x="14780" y="26606"/>
                  </a:lnTo>
                  <a:lnTo>
                    <a:pt x="13910" y="26015"/>
                  </a:lnTo>
                  <a:lnTo>
                    <a:pt x="11881" y="23946"/>
                  </a:lnTo>
                  <a:lnTo>
                    <a:pt x="9853" y="24537"/>
                  </a:lnTo>
                  <a:lnTo>
                    <a:pt x="7534" y="24832"/>
                  </a:lnTo>
                  <a:lnTo>
                    <a:pt x="5506" y="25128"/>
                  </a:lnTo>
                  <a:lnTo>
                    <a:pt x="3477" y="18329"/>
                  </a:lnTo>
                  <a:lnTo>
                    <a:pt x="4926" y="19807"/>
                  </a:lnTo>
                  <a:lnTo>
                    <a:pt x="6085" y="20102"/>
                  </a:lnTo>
                  <a:lnTo>
                    <a:pt x="9563" y="21285"/>
                  </a:lnTo>
                  <a:lnTo>
                    <a:pt x="12171" y="18920"/>
                  </a:lnTo>
                  <a:lnTo>
                    <a:pt x="11881" y="14190"/>
                  </a:lnTo>
                  <a:lnTo>
                    <a:pt x="7824" y="14190"/>
                  </a:lnTo>
                  <a:lnTo>
                    <a:pt x="5796" y="14781"/>
                  </a:lnTo>
                  <a:lnTo>
                    <a:pt x="4926" y="14781"/>
                  </a:lnTo>
                  <a:lnTo>
                    <a:pt x="3767" y="16555"/>
                  </a:lnTo>
                  <a:lnTo>
                    <a:pt x="5506" y="10642"/>
                  </a:lnTo>
                  <a:lnTo>
                    <a:pt x="7245" y="10938"/>
                  </a:lnTo>
                  <a:lnTo>
                    <a:pt x="8983" y="10642"/>
                  </a:lnTo>
                  <a:lnTo>
                    <a:pt x="10432" y="10051"/>
                  </a:lnTo>
                  <a:lnTo>
                    <a:pt x="11881" y="9164"/>
                  </a:lnTo>
                  <a:lnTo>
                    <a:pt x="13330" y="8277"/>
                  </a:lnTo>
                  <a:lnTo>
                    <a:pt x="13041" y="7686"/>
                  </a:lnTo>
                  <a:lnTo>
                    <a:pt x="12751" y="5912"/>
                  </a:lnTo>
                  <a:lnTo>
                    <a:pt x="12171" y="5912"/>
                  </a:lnTo>
                  <a:lnTo>
                    <a:pt x="10432" y="5616"/>
                  </a:lnTo>
                  <a:lnTo>
                    <a:pt x="8114" y="5321"/>
                  </a:lnTo>
                  <a:lnTo>
                    <a:pt x="6665" y="6208"/>
                  </a:lnTo>
                  <a:lnTo>
                    <a:pt x="4926" y="7095"/>
                  </a:lnTo>
                  <a:lnTo>
                    <a:pt x="3767" y="7982"/>
                  </a:lnTo>
                  <a:lnTo>
                    <a:pt x="1738" y="7686"/>
                  </a:lnTo>
                  <a:lnTo>
                    <a:pt x="289" y="7095"/>
                  </a:lnTo>
                  <a:lnTo>
                    <a:pt x="0" y="6208"/>
                  </a:lnTo>
                  <a:lnTo>
                    <a:pt x="579" y="4730"/>
                  </a:lnTo>
                  <a:lnTo>
                    <a:pt x="1738" y="1773"/>
                  </a:lnTo>
                  <a:lnTo>
                    <a:pt x="4347" y="295"/>
                  </a:lnTo>
                  <a:lnTo>
                    <a:pt x="8983" y="0"/>
                  </a:lnTo>
                  <a:lnTo>
                    <a:pt x="10722" y="591"/>
                  </a:lnTo>
                  <a:lnTo>
                    <a:pt x="12461" y="591"/>
                  </a:lnTo>
                  <a:lnTo>
                    <a:pt x="14200" y="1478"/>
                  </a:lnTo>
                  <a:lnTo>
                    <a:pt x="17678" y="2660"/>
                  </a:lnTo>
                  <a:lnTo>
                    <a:pt x="19127" y="5321"/>
                  </a:lnTo>
                  <a:lnTo>
                    <a:pt x="18547" y="9164"/>
                  </a:lnTo>
                  <a:lnTo>
                    <a:pt x="18257" y="11825"/>
                  </a:lnTo>
                  <a:lnTo>
                    <a:pt x="17967" y="1419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6" name="Google Shape;1876;p13"/>
            <p:cNvSpPr/>
            <p:nvPr/>
          </p:nvSpPr>
          <p:spPr>
            <a:xfrm>
              <a:off x="738847" y="6900538"/>
              <a:ext cx="4600" cy="5721"/>
            </a:xfrm>
            <a:custGeom>
              <a:avLst/>
              <a:gdLst/>
              <a:ahLst/>
              <a:cxnLst/>
              <a:rect l="l" t="t" r="r" b="b"/>
              <a:pathLst>
                <a:path w="4600" h="5721" extrusionOk="0">
                  <a:moveTo>
                    <a:pt x="2012" y="5721"/>
                  </a:moveTo>
                  <a:lnTo>
                    <a:pt x="0" y="0"/>
                  </a:lnTo>
                  <a:lnTo>
                    <a:pt x="4600" y="858"/>
                  </a:lnTo>
                  <a:lnTo>
                    <a:pt x="3450" y="4863"/>
                  </a:lnTo>
                  <a:lnTo>
                    <a:pt x="2012" y="572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7" name="Google Shape;1877;p13"/>
            <p:cNvSpPr/>
            <p:nvPr/>
          </p:nvSpPr>
          <p:spPr>
            <a:xfrm>
              <a:off x="733959" y="6891956"/>
              <a:ext cx="24150" cy="26606"/>
            </a:xfrm>
            <a:custGeom>
              <a:avLst/>
              <a:gdLst/>
              <a:ahLst/>
              <a:cxnLst/>
              <a:rect l="l" t="t" r="r" b="b"/>
              <a:pathLst>
                <a:path w="24150" h="26606" extrusionOk="0">
                  <a:moveTo>
                    <a:pt x="6037" y="3146"/>
                  </a:moveTo>
                  <a:lnTo>
                    <a:pt x="7475" y="572"/>
                  </a:lnTo>
                  <a:lnTo>
                    <a:pt x="10062" y="0"/>
                  </a:lnTo>
                  <a:lnTo>
                    <a:pt x="12937" y="0"/>
                  </a:lnTo>
                  <a:lnTo>
                    <a:pt x="14662" y="286"/>
                  </a:lnTo>
                  <a:lnTo>
                    <a:pt x="16675" y="572"/>
                  </a:lnTo>
                  <a:lnTo>
                    <a:pt x="18400" y="1430"/>
                  </a:lnTo>
                  <a:lnTo>
                    <a:pt x="23000" y="3433"/>
                  </a:lnTo>
                  <a:lnTo>
                    <a:pt x="24150" y="6580"/>
                  </a:lnTo>
                  <a:lnTo>
                    <a:pt x="22713" y="11157"/>
                  </a:lnTo>
                  <a:lnTo>
                    <a:pt x="21850" y="13732"/>
                  </a:lnTo>
                  <a:lnTo>
                    <a:pt x="20988" y="16021"/>
                  </a:lnTo>
                  <a:lnTo>
                    <a:pt x="20125" y="18595"/>
                  </a:lnTo>
                  <a:lnTo>
                    <a:pt x="19550" y="20026"/>
                  </a:lnTo>
                  <a:lnTo>
                    <a:pt x="18687" y="21742"/>
                  </a:lnTo>
                  <a:lnTo>
                    <a:pt x="20125" y="23173"/>
                  </a:lnTo>
                  <a:lnTo>
                    <a:pt x="20413" y="23745"/>
                  </a:lnTo>
                  <a:lnTo>
                    <a:pt x="20125" y="25462"/>
                  </a:lnTo>
                  <a:lnTo>
                    <a:pt x="19550" y="25748"/>
                  </a:lnTo>
                  <a:lnTo>
                    <a:pt x="18687" y="26320"/>
                  </a:lnTo>
                  <a:lnTo>
                    <a:pt x="16675" y="26606"/>
                  </a:lnTo>
                  <a:lnTo>
                    <a:pt x="16387" y="26320"/>
                  </a:lnTo>
                  <a:lnTo>
                    <a:pt x="13512" y="23173"/>
                  </a:lnTo>
                  <a:lnTo>
                    <a:pt x="9775" y="23745"/>
                  </a:lnTo>
                  <a:lnTo>
                    <a:pt x="6325" y="22887"/>
                  </a:lnTo>
                  <a:lnTo>
                    <a:pt x="2300" y="22028"/>
                  </a:lnTo>
                  <a:lnTo>
                    <a:pt x="0" y="18309"/>
                  </a:lnTo>
                  <a:lnTo>
                    <a:pt x="862" y="14590"/>
                  </a:lnTo>
                  <a:lnTo>
                    <a:pt x="2012" y="10299"/>
                  </a:lnTo>
                  <a:lnTo>
                    <a:pt x="4887" y="8582"/>
                  </a:lnTo>
                  <a:lnTo>
                    <a:pt x="6900" y="14304"/>
                  </a:lnTo>
                  <a:lnTo>
                    <a:pt x="6612" y="15162"/>
                  </a:lnTo>
                  <a:lnTo>
                    <a:pt x="6325" y="16021"/>
                  </a:lnTo>
                  <a:lnTo>
                    <a:pt x="7187" y="17737"/>
                  </a:lnTo>
                  <a:lnTo>
                    <a:pt x="8050" y="18309"/>
                  </a:lnTo>
                  <a:lnTo>
                    <a:pt x="11212" y="20598"/>
                  </a:lnTo>
                  <a:lnTo>
                    <a:pt x="14662" y="18881"/>
                  </a:lnTo>
                  <a:lnTo>
                    <a:pt x="15525" y="14304"/>
                  </a:lnTo>
                  <a:lnTo>
                    <a:pt x="13512" y="13732"/>
                  </a:lnTo>
                  <a:lnTo>
                    <a:pt x="11500" y="13160"/>
                  </a:lnTo>
                  <a:lnTo>
                    <a:pt x="9487" y="13446"/>
                  </a:lnTo>
                  <a:lnTo>
                    <a:pt x="8337" y="13446"/>
                  </a:lnTo>
                  <a:lnTo>
                    <a:pt x="9487" y="9440"/>
                  </a:lnTo>
                  <a:lnTo>
                    <a:pt x="11500" y="9727"/>
                  </a:lnTo>
                  <a:lnTo>
                    <a:pt x="13512" y="10013"/>
                  </a:lnTo>
                  <a:lnTo>
                    <a:pt x="15237" y="10299"/>
                  </a:lnTo>
                  <a:lnTo>
                    <a:pt x="16100" y="10299"/>
                  </a:lnTo>
                  <a:lnTo>
                    <a:pt x="17537" y="9440"/>
                  </a:lnTo>
                  <a:lnTo>
                    <a:pt x="17825" y="8868"/>
                  </a:lnTo>
                  <a:lnTo>
                    <a:pt x="18112" y="8010"/>
                  </a:lnTo>
                  <a:lnTo>
                    <a:pt x="17537" y="6580"/>
                  </a:lnTo>
                  <a:lnTo>
                    <a:pt x="16675" y="6007"/>
                  </a:lnTo>
                  <a:lnTo>
                    <a:pt x="14950" y="4577"/>
                  </a:lnTo>
                  <a:lnTo>
                    <a:pt x="12937" y="4005"/>
                  </a:lnTo>
                  <a:lnTo>
                    <a:pt x="10925" y="5721"/>
                  </a:lnTo>
                  <a:lnTo>
                    <a:pt x="9200" y="7438"/>
                  </a:lnTo>
                  <a:lnTo>
                    <a:pt x="7475" y="6293"/>
                  </a:lnTo>
                  <a:lnTo>
                    <a:pt x="6037" y="5435"/>
                  </a:lnTo>
                  <a:lnTo>
                    <a:pt x="5750" y="5149"/>
                  </a:lnTo>
                  <a:lnTo>
                    <a:pt x="5750" y="3719"/>
                  </a:lnTo>
                  <a:lnTo>
                    <a:pt x="6037" y="314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8" name="Google Shape;1878;p13"/>
            <p:cNvSpPr/>
            <p:nvPr/>
          </p:nvSpPr>
          <p:spPr>
            <a:xfrm>
              <a:off x="777443" y="6913722"/>
              <a:ext cx="24149" cy="24187"/>
            </a:xfrm>
            <a:custGeom>
              <a:avLst/>
              <a:gdLst/>
              <a:ahLst/>
              <a:cxnLst/>
              <a:rect l="l" t="t" r="r" b="b"/>
              <a:pathLst>
                <a:path w="24149" h="24187" extrusionOk="0">
                  <a:moveTo>
                    <a:pt x="6773" y="10406"/>
                  </a:moveTo>
                  <a:lnTo>
                    <a:pt x="5890" y="10687"/>
                  </a:lnTo>
                  <a:lnTo>
                    <a:pt x="5595" y="13218"/>
                  </a:lnTo>
                  <a:lnTo>
                    <a:pt x="5301" y="16593"/>
                  </a:lnTo>
                  <a:lnTo>
                    <a:pt x="9129" y="19406"/>
                  </a:lnTo>
                  <a:lnTo>
                    <a:pt x="12369" y="18281"/>
                  </a:lnTo>
                  <a:lnTo>
                    <a:pt x="12958" y="18000"/>
                  </a:lnTo>
                  <a:lnTo>
                    <a:pt x="13547" y="17437"/>
                  </a:lnTo>
                  <a:lnTo>
                    <a:pt x="13841" y="17718"/>
                  </a:lnTo>
                  <a:lnTo>
                    <a:pt x="15314" y="18000"/>
                  </a:lnTo>
                  <a:lnTo>
                    <a:pt x="16786" y="18843"/>
                  </a:lnTo>
                  <a:lnTo>
                    <a:pt x="17964" y="19406"/>
                  </a:lnTo>
                  <a:lnTo>
                    <a:pt x="17375" y="20250"/>
                  </a:lnTo>
                  <a:lnTo>
                    <a:pt x="16786" y="21375"/>
                  </a:lnTo>
                  <a:lnTo>
                    <a:pt x="15608" y="21937"/>
                  </a:lnTo>
                  <a:lnTo>
                    <a:pt x="11780" y="24187"/>
                  </a:lnTo>
                  <a:lnTo>
                    <a:pt x="7951" y="23343"/>
                  </a:lnTo>
                  <a:lnTo>
                    <a:pt x="4417" y="20812"/>
                  </a:lnTo>
                  <a:lnTo>
                    <a:pt x="1178" y="18562"/>
                  </a:lnTo>
                  <a:lnTo>
                    <a:pt x="0" y="15187"/>
                  </a:lnTo>
                  <a:lnTo>
                    <a:pt x="588" y="11250"/>
                  </a:lnTo>
                  <a:lnTo>
                    <a:pt x="2061" y="4500"/>
                  </a:lnTo>
                  <a:lnTo>
                    <a:pt x="7068" y="0"/>
                  </a:lnTo>
                  <a:lnTo>
                    <a:pt x="13547" y="0"/>
                  </a:lnTo>
                  <a:lnTo>
                    <a:pt x="10896" y="4500"/>
                  </a:lnTo>
                  <a:lnTo>
                    <a:pt x="9129" y="7031"/>
                  </a:lnTo>
                  <a:lnTo>
                    <a:pt x="11780" y="8437"/>
                  </a:lnTo>
                  <a:lnTo>
                    <a:pt x="14430" y="9843"/>
                  </a:lnTo>
                  <a:lnTo>
                    <a:pt x="17375" y="11531"/>
                  </a:lnTo>
                  <a:lnTo>
                    <a:pt x="18848" y="8437"/>
                  </a:lnTo>
                  <a:lnTo>
                    <a:pt x="20615" y="1687"/>
                  </a:lnTo>
                  <a:lnTo>
                    <a:pt x="22382" y="5343"/>
                  </a:lnTo>
                  <a:lnTo>
                    <a:pt x="24149" y="9281"/>
                  </a:lnTo>
                  <a:lnTo>
                    <a:pt x="23560" y="13218"/>
                  </a:lnTo>
                  <a:lnTo>
                    <a:pt x="20909" y="16593"/>
                  </a:lnTo>
                  <a:lnTo>
                    <a:pt x="20615" y="17156"/>
                  </a:lnTo>
                  <a:lnTo>
                    <a:pt x="19142" y="17156"/>
                  </a:lnTo>
                  <a:lnTo>
                    <a:pt x="18553" y="16593"/>
                  </a:lnTo>
                  <a:lnTo>
                    <a:pt x="15314" y="15187"/>
                  </a:lnTo>
                  <a:lnTo>
                    <a:pt x="12074" y="13218"/>
                  </a:lnTo>
                  <a:lnTo>
                    <a:pt x="8835" y="11531"/>
                  </a:lnTo>
                  <a:lnTo>
                    <a:pt x="6773" y="1040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9" name="Google Shape;1879;p13"/>
            <p:cNvSpPr/>
            <p:nvPr/>
          </p:nvSpPr>
          <p:spPr>
            <a:xfrm>
              <a:off x="788340" y="6913722"/>
              <a:ext cx="9718" cy="8437"/>
            </a:xfrm>
            <a:custGeom>
              <a:avLst/>
              <a:gdLst/>
              <a:ahLst/>
              <a:cxnLst/>
              <a:rect l="l" t="t" r="r" b="b"/>
              <a:pathLst>
                <a:path w="9718" h="8437" extrusionOk="0">
                  <a:moveTo>
                    <a:pt x="2356" y="3656"/>
                  </a:moveTo>
                  <a:lnTo>
                    <a:pt x="0" y="4500"/>
                  </a:lnTo>
                  <a:lnTo>
                    <a:pt x="2650" y="0"/>
                  </a:lnTo>
                  <a:lnTo>
                    <a:pt x="6773" y="0"/>
                  </a:lnTo>
                  <a:lnTo>
                    <a:pt x="9718" y="1687"/>
                  </a:lnTo>
                  <a:lnTo>
                    <a:pt x="7951" y="8437"/>
                  </a:lnTo>
                  <a:lnTo>
                    <a:pt x="7068" y="6187"/>
                  </a:lnTo>
                  <a:lnTo>
                    <a:pt x="4712" y="4781"/>
                  </a:lnTo>
                  <a:lnTo>
                    <a:pt x="2356" y="365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0" name="Google Shape;1880;p13"/>
            <p:cNvSpPr/>
            <p:nvPr/>
          </p:nvSpPr>
          <p:spPr>
            <a:xfrm>
              <a:off x="842427" y="6961902"/>
              <a:ext cx="2557" cy="10125"/>
            </a:xfrm>
            <a:custGeom>
              <a:avLst/>
              <a:gdLst/>
              <a:ahLst/>
              <a:cxnLst/>
              <a:rect l="l" t="t" r="r" b="b"/>
              <a:pathLst>
                <a:path w="2557" h="10125" extrusionOk="0">
                  <a:moveTo>
                    <a:pt x="1420" y="10125"/>
                  </a:moveTo>
                  <a:lnTo>
                    <a:pt x="0" y="2531"/>
                  </a:lnTo>
                  <a:lnTo>
                    <a:pt x="1704" y="0"/>
                  </a:lnTo>
                  <a:lnTo>
                    <a:pt x="2557" y="9843"/>
                  </a:lnTo>
                  <a:lnTo>
                    <a:pt x="1420" y="1012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1" name="Google Shape;1881;p13"/>
            <p:cNvSpPr/>
            <p:nvPr/>
          </p:nvSpPr>
          <p:spPr>
            <a:xfrm>
              <a:off x="824528" y="6951215"/>
              <a:ext cx="24150" cy="24187"/>
            </a:xfrm>
            <a:custGeom>
              <a:avLst/>
              <a:gdLst/>
              <a:ahLst/>
              <a:cxnLst/>
              <a:rect l="l" t="t" r="r" b="b"/>
              <a:pathLst>
                <a:path w="24150" h="24187" extrusionOk="0">
                  <a:moveTo>
                    <a:pt x="9660" y="18843"/>
                  </a:moveTo>
                  <a:lnTo>
                    <a:pt x="11080" y="18562"/>
                  </a:lnTo>
                  <a:lnTo>
                    <a:pt x="13921" y="18562"/>
                  </a:lnTo>
                  <a:lnTo>
                    <a:pt x="15058" y="19406"/>
                  </a:lnTo>
                  <a:lnTo>
                    <a:pt x="16478" y="21656"/>
                  </a:lnTo>
                  <a:lnTo>
                    <a:pt x="13353" y="24187"/>
                  </a:lnTo>
                  <a:lnTo>
                    <a:pt x="8807" y="24187"/>
                  </a:lnTo>
                  <a:lnTo>
                    <a:pt x="5682" y="21656"/>
                  </a:lnTo>
                  <a:lnTo>
                    <a:pt x="1420" y="18843"/>
                  </a:lnTo>
                  <a:lnTo>
                    <a:pt x="0" y="14062"/>
                  </a:lnTo>
                  <a:lnTo>
                    <a:pt x="1988" y="9562"/>
                  </a:lnTo>
                  <a:lnTo>
                    <a:pt x="3693" y="5343"/>
                  </a:lnTo>
                  <a:lnTo>
                    <a:pt x="6818" y="2531"/>
                  </a:lnTo>
                  <a:lnTo>
                    <a:pt x="11364" y="1125"/>
                  </a:lnTo>
                  <a:lnTo>
                    <a:pt x="15342" y="0"/>
                  </a:lnTo>
                  <a:lnTo>
                    <a:pt x="18751" y="843"/>
                  </a:lnTo>
                  <a:lnTo>
                    <a:pt x="21593" y="3656"/>
                  </a:lnTo>
                  <a:lnTo>
                    <a:pt x="24150" y="6187"/>
                  </a:lnTo>
                  <a:lnTo>
                    <a:pt x="24150" y="9562"/>
                  </a:lnTo>
                  <a:lnTo>
                    <a:pt x="23581" y="13218"/>
                  </a:lnTo>
                  <a:lnTo>
                    <a:pt x="23297" y="13781"/>
                  </a:lnTo>
                  <a:lnTo>
                    <a:pt x="23297" y="14343"/>
                  </a:lnTo>
                  <a:lnTo>
                    <a:pt x="23013" y="14625"/>
                  </a:lnTo>
                  <a:lnTo>
                    <a:pt x="20456" y="20531"/>
                  </a:lnTo>
                  <a:lnTo>
                    <a:pt x="19604" y="10687"/>
                  </a:lnTo>
                  <a:lnTo>
                    <a:pt x="19604" y="8718"/>
                  </a:lnTo>
                  <a:lnTo>
                    <a:pt x="17899" y="6750"/>
                  </a:lnTo>
                  <a:lnTo>
                    <a:pt x="15910" y="4781"/>
                  </a:lnTo>
                  <a:lnTo>
                    <a:pt x="13921" y="4781"/>
                  </a:lnTo>
                  <a:lnTo>
                    <a:pt x="11648" y="6468"/>
                  </a:lnTo>
                  <a:lnTo>
                    <a:pt x="13637" y="8718"/>
                  </a:lnTo>
                  <a:lnTo>
                    <a:pt x="15626" y="10968"/>
                  </a:lnTo>
                  <a:lnTo>
                    <a:pt x="17899" y="13218"/>
                  </a:lnTo>
                  <a:lnTo>
                    <a:pt x="19320" y="20812"/>
                  </a:lnTo>
                  <a:lnTo>
                    <a:pt x="14774" y="16312"/>
                  </a:lnTo>
                  <a:lnTo>
                    <a:pt x="13069" y="14625"/>
                  </a:lnTo>
                  <a:lnTo>
                    <a:pt x="11364" y="12937"/>
                  </a:lnTo>
                  <a:lnTo>
                    <a:pt x="9375" y="10968"/>
                  </a:lnTo>
                  <a:lnTo>
                    <a:pt x="8239" y="9843"/>
                  </a:lnTo>
                  <a:lnTo>
                    <a:pt x="7102" y="10125"/>
                  </a:lnTo>
                  <a:lnTo>
                    <a:pt x="6534" y="11531"/>
                  </a:lnTo>
                  <a:lnTo>
                    <a:pt x="6250" y="13218"/>
                  </a:lnTo>
                  <a:lnTo>
                    <a:pt x="5966" y="15187"/>
                  </a:lnTo>
                  <a:lnTo>
                    <a:pt x="6818" y="16031"/>
                  </a:lnTo>
                  <a:lnTo>
                    <a:pt x="7671" y="17437"/>
                  </a:lnTo>
                  <a:lnTo>
                    <a:pt x="9660" y="1884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2" name="Google Shape;1882;p13"/>
            <p:cNvSpPr/>
            <p:nvPr/>
          </p:nvSpPr>
          <p:spPr>
            <a:xfrm>
              <a:off x="839026" y="6966939"/>
              <a:ext cx="27771" cy="29025"/>
            </a:xfrm>
            <a:custGeom>
              <a:avLst/>
              <a:gdLst/>
              <a:ahLst/>
              <a:cxnLst/>
              <a:rect l="l" t="t" r="r" b="b"/>
              <a:pathLst>
                <a:path w="27771" h="29025" extrusionOk="0">
                  <a:moveTo>
                    <a:pt x="13456" y="20816"/>
                  </a:moveTo>
                  <a:lnTo>
                    <a:pt x="16892" y="17884"/>
                  </a:lnTo>
                  <a:lnTo>
                    <a:pt x="20041" y="14659"/>
                  </a:lnTo>
                  <a:lnTo>
                    <a:pt x="21186" y="13779"/>
                  </a:lnTo>
                  <a:lnTo>
                    <a:pt x="21473" y="11727"/>
                  </a:lnTo>
                  <a:lnTo>
                    <a:pt x="21186" y="10554"/>
                  </a:lnTo>
                  <a:lnTo>
                    <a:pt x="20327" y="8502"/>
                  </a:lnTo>
                  <a:lnTo>
                    <a:pt x="18609" y="7622"/>
                  </a:lnTo>
                  <a:lnTo>
                    <a:pt x="16319" y="8209"/>
                  </a:lnTo>
                  <a:lnTo>
                    <a:pt x="14887" y="8502"/>
                  </a:lnTo>
                  <a:lnTo>
                    <a:pt x="13742" y="9381"/>
                  </a:lnTo>
                  <a:lnTo>
                    <a:pt x="12597" y="10261"/>
                  </a:lnTo>
                  <a:lnTo>
                    <a:pt x="10020" y="12313"/>
                  </a:lnTo>
                  <a:lnTo>
                    <a:pt x="7443" y="14366"/>
                  </a:lnTo>
                  <a:lnTo>
                    <a:pt x="4867" y="16711"/>
                  </a:lnTo>
                  <a:lnTo>
                    <a:pt x="3149" y="18177"/>
                  </a:lnTo>
                  <a:lnTo>
                    <a:pt x="2290" y="17591"/>
                  </a:lnTo>
                  <a:lnTo>
                    <a:pt x="1145" y="16125"/>
                  </a:lnTo>
                  <a:lnTo>
                    <a:pt x="0" y="14366"/>
                  </a:lnTo>
                  <a:lnTo>
                    <a:pt x="0" y="13486"/>
                  </a:lnTo>
                  <a:lnTo>
                    <a:pt x="1717" y="12313"/>
                  </a:lnTo>
                  <a:lnTo>
                    <a:pt x="6012" y="8795"/>
                  </a:lnTo>
                  <a:lnTo>
                    <a:pt x="10307" y="4984"/>
                  </a:lnTo>
                  <a:lnTo>
                    <a:pt x="14887" y="1172"/>
                  </a:lnTo>
                  <a:lnTo>
                    <a:pt x="15746" y="586"/>
                  </a:lnTo>
                  <a:lnTo>
                    <a:pt x="17751" y="0"/>
                  </a:lnTo>
                  <a:lnTo>
                    <a:pt x="18323" y="293"/>
                  </a:lnTo>
                  <a:lnTo>
                    <a:pt x="19755" y="1172"/>
                  </a:lnTo>
                  <a:lnTo>
                    <a:pt x="21186" y="2638"/>
                  </a:lnTo>
                  <a:lnTo>
                    <a:pt x="19468" y="4984"/>
                  </a:lnTo>
                  <a:lnTo>
                    <a:pt x="23763" y="5277"/>
                  </a:lnTo>
                  <a:lnTo>
                    <a:pt x="25767" y="7622"/>
                  </a:lnTo>
                  <a:lnTo>
                    <a:pt x="26912" y="10847"/>
                  </a:lnTo>
                  <a:lnTo>
                    <a:pt x="27771" y="13486"/>
                  </a:lnTo>
                  <a:lnTo>
                    <a:pt x="27199" y="15831"/>
                  </a:lnTo>
                  <a:lnTo>
                    <a:pt x="25481" y="17297"/>
                  </a:lnTo>
                  <a:lnTo>
                    <a:pt x="21473" y="21109"/>
                  </a:lnTo>
                  <a:lnTo>
                    <a:pt x="17464" y="24334"/>
                  </a:lnTo>
                  <a:lnTo>
                    <a:pt x="13170" y="27852"/>
                  </a:lnTo>
                  <a:lnTo>
                    <a:pt x="11738" y="29025"/>
                  </a:lnTo>
                  <a:lnTo>
                    <a:pt x="10879" y="28438"/>
                  </a:lnTo>
                  <a:lnTo>
                    <a:pt x="9734" y="27266"/>
                  </a:lnTo>
                  <a:lnTo>
                    <a:pt x="8875" y="25800"/>
                  </a:lnTo>
                  <a:lnTo>
                    <a:pt x="8302" y="24920"/>
                  </a:lnTo>
                  <a:lnTo>
                    <a:pt x="10020" y="23747"/>
                  </a:lnTo>
                  <a:lnTo>
                    <a:pt x="13456" y="2081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3" name="Google Shape;1883;p13"/>
            <p:cNvSpPr/>
            <p:nvPr/>
          </p:nvSpPr>
          <p:spPr>
            <a:xfrm>
              <a:off x="712242" y="6884701"/>
              <a:ext cx="22941" cy="26606"/>
            </a:xfrm>
            <a:custGeom>
              <a:avLst/>
              <a:gdLst/>
              <a:ahLst/>
              <a:cxnLst/>
              <a:rect l="l" t="t" r="r" b="b"/>
              <a:pathLst>
                <a:path w="22941" h="26606" extrusionOk="0">
                  <a:moveTo>
                    <a:pt x="12179" y="1981"/>
                  </a:moveTo>
                  <a:lnTo>
                    <a:pt x="13595" y="1415"/>
                  </a:lnTo>
                  <a:lnTo>
                    <a:pt x="15294" y="1415"/>
                  </a:lnTo>
                  <a:lnTo>
                    <a:pt x="20109" y="1698"/>
                  </a:lnTo>
                  <a:lnTo>
                    <a:pt x="22941" y="4811"/>
                  </a:lnTo>
                  <a:lnTo>
                    <a:pt x="22092" y="9623"/>
                  </a:lnTo>
                  <a:lnTo>
                    <a:pt x="21525" y="14718"/>
                  </a:lnTo>
                  <a:lnTo>
                    <a:pt x="20109" y="19530"/>
                  </a:lnTo>
                  <a:lnTo>
                    <a:pt x="18693" y="24625"/>
                  </a:lnTo>
                  <a:lnTo>
                    <a:pt x="18410" y="26606"/>
                  </a:lnTo>
                  <a:lnTo>
                    <a:pt x="16993" y="26040"/>
                  </a:lnTo>
                  <a:lnTo>
                    <a:pt x="15861" y="25757"/>
                  </a:lnTo>
                  <a:lnTo>
                    <a:pt x="14444" y="25474"/>
                  </a:lnTo>
                  <a:lnTo>
                    <a:pt x="13311" y="24908"/>
                  </a:lnTo>
                  <a:lnTo>
                    <a:pt x="13878" y="23209"/>
                  </a:lnTo>
                  <a:lnTo>
                    <a:pt x="14444" y="19813"/>
                  </a:lnTo>
                  <a:lnTo>
                    <a:pt x="15294" y="16416"/>
                  </a:lnTo>
                  <a:lnTo>
                    <a:pt x="16144" y="13303"/>
                  </a:lnTo>
                  <a:lnTo>
                    <a:pt x="16427" y="11887"/>
                  </a:lnTo>
                  <a:lnTo>
                    <a:pt x="16993" y="10755"/>
                  </a:lnTo>
                  <a:lnTo>
                    <a:pt x="16710" y="9340"/>
                  </a:lnTo>
                  <a:lnTo>
                    <a:pt x="16427" y="8208"/>
                  </a:lnTo>
                  <a:lnTo>
                    <a:pt x="15577" y="6510"/>
                  </a:lnTo>
                  <a:lnTo>
                    <a:pt x="14728" y="6227"/>
                  </a:lnTo>
                  <a:lnTo>
                    <a:pt x="13595" y="5660"/>
                  </a:lnTo>
                  <a:lnTo>
                    <a:pt x="11895" y="5943"/>
                  </a:lnTo>
                  <a:lnTo>
                    <a:pt x="10762" y="6793"/>
                  </a:lnTo>
                  <a:lnTo>
                    <a:pt x="9629" y="7642"/>
                  </a:lnTo>
                  <a:lnTo>
                    <a:pt x="8780" y="9340"/>
                  </a:lnTo>
                  <a:lnTo>
                    <a:pt x="8213" y="10755"/>
                  </a:lnTo>
                  <a:lnTo>
                    <a:pt x="7364" y="13869"/>
                  </a:lnTo>
                  <a:lnTo>
                    <a:pt x="6514" y="17265"/>
                  </a:lnTo>
                  <a:lnTo>
                    <a:pt x="5947" y="20379"/>
                  </a:lnTo>
                  <a:lnTo>
                    <a:pt x="5381" y="22077"/>
                  </a:lnTo>
                  <a:lnTo>
                    <a:pt x="5098" y="23209"/>
                  </a:lnTo>
                  <a:lnTo>
                    <a:pt x="3115" y="22643"/>
                  </a:lnTo>
                  <a:lnTo>
                    <a:pt x="1132" y="22077"/>
                  </a:lnTo>
                  <a:lnTo>
                    <a:pt x="0" y="21228"/>
                  </a:lnTo>
                  <a:lnTo>
                    <a:pt x="566" y="19247"/>
                  </a:lnTo>
                  <a:lnTo>
                    <a:pt x="2265" y="13869"/>
                  </a:lnTo>
                  <a:lnTo>
                    <a:pt x="3398" y="8208"/>
                  </a:lnTo>
                  <a:lnTo>
                    <a:pt x="4814" y="2830"/>
                  </a:lnTo>
                  <a:lnTo>
                    <a:pt x="5098" y="1698"/>
                  </a:lnTo>
                  <a:lnTo>
                    <a:pt x="6231" y="0"/>
                  </a:lnTo>
                  <a:lnTo>
                    <a:pt x="6514" y="0"/>
                  </a:lnTo>
                  <a:lnTo>
                    <a:pt x="7930" y="283"/>
                  </a:lnTo>
                  <a:lnTo>
                    <a:pt x="9346" y="1132"/>
                  </a:lnTo>
                  <a:lnTo>
                    <a:pt x="10762" y="1698"/>
                  </a:lnTo>
                  <a:lnTo>
                    <a:pt x="10762" y="1981"/>
                  </a:lnTo>
                  <a:lnTo>
                    <a:pt x="10479" y="2264"/>
                  </a:lnTo>
                  <a:lnTo>
                    <a:pt x="12179" y="198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4" name="Google Shape;1884;p13"/>
            <p:cNvSpPr/>
            <p:nvPr/>
          </p:nvSpPr>
          <p:spPr>
            <a:xfrm>
              <a:off x="853516" y="6981452"/>
              <a:ext cx="26564" cy="24187"/>
            </a:xfrm>
            <a:custGeom>
              <a:avLst/>
              <a:gdLst/>
              <a:ahLst/>
              <a:cxnLst/>
              <a:rect l="l" t="t" r="r" b="b"/>
              <a:pathLst>
                <a:path w="26564" h="24187" extrusionOk="0">
                  <a:moveTo>
                    <a:pt x="22890" y="0"/>
                  </a:moveTo>
                  <a:lnTo>
                    <a:pt x="24303" y="291"/>
                  </a:lnTo>
                  <a:lnTo>
                    <a:pt x="25433" y="2331"/>
                  </a:lnTo>
                  <a:lnTo>
                    <a:pt x="26564" y="4371"/>
                  </a:lnTo>
                  <a:lnTo>
                    <a:pt x="25716" y="4954"/>
                  </a:lnTo>
                  <a:lnTo>
                    <a:pt x="24303" y="5828"/>
                  </a:lnTo>
                  <a:lnTo>
                    <a:pt x="22607" y="6994"/>
                  </a:lnTo>
                  <a:lnTo>
                    <a:pt x="20912" y="8159"/>
                  </a:lnTo>
                  <a:lnTo>
                    <a:pt x="22607" y="10782"/>
                  </a:lnTo>
                  <a:lnTo>
                    <a:pt x="22890" y="11073"/>
                  </a:lnTo>
                  <a:lnTo>
                    <a:pt x="22042" y="12822"/>
                  </a:lnTo>
                  <a:lnTo>
                    <a:pt x="21194" y="13113"/>
                  </a:lnTo>
                  <a:lnTo>
                    <a:pt x="20912" y="13696"/>
                  </a:lnTo>
                  <a:lnTo>
                    <a:pt x="19499" y="13113"/>
                  </a:lnTo>
                  <a:lnTo>
                    <a:pt x="18934" y="12822"/>
                  </a:lnTo>
                  <a:lnTo>
                    <a:pt x="18368" y="12530"/>
                  </a:lnTo>
                  <a:lnTo>
                    <a:pt x="18086" y="11656"/>
                  </a:lnTo>
                  <a:lnTo>
                    <a:pt x="17521" y="11073"/>
                  </a:lnTo>
                  <a:lnTo>
                    <a:pt x="14129" y="13405"/>
                  </a:lnTo>
                  <a:lnTo>
                    <a:pt x="10738" y="15736"/>
                  </a:lnTo>
                  <a:lnTo>
                    <a:pt x="7630" y="18067"/>
                  </a:lnTo>
                  <a:lnTo>
                    <a:pt x="7064" y="18650"/>
                  </a:lnTo>
                  <a:lnTo>
                    <a:pt x="7064" y="20107"/>
                  </a:lnTo>
                  <a:lnTo>
                    <a:pt x="7347" y="20982"/>
                  </a:lnTo>
                  <a:lnTo>
                    <a:pt x="7912" y="22730"/>
                  </a:lnTo>
                  <a:lnTo>
                    <a:pt x="7347" y="23604"/>
                  </a:lnTo>
                  <a:lnTo>
                    <a:pt x="6217" y="24187"/>
                  </a:lnTo>
                  <a:lnTo>
                    <a:pt x="5369" y="24187"/>
                  </a:lnTo>
                  <a:lnTo>
                    <a:pt x="3956" y="23896"/>
                  </a:lnTo>
                  <a:lnTo>
                    <a:pt x="3108" y="23313"/>
                  </a:lnTo>
                  <a:lnTo>
                    <a:pt x="0" y="19816"/>
                  </a:lnTo>
                  <a:lnTo>
                    <a:pt x="282" y="16902"/>
                  </a:lnTo>
                  <a:lnTo>
                    <a:pt x="4238" y="13988"/>
                  </a:lnTo>
                  <a:lnTo>
                    <a:pt x="6782" y="11656"/>
                  </a:lnTo>
                  <a:lnTo>
                    <a:pt x="9608" y="9908"/>
                  </a:lnTo>
                  <a:lnTo>
                    <a:pt x="12434" y="7868"/>
                  </a:lnTo>
                  <a:lnTo>
                    <a:pt x="13564" y="6994"/>
                  </a:lnTo>
                  <a:lnTo>
                    <a:pt x="14412" y="6119"/>
                  </a:lnTo>
                  <a:lnTo>
                    <a:pt x="13564" y="4662"/>
                  </a:lnTo>
                  <a:lnTo>
                    <a:pt x="13282" y="4079"/>
                  </a:lnTo>
                  <a:lnTo>
                    <a:pt x="13564" y="2914"/>
                  </a:lnTo>
                  <a:lnTo>
                    <a:pt x="14129" y="2622"/>
                  </a:lnTo>
                  <a:lnTo>
                    <a:pt x="14695" y="2039"/>
                  </a:lnTo>
                  <a:lnTo>
                    <a:pt x="16390" y="1457"/>
                  </a:lnTo>
                  <a:lnTo>
                    <a:pt x="16390" y="1748"/>
                  </a:lnTo>
                  <a:lnTo>
                    <a:pt x="18368" y="4079"/>
                  </a:lnTo>
                  <a:lnTo>
                    <a:pt x="19781" y="2622"/>
                  </a:lnTo>
                  <a:lnTo>
                    <a:pt x="21194" y="1457"/>
                  </a:lnTo>
                  <a:lnTo>
                    <a:pt x="22890" y="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5" name="Google Shape;1885;p13"/>
            <p:cNvSpPr/>
            <p:nvPr/>
          </p:nvSpPr>
          <p:spPr>
            <a:xfrm>
              <a:off x="865592" y="7004434"/>
              <a:ext cx="33808" cy="29025"/>
            </a:xfrm>
            <a:custGeom>
              <a:avLst/>
              <a:gdLst/>
              <a:ahLst/>
              <a:cxnLst/>
              <a:rect l="l" t="t" r="r" b="b"/>
              <a:pathLst>
                <a:path w="33808" h="29025" extrusionOk="0">
                  <a:moveTo>
                    <a:pt x="16622" y="0"/>
                  </a:moveTo>
                  <a:lnTo>
                    <a:pt x="26483" y="0"/>
                  </a:lnTo>
                  <a:lnTo>
                    <a:pt x="30146" y="2561"/>
                  </a:lnTo>
                  <a:lnTo>
                    <a:pt x="32118" y="7683"/>
                  </a:lnTo>
                  <a:lnTo>
                    <a:pt x="33808" y="11951"/>
                  </a:lnTo>
                  <a:lnTo>
                    <a:pt x="33245" y="16220"/>
                  </a:lnTo>
                  <a:lnTo>
                    <a:pt x="30146" y="19065"/>
                  </a:lnTo>
                  <a:lnTo>
                    <a:pt x="29301" y="19634"/>
                  </a:lnTo>
                  <a:lnTo>
                    <a:pt x="27328" y="20204"/>
                  </a:lnTo>
                  <a:lnTo>
                    <a:pt x="27047" y="19919"/>
                  </a:lnTo>
                  <a:lnTo>
                    <a:pt x="26201" y="18496"/>
                  </a:lnTo>
                  <a:lnTo>
                    <a:pt x="24511" y="17073"/>
                  </a:lnTo>
                  <a:lnTo>
                    <a:pt x="25920" y="15081"/>
                  </a:lnTo>
                  <a:lnTo>
                    <a:pt x="28174" y="11951"/>
                  </a:lnTo>
                  <a:lnTo>
                    <a:pt x="28174" y="9106"/>
                  </a:lnTo>
                  <a:lnTo>
                    <a:pt x="25356" y="6829"/>
                  </a:lnTo>
                  <a:lnTo>
                    <a:pt x="24511" y="5975"/>
                  </a:lnTo>
                  <a:lnTo>
                    <a:pt x="22539" y="5406"/>
                  </a:lnTo>
                  <a:lnTo>
                    <a:pt x="21694" y="5975"/>
                  </a:lnTo>
                  <a:lnTo>
                    <a:pt x="20567" y="6260"/>
                  </a:lnTo>
                  <a:lnTo>
                    <a:pt x="19721" y="7967"/>
                  </a:lnTo>
                  <a:lnTo>
                    <a:pt x="19721" y="9106"/>
                  </a:lnTo>
                  <a:lnTo>
                    <a:pt x="20003" y="11951"/>
                  </a:lnTo>
                  <a:lnTo>
                    <a:pt x="20567" y="14512"/>
                  </a:lnTo>
                  <a:lnTo>
                    <a:pt x="21130" y="17358"/>
                  </a:lnTo>
                  <a:lnTo>
                    <a:pt x="21975" y="23334"/>
                  </a:lnTo>
                  <a:lnTo>
                    <a:pt x="19440" y="27318"/>
                  </a:lnTo>
                  <a:lnTo>
                    <a:pt x="14087" y="28740"/>
                  </a:lnTo>
                  <a:lnTo>
                    <a:pt x="13241" y="28740"/>
                  </a:lnTo>
                  <a:lnTo>
                    <a:pt x="12678" y="29025"/>
                  </a:lnTo>
                  <a:lnTo>
                    <a:pt x="12114" y="28740"/>
                  </a:lnTo>
                  <a:lnTo>
                    <a:pt x="7888" y="28740"/>
                  </a:lnTo>
                  <a:lnTo>
                    <a:pt x="3662" y="25041"/>
                  </a:lnTo>
                  <a:lnTo>
                    <a:pt x="1690" y="19919"/>
                  </a:lnTo>
                  <a:lnTo>
                    <a:pt x="0" y="14797"/>
                  </a:lnTo>
                  <a:lnTo>
                    <a:pt x="845" y="10528"/>
                  </a:lnTo>
                  <a:lnTo>
                    <a:pt x="4226" y="7683"/>
                  </a:lnTo>
                  <a:lnTo>
                    <a:pt x="5071" y="6829"/>
                  </a:lnTo>
                  <a:lnTo>
                    <a:pt x="7043" y="6260"/>
                  </a:lnTo>
                  <a:lnTo>
                    <a:pt x="7606" y="6829"/>
                  </a:lnTo>
                  <a:lnTo>
                    <a:pt x="9579" y="8252"/>
                  </a:lnTo>
                  <a:lnTo>
                    <a:pt x="9579" y="10244"/>
                  </a:lnTo>
                  <a:lnTo>
                    <a:pt x="8170" y="11667"/>
                  </a:lnTo>
                  <a:lnTo>
                    <a:pt x="5353" y="14797"/>
                  </a:lnTo>
                  <a:lnTo>
                    <a:pt x="5634" y="19919"/>
                  </a:lnTo>
                  <a:lnTo>
                    <a:pt x="9297" y="22196"/>
                  </a:lnTo>
                  <a:lnTo>
                    <a:pt x="10424" y="22765"/>
                  </a:lnTo>
                  <a:lnTo>
                    <a:pt x="12678" y="23049"/>
                  </a:lnTo>
                  <a:lnTo>
                    <a:pt x="13805" y="22480"/>
                  </a:lnTo>
                  <a:lnTo>
                    <a:pt x="14932" y="21626"/>
                  </a:lnTo>
                  <a:lnTo>
                    <a:pt x="15495" y="19634"/>
                  </a:lnTo>
                  <a:lnTo>
                    <a:pt x="15495" y="15366"/>
                  </a:lnTo>
                  <a:lnTo>
                    <a:pt x="14368" y="12520"/>
                  </a:lnTo>
                  <a:lnTo>
                    <a:pt x="13805" y="9959"/>
                  </a:lnTo>
                  <a:lnTo>
                    <a:pt x="12960" y="4268"/>
                  </a:lnTo>
                  <a:lnTo>
                    <a:pt x="16622" y="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6" name="Google Shape;1886;p13"/>
            <p:cNvSpPr/>
            <p:nvPr/>
          </p:nvSpPr>
          <p:spPr>
            <a:xfrm>
              <a:off x="893361" y="7110881"/>
              <a:ext cx="25356" cy="31445"/>
            </a:xfrm>
            <a:custGeom>
              <a:avLst/>
              <a:gdLst/>
              <a:ahLst/>
              <a:cxnLst/>
              <a:rect l="l" t="t" r="r" b="b"/>
              <a:pathLst>
                <a:path w="25356" h="31445" extrusionOk="0">
                  <a:moveTo>
                    <a:pt x="0" y="16013"/>
                  </a:moveTo>
                  <a:lnTo>
                    <a:pt x="0" y="13975"/>
                  </a:lnTo>
                  <a:lnTo>
                    <a:pt x="1165" y="13393"/>
                  </a:lnTo>
                  <a:lnTo>
                    <a:pt x="6995" y="13393"/>
                  </a:lnTo>
                  <a:lnTo>
                    <a:pt x="11366" y="13102"/>
                  </a:lnTo>
                  <a:lnTo>
                    <a:pt x="15447" y="12811"/>
                  </a:lnTo>
                  <a:lnTo>
                    <a:pt x="19236" y="12811"/>
                  </a:lnTo>
                  <a:lnTo>
                    <a:pt x="19527" y="10481"/>
                  </a:lnTo>
                  <a:lnTo>
                    <a:pt x="19819" y="8152"/>
                  </a:lnTo>
                  <a:lnTo>
                    <a:pt x="18653" y="6405"/>
                  </a:lnTo>
                  <a:lnTo>
                    <a:pt x="16613" y="6114"/>
                  </a:lnTo>
                  <a:lnTo>
                    <a:pt x="12532" y="5532"/>
                  </a:lnTo>
                  <a:lnTo>
                    <a:pt x="4080" y="5532"/>
                  </a:lnTo>
                  <a:lnTo>
                    <a:pt x="874" y="5823"/>
                  </a:lnTo>
                  <a:lnTo>
                    <a:pt x="0" y="5240"/>
                  </a:lnTo>
                  <a:lnTo>
                    <a:pt x="0" y="873"/>
                  </a:lnTo>
                  <a:lnTo>
                    <a:pt x="874" y="0"/>
                  </a:lnTo>
                  <a:lnTo>
                    <a:pt x="21859" y="0"/>
                  </a:lnTo>
                  <a:lnTo>
                    <a:pt x="23316" y="873"/>
                  </a:lnTo>
                  <a:lnTo>
                    <a:pt x="23316" y="1164"/>
                  </a:lnTo>
                  <a:lnTo>
                    <a:pt x="23608" y="2620"/>
                  </a:lnTo>
                  <a:lnTo>
                    <a:pt x="23025" y="4076"/>
                  </a:lnTo>
                  <a:lnTo>
                    <a:pt x="23025" y="5532"/>
                  </a:lnTo>
                  <a:lnTo>
                    <a:pt x="22733" y="5532"/>
                  </a:lnTo>
                  <a:lnTo>
                    <a:pt x="22442" y="5823"/>
                  </a:lnTo>
                  <a:lnTo>
                    <a:pt x="22150" y="5823"/>
                  </a:lnTo>
                  <a:lnTo>
                    <a:pt x="24774" y="9317"/>
                  </a:lnTo>
                  <a:lnTo>
                    <a:pt x="25356" y="13102"/>
                  </a:lnTo>
                  <a:lnTo>
                    <a:pt x="22442" y="16887"/>
                  </a:lnTo>
                  <a:lnTo>
                    <a:pt x="22150" y="17178"/>
                  </a:lnTo>
                  <a:lnTo>
                    <a:pt x="22442" y="18343"/>
                  </a:lnTo>
                  <a:lnTo>
                    <a:pt x="22733" y="18925"/>
                  </a:lnTo>
                  <a:lnTo>
                    <a:pt x="24774" y="21545"/>
                  </a:lnTo>
                  <a:lnTo>
                    <a:pt x="24482" y="24457"/>
                  </a:lnTo>
                  <a:lnTo>
                    <a:pt x="23899" y="27369"/>
                  </a:lnTo>
                  <a:lnTo>
                    <a:pt x="23025" y="30280"/>
                  </a:lnTo>
                  <a:lnTo>
                    <a:pt x="20693" y="31154"/>
                  </a:lnTo>
                  <a:lnTo>
                    <a:pt x="18361" y="31445"/>
                  </a:lnTo>
                  <a:lnTo>
                    <a:pt x="582" y="31445"/>
                  </a:lnTo>
                  <a:lnTo>
                    <a:pt x="291" y="29989"/>
                  </a:lnTo>
                  <a:lnTo>
                    <a:pt x="291" y="28242"/>
                  </a:lnTo>
                  <a:lnTo>
                    <a:pt x="0" y="26204"/>
                  </a:lnTo>
                  <a:lnTo>
                    <a:pt x="6995" y="26204"/>
                  </a:lnTo>
                  <a:lnTo>
                    <a:pt x="10783" y="26495"/>
                  </a:lnTo>
                  <a:lnTo>
                    <a:pt x="14572" y="26204"/>
                  </a:lnTo>
                  <a:lnTo>
                    <a:pt x="18070" y="26204"/>
                  </a:lnTo>
                  <a:lnTo>
                    <a:pt x="19527" y="25039"/>
                  </a:lnTo>
                  <a:lnTo>
                    <a:pt x="19527" y="20090"/>
                  </a:lnTo>
                  <a:lnTo>
                    <a:pt x="17779" y="18634"/>
                  </a:lnTo>
                  <a:lnTo>
                    <a:pt x="1165" y="18634"/>
                  </a:lnTo>
                  <a:lnTo>
                    <a:pt x="0" y="18051"/>
                  </a:lnTo>
                  <a:lnTo>
                    <a:pt x="0" y="1601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7" name="Google Shape;1887;p13"/>
            <p:cNvSpPr/>
            <p:nvPr/>
          </p:nvSpPr>
          <p:spPr>
            <a:xfrm>
              <a:off x="905496" y="7085719"/>
              <a:ext cx="10801" cy="20028"/>
            </a:xfrm>
            <a:custGeom>
              <a:avLst/>
              <a:gdLst/>
              <a:ahLst/>
              <a:cxnLst/>
              <a:rect l="l" t="t" r="r" b="b"/>
              <a:pathLst>
                <a:path w="10801" h="20028" extrusionOk="0">
                  <a:moveTo>
                    <a:pt x="8173" y="1741"/>
                  </a:moveTo>
                  <a:lnTo>
                    <a:pt x="10801" y="6095"/>
                  </a:lnTo>
                  <a:lnTo>
                    <a:pt x="9925" y="11320"/>
                  </a:lnTo>
                  <a:lnTo>
                    <a:pt x="9341" y="15674"/>
                  </a:lnTo>
                  <a:lnTo>
                    <a:pt x="4378" y="19737"/>
                  </a:lnTo>
                  <a:lnTo>
                    <a:pt x="0" y="20028"/>
                  </a:lnTo>
                  <a:lnTo>
                    <a:pt x="875" y="14222"/>
                  </a:lnTo>
                  <a:lnTo>
                    <a:pt x="3795" y="13352"/>
                  </a:lnTo>
                  <a:lnTo>
                    <a:pt x="5254" y="11900"/>
                  </a:lnTo>
                  <a:lnTo>
                    <a:pt x="5254" y="6966"/>
                  </a:lnTo>
                  <a:lnTo>
                    <a:pt x="3795" y="5514"/>
                  </a:lnTo>
                  <a:lnTo>
                    <a:pt x="1751" y="4934"/>
                  </a:lnTo>
                  <a:lnTo>
                    <a:pt x="3211" y="0"/>
                  </a:lnTo>
                  <a:lnTo>
                    <a:pt x="8173" y="174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8" name="Google Shape;1888;p13"/>
            <p:cNvSpPr/>
            <p:nvPr/>
          </p:nvSpPr>
          <p:spPr>
            <a:xfrm>
              <a:off x="889732" y="7084268"/>
              <a:ext cx="18975" cy="21769"/>
            </a:xfrm>
            <a:custGeom>
              <a:avLst/>
              <a:gdLst/>
              <a:ahLst/>
              <a:cxnLst/>
              <a:rect l="l" t="t" r="r" b="b"/>
              <a:pathLst>
                <a:path w="18975" h="21769" extrusionOk="0">
                  <a:moveTo>
                    <a:pt x="5546" y="13352"/>
                  </a:moveTo>
                  <a:lnTo>
                    <a:pt x="6422" y="15383"/>
                  </a:lnTo>
                  <a:lnTo>
                    <a:pt x="8757" y="16544"/>
                  </a:lnTo>
                  <a:lnTo>
                    <a:pt x="11093" y="17705"/>
                  </a:lnTo>
                  <a:lnTo>
                    <a:pt x="10509" y="19737"/>
                  </a:lnTo>
                  <a:lnTo>
                    <a:pt x="10801" y="21479"/>
                  </a:lnTo>
                  <a:lnTo>
                    <a:pt x="6422" y="21769"/>
                  </a:lnTo>
                  <a:lnTo>
                    <a:pt x="3211" y="19447"/>
                  </a:lnTo>
                  <a:lnTo>
                    <a:pt x="1751" y="15093"/>
                  </a:lnTo>
                  <a:lnTo>
                    <a:pt x="0" y="10739"/>
                  </a:lnTo>
                  <a:lnTo>
                    <a:pt x="1459" y="6095"/>
                  </a:lnTo>
                  <a:lnTo>
                    <a:pt x="4962" y="3483"/>
                  </a:lnTo>
                  <a:lnTo>
                    <a:pt x="9341" y="580"/>
                  </a:lnTo>
                  <a:lnTo>
                    <a:pt x="14012" y="0"/>
                  </a:lnTo>
                  <a:lnTo>
                    <a:pt x="18975" y="1451"/>
                  </a:lnTo>
                  <a:lnTo>
                    <a:pt x="17515" y="6385"/>
                  </a:lnTo>
                  <a:lnTo>
                    <a:pt x="15764" y="5805"/>
                  </a:lnTo>
                  <a:lnTo>
                    <a:pt x="15180" y="6385"/>
                  </a:lnTo>
                  <a:lnTo>
                    <a:pt x="15180" y="8127"/>
                  </a:lnTo>
                  <a:lnTo>
                    <a:pt x="15764" y="10449"/>
                  </a:lnTo>
                  <a:lnTo>
                    <a:pt x="16056" y="12771"/>
                  </a:lnTo>
                  <a:lnTo>
                    <a:pt x="16639" y="15674"/>
                  </a:lnTo>
                  <a:lnTo>
                    <a:pt x="15764" y="21479"/>
                  </a:lnTo>
                  <a:lnTo>
                    <a:pt x="13720" y="21769"/>
                  </a:lnTo>
                  <a:lnTo>
                    <a:pt x="13136" y="20608"/>
                  </a:lnTo>
                  <a:lnTo>
                    <a:pt x="12844" y="18576"/>
                  </a:lnTo>
                  <a:lnTo>
                    <a:pt x="12260" y="14803"/>
                  </a:lnTo>
                  <a:lnTo>
                    <a:pt x="11677" y="10739"/>
                  </a:lnTo>
                  <a:lnTo>
                    <a:pt x="11093" y="6676"/>
                  </a:lnTo>
                  <a:lnTo>
                    <a:pt x="7882" y="7256"/>
                  </a:lnTo>
                  <a:lnTo>
                    <a:pt x="6130" y="8707"/>
                  </a:lnTo>
                  <a:lnTo>
                    <a:pt x="5838" y="11029"/>
                  </a:lnTo>
                  <a:lnTo>
                    <a:pt x="5546" y="1335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9" name="Google Shape;1889;p13"/>
            <p:cNvSpPr/>
            <p:nvPr/>
          </p:nvSpPr>
          <p:spPr>
            <a:xfrm>
              <a:off x="866788" y="7028626"/>
              <a:ext cx="36225" cy="20559"/>
            </a:xfrm>
            <a:custGeom>
              <a:avLst/>
              <a:gdLst/>
              <a:ahLst/>
              <a:cxnLst/>
              <a:rect l="l" t="t" r="r" b="b"/>
              <a:pathLst>
                <a:path w="36225" h="20559" extrusionOk="0">
                  <a:moveTo>
                    <a:pt x="570" y="15772"/>
                  </a:moveTo>
                  <a:lnTo>
                    <a:pt x="0" y="14363"/>
                  </a:lnTo>
                  <a:lnTo>
                    <a:pt x="0" y="13237"/>
                  </a:lnTo>
                  <a:lnTo>
                    <a:pt x="1711" y="12392"/>
                  </a:lnTo>
                  <a:lnTo>
                    <a:pt x="3422" y="11547"/>
                  </a:lnTo>
                  <a:lnTo>
                    <a:pt x="4278" y="11828"/>
                  </a:lnTo>
                  <a:lnTo>
                    <a:pt x="5134" y="13518"/>
                  </a:lnTo>
                  <a:lnTo>
                    <a:pt x="6275" y="16053"/>
                  </a:lnTo>
                  <a:lnTo>
                    <a:pt x="9127" y="16053"/>
                  </a:lnTo>
                  <a:lnTo>
                    <a:pt x="11694" y="14082"/>
                  </a:lnTo>
                  <a:lnTo>
                    <a:pt x="16544" y="9857"/>
                  </a:lnTo>
                  <a:lnTo>
                    <a:pt x="21393" y="5632"/>
                  </a:lnTo>
                  <a:lnTo>
                    <a:pt x="26242" y="1126"/>
                  </a:lnTo>
                  <a:lnTo>
                    <a:pt x="26812" y="844"/>
                  </a:lnTo>
                  <a:lnTo>
                    <a:pt x="27383" y="281"/>
                  </a:lnTo>
                  <a:lnTo>
                    <a:pt x="27953" y="0"/>
                  </a:lnTo>
                  <a:lnTo>
                    <a:pt x="30806" y="3379"/>
                  </a:lnTo>
                  <a:lnTo>
                    <a:pt x="30806" y="4787"/>
                  </a:lnTo>
                  <a:lnTo>
                    <a:pt x="27668" y="7322"/>
                  </a:lnTo>
                  <a:lnTo>
                    <a:pt x="24530" y="9575"/>
                  </a:lnTo>
                  <a:lnTo>
                    <a:pt x="21678" y="12110"/>
                  </a:lnTo>
                  <a:lnTo>
                    <a:pt x="18825" y="14645"/>
                  </a:lnTo>
                  <a:lnTo>
                    <a:pt x="18825" y="15208"/>
                  </a:lnTo>
                  <a:lnTo>
                    <a:pt x="19111" y="15490"/>
                  </a:lnTo>
                  <a:lnTo>
                    <a:pt x="22534" y="15208"/>
                  </a:lnTo>
                  <a:lnTo>
                    <a:pt x="26242" y="14927"/>
                  </a:lnTo>
                  <a:lnTo>
                    <a:pt x="29665" y="14363"/>
                  </a:lnTo>
                  <a:lnTo>
                    <a:pt x="33943" y="14082"/>
                  </a:lnTo>
                  <a:lnTo>
                    <a:pt x="34799" y="14645"/>
                  </a:lnTo>
                  <a:lnTo>
                    <a:pt x="35655" y="17180"/>
                  </a:lnTo>
                  <a:lnTo>
                    <a:pt x="36225" y="18588"/>
                  </a:lnTo>
                  <a:lnTo>
                    <a:pt x="35940" y="19151"/>
                  </a:lnTo>
                  <a:lnTo>
                    <a:pt x="34229" y="19151"/>
                  </a:lnTo>
                  <a:lnTo>
                    <a:pt x="21545" y="19776"/>
                  </a:lnTo>
                  <a:lnTo>
                    <a:pt x="8831" y="20208"/>
                  </a:lnTo>
                  <a:lnTo>
                    <a:pt x="6560" y="20278"/>
                  </a:lnTo>
                  <a:lnTo>
                    <a:pt x="3422" y="20559"/>
                  </a:lnTo>
                  <a:lnTo>
                    <a:pt x="1711" y="18870"/>
                  </a:lnTo>
                  <a:lnTo>
                    <a:pt x="570" y="1577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0" name="Google Shape;1890;p13"/>
            <p:cNvSpPr/>
            <p:nvPr/>
          </p:nvSpPr>
          <p:spPr>
            <a:xfrm>
              <a:off x="881282" y="7050398"/>
              <a:ext cx="27772" cy="24188"/>
            </a:xfrm>
            <a:custGeom>
              <a:avLst/>
              <a:gdLst/>
              <a:ahLst/>
              <a:cxnLst/>
              <a:rect l="l" t="t" r="r" b="b"/>
              <a:pathLst>
                <a:path w="27772" h="24188" extrusionOk="0">
                  <a:moveTo>
                    <a:pt x="24909" y="15651"/>
                  </a:moveTo>
                  <a:lnTo>
                    <a:pt x="24050" y="16789"/>
                  </a:lnTo>
                  <a:lnTo>
                    <a:pt x="22332" y="17358"/>
                  </a:lnTo>
                  <a:lnTo>
                    <a:pt x="21187" y="18212"/>
                  </a:lnTo>
                  <a:lnTo>
                    <a:pt x="20328" y="16504"/>
                  </a:lnTo>
                  <a:lnTo>
                    <a:pt x="19183" y="14797"/>
                  </a:lnTo>
                  <a:lnTo>
                    <a:pt x="20614" y="12805"/>
                  </a:lnTo>
                  <a:lnTo>
                    <a:pt x="20900" y="12236"/>
                  </a:lnTo>
                  <a:lnTo>
                    <a:pt x="21473" y="10813"/>
                  </a:lnTo>
                  <a:lnTo>
                    <a:pt x="21187" y="10244"/>
                  </a:lnTo>
                  <a:lnTo>
                    <a:pt x="20614" y="8821"/>
                  </a:lnTo>
                  <a:lnTo>
                    <a:pt x="19469" y="7967"/>
                  </a:lnTo>
                  <a:lnTo>
                    <a:pt x="18610" y="6829"/>
                  </a:lnTo>
                  <a:lnTo>
                    <a:pt x="18037" y="7967"/>
                  </a:lnTo>
                  <a:lnTo>
                    <a:pt x="17178" y="9106"/>
                  </a:lnTo>
                  <a:lnTo>
                    <a:pt x="16892" y="10244"/>
                  </a:lnTo>
                  <a:lnTo>
                    <a:pt x="16606" y="11382"/>
                  </a:lnTo>
                  <a:lnTo>
                    <a:pt x="16892" y="12521"/>
                  </a:lnTo>
                  <a:lnTo>
                    <a:pt x="16892" y="21342"/>
                  </a:lnTo>
                  <a:lnTo>
                    <a:pt x="11738" y="24188"/>
                  </a:lnTo>
                  <a:lnTo>
                    <a:pt x="6871" y="21627"/>
                  </a:lnTo>
                  <a:lnTo>
                    <a:pt x="1431" y="18781"/>
                  </a:lnTo>
                  <a:lnTo>
                    <a:pt x="0" y="9106"/>
                  </a:lnTo>
                  <a:lnTo>
                    <a:pt x="4581" y="5406"/>
                  </a:lnTo>
                  <a:lnTo>
                    <a:pt x="5439" y="4837"/>
                  </a:lnTo>
                  <a:lnTo>
                    <a:pt x="7444" y="4268"/>
                  </a:lnTo>
                  <a:lnTo>
                    <a:pt x="7730" y="4553"/>
                  </a:lnTo>
                  <a:lnTo>
                    <a:pt x="8589" y="5975"/>
                  </a:lnTo>
                  <a:lnTo>
                    <a:pt x="9734" y="7398"/>
                  </a:lnTo>
                  <a:lnTo>
                    <a:pt x="8016" y="9390"/>
                  </a:lnTo>
                  <a:lnTo>
                    <a:pt x="6012" y="11667"/>
                  </a:lnTo>
                  <a:lnTo>
                    <a:pt x="6012" y="13659"/>
                  </a:lnTo>
                  <a:lnTo>
                    <a:pt x="8016" y="16220"/>
                  </a:lnTo>
                  <a:lnTo>
                    <a:pt x="9162" y="17927"/>
                  </a:lnTo>
                  <a:lnTo>
                    <a:pt x="10879" y="17643"/>
                  </a:lnTo>
                  <a:lnTo>
                    <a:pt x="11738" y="15651"/>
                  </a:lnTo>
                  <a:lnTo>
                    <a:pt x="12025" y="14797"/>
                  </a:lnTo>
                  <a:lnTo>
                    <a:pt x="12025" y="9959"/>
                  </a:lnTo>
                  <a:lnTo>
                    <a:pt x="11738" y="7967"/>
                  </a:lnTo>
                  <a:lnTo>
                    <a:pt x="12311" y="5691"/>
                  </a:lnTo>
                  <a:lnTo>
                    <a:pt x="13170" y="1707"/>
                  </a:lnTo>
                  <a:lnTo>
                    <a:pt x="17751" y="0"/>
                  </a:lnTo>
                  <a:lnTo>
                    <a:pt x="21473" y="1991"/>
                  </a:lnTo>
                  <a:lnTo>
                    <a:pt x="25481" y="4268"/>
                  </a:lnTo>
                  <a:lnTo>
                    <a:pt x="27772" y="11951"/>
                  </a:lnTo>
                  <a:lnTo>
                    <a:pt x="24909" y="1565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1" name="Google Shape;1891;p13"/>
            <p:cNvSpPr/>
            <p:nvPr/>
          </p:nvSpPr>
          <p:spPr>
            <a:xfrm>
              <a:off x="888533" y="7069751"/>
              <a:ext cx="30186" cy="16931"/>
            </a:xfrm>
            <a:custGeom>
              <a:avLst/>
              <a:gdLst/>
              <a:ahLst/>
              <a:cxnLst/>
              <a:rect l="l" t="t" r="r" b="b"/>
              <a:pathLst>
                <a:path w="30186" h="16931" extrusionOk="0">
                  <a:moveTo>
                    <a:pt x="17705" y="9470"/>
                  </a:moveTo>
                  <a:lnTo>
                    <a:pt x="15964" y="10044"/>
                  </a:lnTo>
                  <a:lnTo>
                    <a:pt x="13351" y="10618"/>
                  </a:lnTo>
                  <a:lnTo>
                    <a:pt x="10158" y="11192"/>
                  </a:lnTo>
                  <a:lnTo>
                    <a:pt x="7546" y="12053"/>
                  </a:lnTo>
                  <a:lnTo>
                    <a:pt x="6675" y="12340"/>
                  </a:lnTo>
                  <a:lnTo>
                    <a:pt x="5514" y="13775"/>
                  </a:lnTo>
                  <a:lnTo>
                    <a:pt x="5514" y="14636"/>
                  </a:lnTo>
                  <a:lnTo>
                    <a:pt x="5224" y="16070"/>
                  </a:lnTo>
                  <a:lnTo>
                    <a:pt x="4644" y="16931"/>
                  </a:lnTo>
                  <a:lnTo>
                    <a:pt x="2612" y="16931"/>
                  </a:lnTo>
                  <a:lnTo>
                    <a:pt x="1451" y="16070"/>
                  </a:lnTo>
                  <a:lnTo>
                    <a:pt x="870" y="15209"/>
                  </a:lnTo>
                  <a:lnTo>
                    <a:pt x="290" y="14636"/>
                  </a:lnTo>
                  <a:lnTo>
                    <a:pt x="290" y="13201"/>
                  </a:lnTo>
                  <a:lnTo>
                    <a:pt x="0" y="12627"/>
                  </a:lnTo>
                  <a:lnTo>
                    <a:pt x="290" y="9757"/>
                  </a:lnTo>
                  <a:lnTo>
                    <a:pt x="870" y="8035"/>
                  </a:lnTo>
                  <a:lnTo>
                    <a:pt x="3483" y="7461"/>
                  </a:lnTo>
                  <a:lnTo>
                    <a:pt x="7256" y="6600"/>
                  </a:lnTo>
                  <a:lnTo>
                    <a:pt x="11319" y="5452"/>
                  </a:lnTo>
                  <a:lnTo>
                    <a:pt x="15093" y="4591"/>
                  </a:lnTo>
                  <a:lnTo>
                    <a:pt x="16544" y="4304"/>
                  </a:lnTo>
                  <a:lnTo>
                    <a:pt x="17705" y="4017"/>
                  </a:lnTo>
                  <a:lnTo>
                    <a:pt x="17415" y="2008"/>
                  </a:lnTo>
                  <a:lnTo>
                    <a:pt x="17415" y="1434"/>
                  </a:lnTo>
                  <a:lnTo>
                    <a:pt x="18576" y="573"/>
                  </a:lnTo>
                  <a:lnTo>
                    <a:pt x="19156" y="286"/>
                  </a:lnTo>
                  <a:lnTo>
                    <a:pt x="19737" y="0"/>
                  </a:lnTo>
                  <a:lnTo>
                    <a:pt x="21188" y="573"/>
                  </a:lnTo>
                  <a:lnTo>
                    <a:pt x="21478" y="1147"/>
                  </a:lnTo>
                  <a:lnTo>
                    <a:pt x="22349" y="3443"/>
                  </a:lnTo>
                  <a:lnTo>
                    <a:pt x="24091" y="2869"/>
                  </a:lnTo>
                  <a:lnTo>
                    <a:pt x="25542" y="2295"/>
                  </a:lnTo>
                  <a:lnTo>
                    <a:pt x="27574" y="1721"/>
                  </a:lnTo>
                  <a:lnTo>
                    <a:pt x="29025" y="1721"/>
                  </a:lnTo>
                  <a:lnTo>
                    <a:pt x="29605" y="4304"/>
                  </a:lnTo>
                  <a:lnTo>
                    <a:pt x="30186" y="6600"/>
                  </a:lnTo>
                  <a:lnTo>
                    <a:pt x="28735" y="7174"/>
                  </a:lnTo>
                  <a:lnTo>
                    <a:pt x="26703" y="7461"/>
                  </a:lnTo>
                  <a:lnTo>
                    <a:pt x="24671" y="7748"/>
                  </a:lnTo>
                  <a:lnTo>
                    <a:pt x="23220" y="8322"/>
                  </a:lnTo>
                  <a:lnTo>
                    <a:pt x="23800" y="10905"/>
                  </a:lnTo>
                  <a:lnTo>
                    <a:pt x="23800" y="11479"/>
                  </a:lnTo>
                  <a:lnTo>
                    <a:pt x="22639" y="12627"/>
                  </a:lnTo>
                  <a:lnTo>
                    <a:pt x="21769" y="12627"/>
                  </a:lnTo>
                  <a:lnTo>
                    <a:pt x="21188" y="12914"/>
                  </a:lnTo>
                  <a:lnTo>
                    <a:pt x="19737" y="12340"/>
                  </a:lnTo>
                  <a:lnTo>
                    <a:pt x="19737" y="11766"/>
                  </a:lnTo>
                  <a:lnTo>
                    <a:pt x="19156" y="9470"/>
                  </a:lnTo>
                  <a:lnTo>
                    <a:pt x="17705" y="947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2" name="Google Shape;1892;p13"/>
            <p:cNvSpPr/>
            <p:nvPr/>
          </p:nvSpPr>
          <p:spPr>
            <a:xfrm>
              <a:off x="605970" y="6876246"/>
              <a:ext cx="33810" cy="37492"/>
            </a:xfrm>
            <a:custGeom>
              <a:avLst/>
              <a:gdLst/>
              <a:ahLst/>
              <a:cxnLst/>
              <a:rect l="l" t="t" r="r" b="b"/>
              <a:pathLst>
                <a:path w="33810" h="37492" extrusionOk="0">
                  <a:moveTo>
                    <a:pt x="288" y="9158"/>
                  </a:moveTo>
                  <a:lnTo>
                    <a:pt x="577" y="8872"/>
                  </a:lnTo>
                  <a:lnTo>
                    <a:pt x="2889" y="8299"/>
                  </a:lnTo>
                  <a:lnTo>
                    <a:pt x="2600" y="6868"/>
                  </a:lnTo>
                  <a:lnTo>
                    <a:pt x="2311" y="5151"/>
                  </a:lnTo>
                  <a:lnTo>
                    <a:pt x="2311" y="4006"/>
                  </a:lnTo>
                  <a:lnTo>
                    <a:pt x="2600" y="2289"/>
                  </a:lnTo>
                  <a:lnTo>
                    <a:pt x="3178" y="1717"/>
                  </a:lnTo>
                  <a:lnTo>
                    <a:pt x="5201" y="0"/>
                  </a:lnTo>
                  <a:lnTo>
                    <a:pt x="6646" y="858"/>
                  </a:lnTo>
                  <a:lnTo>
                    <a:pt x="7224" y="3434"/>
                  </a:lnTo>
                  <a:lnTo>
                    <a:pt x="8380" y="7154"/>
                  </a:lnTo>
                  <a:lnTo>
                    <a:pt x="12136" y="6582"/>
                  </a:lnTo>
                  <a:lnTo>
                    <a:pt x="18005" y="5613"/>
                  </a:lnTo>
                  <a:lnTo>
                    <a:pt x="20517" y="10589"/>
                  </a:lnTo>
                  <a:lnTo>
                    <a:pt x="22251" y="13737"/>
                  </a:lnTo>
                  <a:lnTo>
                    <a:pt x="23696" y="16599"/>
                  </a:lnTo>
                  <a:lnTo>
                    <a:pt x="25140" y="19747"/>
                  </a:lnTo>
                  <a:lnTo>
                    <a:pt x="25429" y="19461"/>
                  </a:lnTo>
                  <a:lnTo>
                    <a:pt x="25718" y="19461"/>
                  </a:lnTo>
                  <a:lnTo>
                    <a:pt x="26585" y="15168"/>
                  </a:lnTo>
                  <a:lnTo>
                    <a:pt x="27163" y="10875"/>
                  </a:lnTo>
                  <a:lnTo>
                    <a:pt x="28030" y="6582"/>
                  </a:lnTo>
                  <a:lnTo>
                    <a:pt x="28319" y="5724"/>
                  </a:lnTo>
                  <a:lnTo>
                    <a:pt x="29186" y="4292"/>
                  </a:lnTo>
                  <a:lnTo>
                    <a:pt x="30053" y="4006"/>
                  </a:lnTo>
                  <a:lnTo>
                    <a:pt x="32943" y="2861"/>
                  </a:lnTo>
                  <a:lnTo>
                    <a:pt x="33810" y="3720"/>
                  </a:lnTo>
                  <a:lnTo>
                    <a:pt x="33232" y="6868"/>
                  </a:lnTo>
                  <a:lnTo>
                    <a:pt x="31787" y="14882"/>
                  </a:lnTo>
                  <a:lnTo>
                    <a:pt x="30053" y="23182"/>
                  </a:lnTo>
                  <a:lnTo>
                    <a:pt x="28319" y="31195"/>
                  </a:lnTo>
                  <a:lnTo>
                    <a:pt x="27452" y="35488"/>
                  </a:lnTo>
                  <a:lnTo>
                    <a:pt x="25140" y="37205"/>
                  </a:lnTo>
                  <a:lnTo>
                    <a:pt x="21673" y="37492"/>
                  </a:lnTo>
                  <a:lnTo>
                    <a:pt x="19939" y="37492"/>
                  </a:lnTo>
                  <a:lnTo>
                    <a:pt x="19072" y="37205"/>
                  </a:lnTo>
                  <a:lnTo>
                    <a:pt x="18783" y="35488"/>
                  </a:lnTo>
                  <a:lnTo>
                    <a:pt x="18494" y="33771"/>
                  </a:lnTo>
                  <a:lnTo>
                    <a:pt x="18783" y="32912"/>
                  </a:lnTo>
                  <a:lnTo>
                    <a:pt x="20517" y="32340"/>
                  </a:lnTo>
                  <a:lnTo>
                    <a:pt x="23118" y="31768"/>
                  </a:lnTo>
                  <a:lnTo>
                    <a:pt x="24273" y="29192"/>
                  </a:lnTo>
                  <a:lnTo>
                    <a:pt x="23118" y="26616"/>
                  </a:lnTo>
                  <a:lnTo>
                    <a:pt x="19939" y="20606"/>
                  </a:lnTo>
                  <a:lnTo>
                    <a:pt x="16471" y="14309"/>
                  </a:lnTo>
                  <a:lnTo>
                    <a:pt x="13292" y="8585"/>
                  </a:lnTo>
                  <a:lnTo>
                    <a:pt x="10692" y="11161"/>
                  </a:lnTo>
                  <a:lnTo>
                    <a:pt x="10114" y="12020"/>
                  </a:lnTo>
                  <a:lnTo>
                    <a:pt x="9536" y="12878"/>
                  </a:lnTo>
                  <a:lnTo>
                    <a:pt x="9536" y="13451"/>
                  </a:lnTo>
                  <a:lnTo>
                    <a:pt x="10114" y="16599"/>
                  </a:lnTo>
                  <a:lnTo>
                    <a:pt x="10692" y="19747"/>
                  </a:lnTo>
                  <a:lnTo>
                    <a:pt x="11559" y="22895"/>
                  </a:lnTo>
                  <a:lnTo>
                    <a:pt x="11848" y="24326"/>
                  </a:lnTo>
                  <a:lnTo>
                    <a:pt x="12714" y="25471"/>
                  </a:lnTo>
                  <a:lnTo>
                    <a:pt x="14448" y="25185"/>
                  </a:lnTo>
                  <a:lnTo>
                    <a:pt x="16182" y="24899"/>
                  </a:lnTo>
                  <a:lnTo>
                    <a:pt x="16760" y="26044"/>
                  </a:lnTo>
                  <a:lnTo>
                    <a:pt x="16471" y="27188"/>
                  </a:lnTo>
                  <a:lnTo>
                    <a:pt x="16471" y="28047"/>
                  </a:lnTo>
                  <a:lnTo>
                    <a:pt x="15893" y="29192"/>
                  </a:lnTo>
                  <a:lnTo>
                    <a:pt x="15026" y="29478"/>
                  </a:lnTo>
                  <a:lnTo>
                    <a:pt x="10692" y="31481"/>
                  </a:lnTo>
                  <a:lnTo>
                    <a:pt x="7513" y="30050"/>
                  </a:lnTo>
                  <a:lnTo>
                    <a:pt x="6357" y="25185"/>
                  </a:lnTo>
                  <a:lnTo>
                    <a:pt x="5779" y="21751"/>
                  </a:lnTo>
                  <a:lnTo>
                    <a:pt x="4912" y="18316"/>
                  </a:lnTo>
                  <a:lnTo>
                    <a:pt x="4334" y="14882"/>
                  </a:lnTo>
                  <a:lnTo>
                    <a:pt x="4045" y="13451"/>
                  </a:lnTo>
                  <a:lnTo>
                    <a:pt x="3467" y="12878"/>
                  </a:lnTo>
                  <a:lnTo>
                    <a:pt x="1155" y="12878"/>
                  </a:lnTo>
                  <a:lnTo>
                    <a:pt x="288" y="12020"/>
                  </a:lnTo>
                  <a:lnTo>
                    <a:pt x="0" y="11161"/>
                  </a:lnTo>
                  <a:lnTo>
                    <a:pt x="0" y="10589"/>
                  </a:lnTo>
                  <a:lnTo>
                    <a:pt x="288" y="9158"/>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3" name="Google Shape;1893;p13"/>
            <p:cNvSpPr/>
            <p:nvPr/>
          </p:nvSpPr>
          <p:spPr>
            <a:xfrm>
              <a:off x="623598" y="6881111"/>
              <a:ext cx="1444" cy="748"/>
            </a:xfrm>
            <a:custGeom>
              <a:avLst/>
              <a:gdLst/>
              <a:ahLst/>
              <a:cxnLst/>
              <a:rect l="l" t="t" r="r" b="b"/>
              <a:pathLst>
                <a:path w="1444" h="748" extrusionOk="0">
                  <a:moveTo>
                    <a:pt x="1444" y="572"/>
                  </a:moveTo>
                  <a:lnTo>
                    <a:pt x="377" y="748"/>
                  </a:lnTo>
                  <a:lnTo>
                    <a:pt x="0" y="0"/>
                  </a:lnTo>
                  <a:lnTo>
                    <a:pt x="1444" y="57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4" name="Google Shape;1894;p13"/>
            <p:cNvSpPr/>
            <p:nvPr/>
          </p:nvSpPr>
          <p:spPr>
            <a:xfrm>
              <a:off x="493671" y="6920985"/>
              <a:ext cx="32602" cy="33863"/>
            </a:xfrm>
            <a:custGeom>
              <a:avLst/>
              <a:gdLst/>
              <a:ahLst/>
              <a:cxnLst/>
              <a:rect l="l" t="t" r="r" b="b"/>
              <a:pathLst>
                <a:path w="32602" h="33863" extrusionOk="0">
                  <a:moveTo>
                    <a:pt x="11061" y="15209"/>
                  </a:moveTo>
                  <a:lnTo>
                    <a:pt x="13972" y="14348"/>
                  </a:lnTo>
                  <a:lnTo>
                    <a:pt x="16301" y="13200"/>
                  </a:lnTo>
                  <a:lnTo>
                    <a:pt x="18921" y="12339"/>
                  </a:lnTo>
                  <a:lnTo>
                    <a:pt x="23869" y="10044"/>
                  </a:lnTo>
                  <a:lnTo>
                    <a:pt x="28818" y="11479"/>
                  </a:lnTo>
                  <a:lnTo>
                    <a:pt x="31147" y="16070"/>
                  </a:lnTo>
                  <a:lnTo>
                    <a:pt x="32020" y="17218"/>
                  </a:lnTo>
                  <a:lnTo>
                    <a:pt x="32020" y="18940"/>
                  </a:lnTo>
                  <a:lnTo>
                    <a:pt x="32602" y="20375"/>
                  </a:lnTo>
                  <a:lnTo>
                    <a:pt x="32311" y="25827"/>
                  </a:lnTo>
                  <a:lnTo>
                    <a:pt x="29109" y="28984"/>
                  </a:lnTo>
                  <a:lnTo>
                    <a:pt x="25034" y="31280"/>
                  </a:lnTo>
                  <a:lnTo>
                    <a:pt x="20958" y="33576"/>
                  </a:lnTo>
                  <a:lnTo>
                    <a:pt x="16883" y="33863"/>
                  </a:lnTo>
                  <a:lnTo>
                    <a:pt x="12808" y="30993"/>
                  </a:lnTo>
                  <a:lnTo>
                    <a:pt x="11643" y="30419"/>
                  </a:lnTo>
                  <a:lnTo>
                    <a:pt x="9606" y="29558"/>
                  </a:lnTo>
                  <a:lnTo>
                    <a:pt x="11061" y="27549"/>
                  </a:lnTo>
                  <a:lnTo>
                    <a:pt x="12517" y="25253"/>
                  </a:lnTo>
                  <a:lnTo>
                    <a:pt x="14263" y="24966"/>
                  </a:lnTo>
                  <a:lnTo>
                    <a:pt x="16301" y="26401"/>
                  </a:lnTo>
                  <a:lnTo>
                    <a:pt x="20376" y="29558"/>
                  </a:lnTo>
                  <a:lnTo>
                    <a:pt x="26489" y="24966"/>
                  </a:lnTo>
                  <a:lnTo>
                    <a:pt x="26780" y="21523"/>
                  </a:lnTo>
                  <a:lnTo>
                    <a:pt x="27363" y="18653"/>
                  </a:lnTo>
                  <a:lnTo>
                    <a:pt x="24451" y="16357"/>
                  </a:lnTo>
                  <a:lnTo>
                    <a:pt x="21541" y="17505"/>
                  </a:lnTo>
                  <a:lnTo>
                    <a:pt x="18921" y="18366"/>
                  </a:lnTo>
                  <a:lnTo>
                    <a:pt x="16592" y="19514"/>
                  </a:lnTo>
                  <a:lnTo>
                    <a:pt x="14263" y="20375"/>
                  </a:lnTo>
                  <a:lnTo>
                    <a:pt x="9023" y="22384"/>
                  </a:lnTo>
                  <a:lnTo>
                    <a:pt x="5239" y="21523"/>
                  </a:lnTo>
                  <a:lnTo>
                    <a:pt x="2619" y="17792"/>
                  </a:lnTo>
                  <a:lnTo>
                    <a:pt x="0" y="13774"/>
                  </a:lnTo>
                  <a:lnTo>
                    <a:pt x="873" y="8322"/>
                  </a:lnTo>
                  <a:lnTo>
                    <a:pt x="4657" y="4878"/>
                  </a:lnTo>
                  <a:lnTo>
                    <a:pt x="8150" y="2008"/>
                  </a:lnTo>
                  <a:lnTo>
                    <a:pt x="11934" y="0"/>
                  </a:lnTo>
                  <a:lnTo>
                    <a:pt x="16592" y="1721"/>
                  </a:lnTo>
                  <a:lnTo>
                    <a:pt x="17465" y="1721"/>
                  </a:lnTo>
                  <a:lnTo>
                    <a:pt x="18339" y="2008"/>
                  </a:lnTo>
                  <a:lnTo>
                    <a:pt x="18921" y="2582"/>
                  </a:lnTo>
                  <a:lnTo>
                    <a:pt x="19503" y="3730"/>
                  </a:lnTo>
                  <a:lnTo>
                    <a:pt x="20958" y="5165"/>
                  </a:lnTo>
                  <a:lnTo>
                    <a:pt x="20667" y="5739"/>
                  </a:lnTo>
                  <a:lnTo>
                    <a:pt x="19794" y="7748"/>
                  </a:lnTo>
                  <a:lnTo>
                    <a:pt x="17174" y="8609"/>
                  </a:lnTo>
                  <a:lnTo>
                    <a:pt x="15428" y="7461"/>
                  </a:lnTo>
                  <a:lnTo>
                    <a:pt x="12225" y="5739"/>
                  </a:lnTo>
                  <a:lnTo>
                    <a:pt x="7277" y="8035"/>
                  </a:lnTo>
                  <a:lnTo>
                    <a:pt x="6695" y="11479"/>
                  </a:lnTo>
                  <a:lnTo>
                    <a:pt x="6404" y="14061"/>
                  </a:lnTo>
                  <a:lnTo>
                    <a:pt x="8441" y="15783"/>
                  </a:lnTo>
                  <a:lnTo>
                    <a:pt x="11061" y="15209"/>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5" name="Google Shape;1895;p13"/>
            <p:cNvSpPr/>
            <p:nvPr/>
          </p:nvSpPr>
          <p:spPr>
            <a:xfrm>
              <a:off x="522666" y="6914934"/>
              <a:ext cx="22942" cy="25397"/>
            </a:xfrm>
            <a:custGeom>
              <a:avLst/>
              <a:gdLst/>
              <a:ahLst/>
              <a:cxnLst/>
              <a:rect l="l" t="t" r="r" b="b"/>
              <a:pathLst>
                <a:path w="22942" h="25397" extrusionOk="0">
                  <a:moveTo>
                    <a:pt x="6764" y="12409"/>
                  </a:moveTo>
                  <a:lnTo>
                    <a:pt x="9117" y="11255"/>
                  </a:lnTo>
                  <a:lnTo>
                    <a:pt x="11470" y="9523"/>
                  </a:lnTo>
                  <a:lnTo>
                    <a:pt x="13824" y="8080"/>
                  </a:lnTo>
                  <a:lnTo>
                    <a:pt x="12059" y="5772"/>
                  </a:lnTo>
                  <a:lnTo>
                    <a:pt x="10294" y="4906"/>
                  </a:lnTo>
                  <a:lnTo>
                    <a:pt x="7941" y="5772"/>
                  </a:lnTo>
                  <a:lnTo>
                    <a:pt x="7647" y="865"/>
                  </a:lnTo>
                  <a:lnTo>
                    <a:pt x="12647" y="0"/>
                  </a:lnTo>
                  <a:lnTo>
                    <a:pt x="18824" y="3174"/>
                  </a:lnTo>
                  <a:lnTo>
                    <a:pt x="20294" y="7215"/>
                  </a:lnTo>
                  <a:lnTo>
                    <a:pt x="20294" y="7792"/>
                  </a:lnTo>
                  <a:lnTo>
                    <a:pt x="19706" y="9235"/>
                  </a:lnTo>
                  <a:lnTo>
                    <a:pt x="18824" y="9812"/>
                  </a:lnTo>
                  <a:lnTo>
                    <a:pt x="15882" y="11832"/>
                  </a:lnTo>
                  <a:lnTo>
                    <a:pt x="12941" y="13564"/>
                  </a:lnTo>
                  <a:lnTo>
                    <a:pt x="9706" y="15584"/>
                  </a:lnTo>
                  <a:lnTo>
                    <a:pt x="7647" y="16738"/>
                  </a:lnTo>
                  <a:lnTo>
                    <a:pt x="8235" y="17893"/>
                  </a:lnTo>
                  <a:lnTo>
                    <a:pt x="9706" y="18759"/>
                  </a:lnTo>
                  <a:lnTo>
                    <a:pt x="12941" y="20779"/>
                  </a:lnTo>
                  <a:lnTo>
                    <a:pt x="17059" y="19047"/>
                  </a:lnTo>
                  <a:lnTo>
                    <a:pt x="17941" y="15584"/>
                  </a:lnTo>
                  <a:lnTo>
                    <a:pt x="17941" y="15007"/>
                  </a:lnTo>
                  <a:lnTo>
                    <a:pt x="17647" y="14141"/>
                  </a:lnTo>
                  <a:lnTo>
                    <a:pt x="18235" y="13852"/>
                  </a:lnTo>
                  <a:lnTo>
                    <a:pt x="19118" y="12698"/>
                  </a:lnTo>
                  <a:lnTo>
                    <a:pt x="20294" y="12121"/>
                  </a:lnTo>
                  <a:lnTo>
                    <a:pt x="21471" y="11255"/>
                  </a:lnTo>
                  <a:lnTo>
                    <a:pt x="21765" y="12121"/>
                  </a:lnTo>
                  <a:lnTo>
                    <a:pt x="22647" y="12987"/>
                  </a:lnTo>
                  <a:lnTo>
                    <a:pt x="22647" y="13852"/>
                  </a:lnTo>
                  <a:lnTo>
                    <a:pt x="22942" y="17893"/>
                  </a:lnTo>
                  <a:lnTo>
                    <a:pt x="21177" y="20779"/>
                  </a:lnTo>
                  <a:lnTo>
                    <a:pt x="17941" y="23088"/>
                  </a:lnTo>
                  <a:lnTo>
                    <a:pt x="14118" y="25108"/>
                  </a:lnTo>
                  <a:lnTo>
                    <a:pt x="10294" y="25397"/>
                  </a:lnTo>
                  <a:lnTo>
                    <a:pt x="6764" y="22799"/>
                  </a:lnTo>
                  <a:lnTo>
                    <a:pt x="2353" y="19913"/>
                  </a:lnTo>
                  <a:lnTo>
                    <a:pt x="0" y="16161"/>
                  </a:lnTo>
                  <a:lnTo>
                    <a:pt x="0" y="5483"/>
                  </a:lnTo>
                  <a:lnTo>
                    <a:pt x="2941" y="1731"/>
                  </a:lnTo>
                  <a:lnTo>
                    <a:pt x="4706" y="11544"/>
                  </a:lnTo>
                  <a:lnTo>
                    <a:pt x="5000" y="13275"/>
                  </a:lnTo>
                  <a:lnTo>
                    <a:pt x="6764" y="12409"/>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6" name="Google Shape;1896;p13"/>
            <p:cNvSpPr/>
            <p:nvPr/>
          </p:nvSpPr>
          <p:spPr>
            <a:xfrm>
              <a:off x="525607" y="6915800"/>
              <a:ext cx="5000" cy="10678"/>
            </a:xfrm>
            <a:custGeom>
              <a:avLst/>
              <a:gdLst/>
              <a:ahLst/>
              <a:cxnLst/>
              <a:rect l="l" t="t" r="r" b="b"/>
              <a:pathLst>
                <a:path w="5000" h="10678" extrusionOk="0">
                  <a:moveTo>
                    <a:pt x="1764" y="7215"/>
                  </a:moveTo>
                  <a:lnTo>
                    <a:pt x="1764" y="10678"/>
                  </a:lnTo>
                  <a:lnTo>
                    <a:pt x="0" y="865"/>
                  </a:lnTo>
                  <a:lnTo>
                    <a:pt x="4706" y="0"/>
                  </a:lnTo>
                  <a:lnTo>
                    <a:pt x="5000" y="4906"/>
                  </a:lnTo>
                  <a:lnTo>
                    <a:pt x="2941" y="5483"/>
                  </a:lnTo>
                  <a:lnTo>
                    <a:pt x="1764" y="721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7" name="Google Shape;1897;p13"/>
            <p:cNvSpPr/>
            <p:nvPr/>
          </p:nvSpPr>
          <p:spPr>
            <a:xfrm>
              <a:off x="562513" y="6891973"/>
              <a:ext cx="26564" cy="27817"/>
            </a:xfrm>
            <a:custGeom>
              <a:avLst/>
              <a:gdLst/>
              <a:ahLst/>
              <a:cxnLst/>
              <a:rect l="l" t="t" r="r" b="b"/>
              <a:pathLst>
                <a:path w="26564" h="27817" extrusionOk="0">
                  <a:moveTo>
                    <a:pt x="25678" y="19213"/>
                  </a:moveTo>
                  <a:lnTo>
                    <a:pt x="26564" y="20934"/>
                  </a:lnTo>
                  <a:lnTo>
                    <a:pt x="26269" y="22081"/>
                  </a:lnTo>
                  <a:lnTo>
                    <a:pt x="24498" y="22368"/>
                  </a:lnTo>
                  <a:lnTo>
                    <a:pt x="23022" y="22655"/>
                  </a:lnTo>
                  <a:lnTo>
                    <a:pt x="21841" y="22655"/>
                  </a:lnTo>
                  <a:lnTo>
                    <a:pt x="20661" y="22941"/>
                  </a:lnTo>
                  <a:lnTo>
                    <a:pt x="20661" y="23228"/>
                  </a:lnTo>
                  <a:lnTo>
                    <a:pt x="18595" y="24375"/>
                  </a:lnTo>
                  <a:lnTo>
                    <a:pt x="16824" y="25809"/>
                  </a:lnTo>
                  <a:lnTo>
                    <a:pt x="14758" y="26669"/>
                  </a:lnTo>
                  <a:lnTo>
                    <a:pt x="11216" y="27817"/>
                  </a:lnTo>
                  <a:lnTo>
                    <a:pt x="8264" y="26669"/>
                  </a:lnTo>
                  <a:lnTo>
                    <a:pt x="6788" y="23515"/>
                  </a:lnTo>
                  <a:lnTo>
                    <a:pt x="4132" y="18640"/>
                  </a:lnTo>
                  <a:lnTo>
                    <a:pt x="2361" y="13478"/>
                  </a:lnTo>
                  <a:lnTo>
                    <a:pt x="295" y="8603"/>
                  </a:lnTo>
                  <a:lnTo>
                    <a:pt x="0" y="8029"/>
                  </a:lnTo>
                  <a:lnTo>
                    <a:pt x="1180" y="6595"/>
                  </a:lnTo>
                  <a:lnTo>
                    <a:pt x="2066" y="6022"/>
                  </a:lnTo>
                  <a:lnTo>
                    <a:pt x="3541" y="5161"/>
                  </a:lnTo>
                  <a:lnTo>
                    <a:pt x="4722" y="5448"/>
                  </a:lnTo>
                  <a:lnTo>
                    <a:pt x="5608" y="7169"/>
                  </a:lnTo>
                  <a:lnTo>
                    <a:pt x="6788" y="10323"/>
                  </a:lnTo>
                  <a:lnTo>
                    <a:pt x="7969" y="13191"/>
                  </a:lnTo>
                  <a:lnTo>
                    <a:pt x="9149" y="16346"/>
                  </a:lnTo>
                  <a:lnTo>
                    <a:pt x="9740" y="17493"/>
                  </a:lnTo>
                  <a:lnTo>
                    <a:pt x="10330" y="18927"/>
                  </a:lnTo>
                  <a:lnTo>
                    <a:pt x="11216" y="20074"/>
                  </a:lnTo>
                  <a:lnTo>
                    <a:pt x="12101" y="21221"/>
                  </a:lnTo>
                  <a:lnTo>
                    <a:pt x="13577" y="22655"/>
                  </a:lnTo>
                  <a:lnTo>
                    <a:pt x="15053" y="21508"/>
                  </a:lnTo>
                  <a:lnTo>
                    <a:pt x="16529" y="20647"/>
                  </a:lnTo>
                  <a:lnTo>
                    <a:pt x="17709" y="19213"/>
                  </a:lnTo>
                  <a:lnTo>
                    <a:pt x="18299" y="17779"/>
                  </a:lnTo>
                  <a:lnTo>
                    <a:pt x="18595" y="16632"/>
                  </a:lnTo>
                  <a:lnTo>
                    <a:pt x="18004" y="14912"/>
                  </a:lnTo>
                  <a:lnTo>
                    <a:pt x="17414" y="13478"/>
                  </a:lnTo>
                  <a:lnTo>
                    <a:pt x="16233" y="10323"/>
                  </a:lnTo>
                  <a:lnTo>
                    <a:pt x="15053" y="7169"/>
                  </a:lnTo>
                  <a:lnTo>
                    <a:pt x="13577" y="3728"/>
                  </a:lnTo>
                  <a:lnTo>
                    <a:pt x="12691" y="1720"/>
                  </a:lnTo>
                  <a:lnTo>
                    <a:pt x="14167" y="1433"/>
                  </a:lnTo>
                  <a:lnTo>
                    <a:pt x="15348" y="860"/>
                  </a:lnTo>
                  <a:lnTo>
                    <a:pt x="16824" y="286"/>
                  </a:lnTo>
                  <a:lnTo>
                    <a:pt x="18004" y="0"/>
                  </a:lnTo>
                  <a:lnTo>
                    <a:pt x="18890" y="2007"/>
                  </a:lnTo>
                  <a:lnTo>
                    <a:pt x="20956" y="7742"/>
                  </a:lnTo>
                  <a:lnTo>
                    <a:pt x="23317" y="13478"/>
                  </a:lnTo>
                  <a:lnTo>
                    <a:pt x="25678" y="1921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8" name="Google Shape;1898;p13"/>
            <p:cNvSpPr/>
            <p:nvPr/>
          </p:nvSpPr>
          <p:spPr>
            <a:xfrm>
              <a:off x="543196" y="6902836"/>
              <a:ext cx="21734" cy="25396"/>
            </a:xfrm>
            <a:custGeom>
              <a:avLst/>
              <a:gdLst/>
              <a:ahLst/>
              <a:cxnLst/>
              <a:rect l="l" t="t" r="r" b="b"/>
              <a:pathLst>
                <a:path w="21734" h="25396" extrusionOk="0">
                  <a:moveTo>
                    <a:pt x="5015" y="13544"/>
                  </a:moveTo>
                  <a:lnTo>
                    <a:pt x="6687" y="16648"/>
                  </a:lnTo>
                  <a:lnTo>
                    <a:pt x="10031" y="19188"/>
                  </a:lnTo>
                  <a:lnTo>
                    <a:pt x="12817" y="21163"/>
                  </a:lnTo>
                  <a:lnTo>
                    <a:pt x="16440" y="19188"/>
                  </a:lnTo>
                  <a:lnTo>
                    <a:pt x="16440" y="15520"/>
                  </a:lnTo>
                  <a:lnTo>
                    <a:pt x="16718" y="14391"/>
                  </a:lnTo>
                  <a:lnTo>
                    <a:pt x="16718" y="12980"/>
                  </a:lnTo>
                  <a:lnTo>
                    <a:pt x="17276" y="12416"/>
                  </a:lnTo>
                  <a:lnTo>
                    <a:pt x="18112" y="11851"/>
                  </a:lnTo>
                  <a:lnTo>
                    <a:pt x="19505" y="11569"/>
                  </a:lnTo>
                  <a:lnTo>
                    <a:pt x="20619" y="11287"/>
                  </a:lnTo>
                  <a:lnTo>
                    <a:pt x="20898" y="12134"/>
                  </a:lnTo>
                  <a:lnTo>
                    <a:pt x="21455" y="13262"/>
                  </a:lnTo>
                  <a:lnTo>
                    <a:pt x="21455" y="14109"/>
                  </a:lnTo>
                  <a:lnTo>
                    <a:pt x="21734" y="19188"/>
                  </a:lnTo>
                  <a:lnTo>
                    <a:pt x="19505" y="22292"/>
                  </a:lnTo>
                  <a:lnTo>
                    <a:pt x="15325" y="23985"/>
                  </a:lnTo>
                  <a:lnTo>
                    <a:pt x="10588" y="25396"/>
                  </a:lnTo>
                  <a:lnTo>
                    <a:pt x="6408" y="24268"/>
                  </a:lnTo>
                  <a:lnTo>
                    <a:pt x="3622" y="20317"/>
                  </a:lnTo>
                  <a:lnTo>
                    <a:pt x="1114" y="16931"/>
                  </a:lnTo>
                  <a:lnTo>
                    <a:pt x="0" y="13262"/>
                  </a:lnTo>
                  <a:lnTo>
                    <a:pt x="557" y="9029"/>
                  </a:lnTo>
                  <a:lnTo>
                    <a:pt x="835" y="5361"/>
                  </a:lnTo>
                  <a:lnTo>
                    <a:pt x="3901" y="1975"/>
                  </a:lnTo>
                  <a:lnTo>
                    <a:pt x="7802" y="1128"/>
                  </a:lnTo>
                  <a:lnTo>
                    <a:pt x="12539" y="0"/>
                  </a:lnTo>
                  <a:lnTo>
                    <a:pt x="15604" y="1128"/>
                  </a:lnTo>
                  <a:lnTo>
                    <a:pt x="17833" y="5079"/>
                  </a:lnTo>
                  <a:lnTo>
                    <a:pt x="15882" y="6490"/>
                  </a:lnTo>
                  <a:lnTo>
                    <a:pt x="14211" y="7901"/>
                  </a:lnTo>
                  <a:lnTo>
                    <a:pt x="11703" y="5925"/>
                  </a:lnTo>
                  <a:lnTo>
                    <a:pt x="9474" y="4232"/>
                  </a:lnTo>
                  <a:lnTo>
                    <a:pt x="5851" y="6490"/>
                  </a:lnTo>
                  <a:lnTo>
                    <a:pt x="5572" y="9594"/>
                  </a:lnTo>
                  <a:lnTo>
                    <a:pt x="5015" y="1354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9" name="Google Shape;1899;p13"/>
            <p:cNvSpPr/>
            <p:nvPr/>
          </p:nvSpPr>
          <p:spPr>
            <a:xfrm>
              <a:off x="598719" y="6885922"/>
              <a:ext cx="10867" cy="22979"/>
            </a:xfrm>
            <a:custGeom>
              <a:avLst/>
              <a:gdLst/>
              <a:ahLst/>
              <a:cxnLst/>
              <a:rect l="l" t="t" r="r" b="b"/>
              <a:pathLst>
                <a:path w="10867" h="22979" extrusionOk="0">
                  <a:moveTo>
                    <a:pt x="3717" y="0"/>
                  </a:moveTo>
                  <a:lnTo>
                    <a:pt x="4289" y="0"/>
                  </a:lnTo>
                  <a:lnTo>
                    <a:pt x="5433" y="567"/>
                  </a:lnTo>
                  <a:lnTo>
                    <a:pt x="5433" y="1134"/>
                  </a:lnTo>
                  <a:lnTo>
                    <a:pt x="7435" y="7375"/>
                  </a:lnTo>
                  <a:lnTo>
                    <a:pt x="8865" y="13617"/>
                  </a:lnTo>
                  <a:lnTo>
                    <a:pt x="10581" y="19858"/>
                  </a:lnTo>
                  <a:lnTo>
                    <a:pt x="10581" y="20425"/>
                  </a:lnTo>
                  <a:lnTo>
                    <a:pt x="10867" y="21276"/>
                  </a:lnTo>
                  <a:lnTo>
                    <a:pt x="10009" y="21560"/>
                  </a:lnTo>
                  <a:lnTo>
                    <a:pt x="9151" y="22127"/>
                  </a:lnTo>
                  <a:lnTo>
                    <a:pt x="8293" y="22411"/>
                  </a:lnTo>
                  <a:lnTo>
                    <a:pt x="6863" y="22979"/>
                  </a:lnTo>
                  <a:lnTo>
                    <a:pt x="5719" y="22695"/>
                  </a:lnTo>
                  <a:lnTo>
                    <a:pt x="5433" y="20993"/>
                  </a:lnTo>
                  <a:lnTo>
                    <a:pt x="4289" y="16737"/>
                  </a:lnTo>
                  <a:lnTo>
                    <a:pt x="3145" y="12198"/>
                  </a:lnTo>
                  <a:lnTo>
                    <a:pt x="2001" y="7943"/>
                  </a:lnTo>
                  <a:lnTo>
                    <a:pt x="1715" y="6524"/>
                  </a:lnTo>
                  <a:lnTo>
                    <a:pt x="1143" y="5390"/>
                  </a:lnTo>
                  <a:lnTo>
                    <a:pt x="857" y="3971"/>
                  </a:lnTo>
                  <a:lnTo>
                    <a:pt x="0" y="851"/>
                  </a:lnTo>
                  <a:lnTo>
                    <a:pt x="571" y="0"/>
                  </a:lnTo>
                  <a:lnTo>
                    <a:pt x="3717" y="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0" name="Google Shape;1900;p13"/>
            <p:cNvSpPr/>
            <p:nvPr/>
          </p:nvSpPr>
          <p:spPr>
            <a:xfrm>
              <a:off x="418820" y="7033452"/>
              <a:ext cx="31394" cy="36281"/>
            </a:xfrm>
            <a:custGeom>
              <a:avLst/>
              <a:gdLst/>
              <a:ahLst/>
              <a:cxnLst/>
              <a:rect l="l" t="t" r="r" b="b"/>
              <a:pathLst>
                <a:path w="31394" h="36281" extrusionOk="0">
                  <a:moveTo>
                    <a:pt x="2016" y="16254"/>
                  </a:moveTo>
                  <a:lnTo>
                    <a:pt x="6048" y="13641"/>
                  </a:lnTo>
                  <a:lnTo>
                    <a:pt x="6624" y="13351"/>
                  </a:lnTo>
                  <a:lnTo>
                    <a:pt x="6624" y="11319"/>
                  </a:lnTo>
                  <a:lnTo>
                    <a:pt x="6912" y="9288"/>
                  </a:lnTo>
                  <a:lnTo>
                    <a:pt x="6336" y="6966"/>
                  </a:lnTo>
                  <a:lnTo>
                    <a:pt x="6912" y="5224"/>
                  </a:lnTo>
                  <a:lnTo>
                    <a:pt x="8064" y="1451"/>
                  </a:lnTo>
                  <a:lnTo>
                    <a:pt x="11232" y="0"/>
                  </a:lnTo>
                  <a:lnTo>
                    <a:pt x="14689" y="1160"/>
                  </a:lnTo>
                  <a:lnTo>
                    <a:pt x="19585" y="2612"/>
                  </a:lnTo>
                  <a:lnTo>
                    <a:pt x="24481" y="4353"/>
                  </a:lnTo>
                  <a:lnTo>
                    <a:pt x="29378" y="6095"/>
                  </a:lnTo>
                  <a:lnTo>
                    <a:pt x="31394" y="6675"/>
                  </a:lnTo>
                  <a:lnTo>
                    <a:pt x="31106" y="7836"/>
                  </a:lnTo>
                  <a:lnTo>
                    <a:pt x="30818" y="9578"/>
                  </a:lnTo>
                  <a:lnTo>
                    <a:pt x="30242" y="11029"/>
                  </a:lnTo>
                  <a:lnTo>
                    <a:pt x="29378" y="11900"/>
                  </a:lnTo>
                  <a:lnTo>
                    <a:pt x="27650" y="11319"/>
                  </a:lnTo>
                  <a:lnTo>
                    <a:pt x="23617" y="9578"/>
                  </a:lnTo>
                  <a:lnTo>
                    <a:pt x="19297" y="8417"/>
                  </a:lnTo>
                  <a:lnTo>
                    <a:pt x="15265" y="6966"/>
                  </a:lnTo>
                  <a:lnTo>
                    <a:pt x="13249" y="6385"/>
                  </a:lnTo>
                  <a:lnTo>
                    <a:pt x="11808" y="6385"/>
                  </a:lnTo>
                  <a:lnTo>
                    <a:pt x="10944" y="8127"/>
                  </a:lnTo>
                  <a:lnTo>
                    <a:pt x="9792" y="10158"/>
                  </a:lnTo>
                  <a:lnTo>
                    <a:pt x="10080" y="11900"/>
                  </a:lnTo>
                  <a:lnTo>
                    <a:pt x="11808" y="13061"/>
                  </a:lnTo>
                  <a:lnTo>
                    <a:pt x="12961" y="13932"/>
                  </a:lnTo>
                  <a:lnTo>
                    <a:pt x="14401" y="14512"/>
                  </a:lnTo>
                  <a:lnTo>
                    <a:pt x="15841" y="15093"/>
                  </a:lnTo>
                  <a:lnTo>
                    <a:pt x="18721" y="16254"/>
                  </a:lnTo>
                  <a:lnTo>
                    <a:pt x="21889" y="17124"/>
                  </a:lnTo>
                  <a:lnTo>
                    <a:pt x="25057" y="18285"/>
                  </a:lnTo>
                  <a:lnTo>
                    <a:pt x="27074" y="18866"/>
                  </a:lnTo>
                  <a:lnTo>
                    <a:pt x="27362" y="19737"/>
                  </a:lnTo>
                  <a:lnTo>
                    <a:pt x="26786" y="21768"/>
                  </a:lnTo>
                  <a:lnTo>
                    <a:pt x="25922" y="23800"/>
                  </a:lnTo>
                  <a:lnTo>
                    <a:pt x="25057" y="24090"/>
                  </a:lnTo>
                  <a:lnTo>
                    <a:pt x="23041" y="23510"/>
                  </a:lnTo>
                  <a:lnTo>
                    <a:pt x="19297" y="22059"/>
                  </a:lnTo>
                  <a:lnTo>
                    <a:pt x="15553" y="20898"/>
                  </a:lnTo>
                  <a:lnTo>
                    <a:pt x="11808" y="19737"/>
                  </a:lnTo>
                  <a:lnTo>
                    <a:pt x="10080" y="19156"/>
                  </a:lnTo>
                  <a:lnTo>
                    <a:pt x="7776" y="18285"/>
                  </a:lnTo>
                  <a:lnTo>
                    <a:pt x="6624" y="20898"/>
                  </a:lnTo>
                  <a:lnTo>
                    <a:pt x="5760" y="23220"/>
                  </a:lnTo>
                  <a:lnTo>
                    <a:pt x="6912" y="25542"/>
                  </a:lnTo>
                  <a:lnTo>
                    <a:pt x="9504" y="26703"/>
                  </a:lnTo>
                  <a:lnTo>
                    <a:pt x="12961" y="27864"/>
                  </a:lnTo>
                  <a:lnTo>
                    <a:pt x="16417" y="29025"/>
                  </a:lnTo>
                  <a:lnTo>
                    <a:pt x="20161" y="30186"/>
                  </a:lnTo>
                  <a:lnTo>
                    <a:pt x="21889" y="30766"/>
                  </a:lnTo>
                  <a:lnTo>
                    <a:pt x="23329" y="31347"/>
                  </a:lnTo>
                  <a:lnTo>
                    <a:pt x="22465" y="33959"/>
                  </a:lnTo>
                  <a:lnTo>
                    <a:pt x="21601" y="36281"/>
                  </a:lnTo>
                  <a:lnTo>
                    <a:pt x="20449" y="36281"/>
                  </a:lnTo>
                  <a:lnTo>
                    <a:pt x="18433" y="35700"/>
                  </a:lnTo>
                  <a:lnTo>
                    <a:pt x="13537" y="33669"/>
                  </a:lnTo>
                  <a:lnTo>
                    <a:pt x="8352" y="32217"/>
                  </a:lnTo>
                  <a:lnTo>
                    <a:pt x="3168" y="30186"/>
                  </a:lnTo>
                  <a:lnTo>
                    <a:pt x="2016" y="29895"/>
                  </a:lnTo>
                  <a:lnTo>
                    <a:pt x="0" y="28734"/>
                  </a:lnTo>
                  <a:lnTo>
                    <a:pt x="0" y="28154"/>
                  </a:lnTo>
                  <a:lnTo>
                    <a:pt x="288" y="26412"/>
                  </a:lnTo>
                  <a:lnTo>
                    <a:pt x="1440" y="24961"/>
                  </a:lnTo>
                  <a:lnTo>
                    <a:pt x="2016" y="23510"/>
                  </a:lnTo>
                  <a:lnTo>
                    <a:pt x="1440" y="19737"/>
                  </a:lnTo>
                  <a:lnTo>
                    <a:pt x="2016" y="1625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1" name="Google Shape;1901;p13"/>
            <p:cNvSpPr/>
            <p:nvPr/>
          </p:nvSpPr>
          <p:spPr>
            <a:xfrm>
              <a:off x="433292" y="7011703"/>
              <a:ext cx="23013" cy="22979"/>
            </a:xfrm>
            <a:custGeom>
              <a:avLst/>
              <a:gdLst/>
              <a:ahLst/>
              <a:cxnLst/>
              <a:rect l="l" t="t" r="r" b="b"/>
              <a:pathLst>
                <a:path w="23013" h="22979" extrusionOk="0">
                  <a:moveTo>
                    <a:pt x="6818" y="15973"/>
                  </a:moveTo>
                  <a:lnTo>
                    <a:pt x="6818" y="16253"/>
                  </a:lnTo>
                  <a:lnTo>
                    <a:pt x="5114" y="16533"/>
                  </a:lnTo>
                  <a:lnTo>
                    <a:pt x="4830" y="16253"/>
                  </a:lnTo>
                  <a:lnTo>
                    <a:pt x="3977" y="15693"/>
                  </a:lnTo>
                  <a:lnTo>
                    <a:pt x="3125" y="14852"/>
                  </a:lnTo>
                  <a:lnTo>
                    <a:pt x="2841" y="13731"/>
                  </a:lnTo>
                  <a:lnTo>
                    <a:pt x="0" y="8126"/>
                  </a:lnTo>
                  <a:lnTo>
                    <a:pt x="4545" y="0"/>
                  </a:lnTo>
                  <a:lnTo>
                    <a:pt x="11648" y="0"/>
                  </a:lnTo>
                  <a:lnTo>
                    <a:pt x="13069" y="280"/>
                  </a:lnTo>
                  <a:lnTo>
                    <a:pt x="15058" y="1401"/>
                  </a:lnTo>
                  <a:lnTo>
                    <a:pt x="17331" y="2241"/>
                  </a:lnTo>
                  <a:lnTo>
                    <a:pt x="15626" y="10648"/>
                  </a:lnTo>
                  <a:lnTo>
                    <a:pt x="15342" y="11489"/>
                  </a:lnTo>
                  <a:lnTo>
                    <a:pt x="15058" y="12610"/>
                  </a:lnTo>
                  <a:lnTo>
                    <a:pt x="14774" y="13170"/>
                  </a:lnTo>
                  <a:lnTo>
                    <a:pt x="14490" y="16253"/>
                  </a:lnTo>
                  <a:lnTo>
                    <a:pt x="16194" y="17654"/>
                  </a:lnTo>
                  <a:lnTo>
                    <a:pt x="18467" y="16813"/>
                  </a:lnTo>
                  <a:lnTo>
                    <a:pt x="20740" y="15693"/>
                  </a:lnTo>
                  <a:lnTo>
                    <a:pt x="21593" y="11489"/>
                  </a:lnTo>
                  <a:lnTo>
                    <a:pt x="23013" y="21017"/>
                  </a:lnTo>
                  <a:lnTo>
                    <a:pt x="20172" y="22979"/>
                  </a:lnTo>
                  <a:lnTo>
                    <a:pt x="16194" y="22418"/>
                  </a:lnTo>
                  <a:lnTo>
                    <a:pt x="12217" y="22138"/>
                  </a:lnTo>
                  <a:lnTo>
                    <a:pt x="9944" y="19336"/>
                  </a:lnTo>
                  <a:lnTo>
                    <a:pt x="10512" y="15412"/>
                  </a:lnTo>
                  <a:lnTo>
                    <a:pt x="10796" y="13170"/>
                  </a:lnTo>
                  <a:lnTo>
                    <a:pt x="11648" y="10929"/>
                  </a:lnTo>
                  <a:lnTo>
                    <a:pt x="12217" y="8687"/>
                  </a:lnTo>
                  <a:lnTo>
                    <a:pt x="12217" y="7566"/>
                  </a:lnTo>
                  <a:lnTo>
                    <a:pt x="11648" y="6445"/>
                  </a:lnTo>
                  <a:lnTo>
                    <a:pt x="11364" y="5044"/>
                  </a:lnTo>
                  <a:lnTo>
                    <a:pt x="9944" y="5884"/>
                  </a:lnTo>
                  <a:lnTo>
                    <a:pt x="8523" y="6165"/>
                  </a:lnTo>
                  <a:lnTo>
                    <a:pt x="7671" y="7005"/>
                  </a:lnTo>
                  <a:lnTo>
                    <a:pt x="6534" y="8126"/>
                  </a:lnTo>
                  <a:lnTo>
                    <a:pt x="6534" y="9808"/>
                  </a:lnTo>
                  <a:lnTo>
                    <a:pt x="7387" y="11769"/>
                  </a:lnTo>
                  <a:lnTo>
                    <a:pt x="7671" y="12890"/>
                  </a:lnTo>
                  <a:lnTo>
                    <a:pt x="7103" y="14572"/>
                  </a:lnTo>
                  <a:lnTo>
                    <a:pt x="6818" y="1597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2" name="Google Shape;1902;p13"/>
            <p:cNvSpPr/>
            <p:nvPr/>
          </p:nvSpPr>
          <p:spPr>
            <a:xfrm>
              <a:off x="448919" y="7013945"/>
              <a:ext cx="13353" cy="18775"/>
            </a:xfrm>
            <a:custGeom>
              <a:avLst/>
              <a:gdLst/>
              <a:ahLst/>
              <a:cxnLst/>
              <a:rect l="l" t="t" r="r" b="b"/>
              <a:pathLst>
                <a:path w="13353" h="18775" extrusionOk="0">
                  <a:moveTo>
                    <a:pt x="10796" y="1961"/>
                  </a:moveTo>
                  <a:lnTo>
                    <a:pt x="12217" y="2241"/>
                  </a:lnTo>
                  <a:lnTo>
                    <a:pt x="12785" y="3643"/>
                  </a:lnTo>
                  <a:lnTo>
                    <a:pt x="13353" y="4763"/>
                  </a:lnTo>
                  <a:lnTo>
                    <a:pt x="12785" y="7005"/>
                  </a:lnTo>
                  <a:lnTo>
                    <a:pt x="12217" y="7566"/>
                  </a:lnTo>
                  <a:lnTo>
                    <a:pt x="9091" y="8967"/>
                  </a:lnTo>
                  <a:lnTo>
                    <a:pt x="9376" y="11769"/>
                  </a:lnTo>
                  <a:lnTo>
                    <a:pt x="8523" y="14291"/>
                  </a:lnTo>
                  <a:lnTo>
                    <a:pt x="7387" y="18775"/>
                  </a:lnTo>
                  <a:lnTo>
                    <a:pt x="5966" y="9247"/>
                  </a:lnTo>
                  <a:lnTo>
                    <a:pt x="3977" y="7286"/>
                  </a:lnTo>
                  <a:lnTo>
                    <a:pt x="1988" y="5604"/>
                  </a:lnTo>
                  <a:lnTo>
                    <a:pt x="852" y="5884"/>
                  </a:lnTo>
                  <a:lnTo>
                    <a:pt x="0" y="8407"/>
                  </a:lnTo>
                  <a:lnTo>
                    <a:pt x="1704" y="0"/>
                  </a:lnTo>
                  <a:lnTo>
                    <a:pt x="3409" y="840"/>
                  </a:lnTo>
                  <a:lnTo>
                    <a:pt x="5114" y="1681"/>
                  </a:lnTo>
                  <a:lnTo>
                    <a:pt x="6818" y="2522"/>
                  </a:lnTo>
                  <a:lnTo>
                    <a:pt x="7671" y="2802"/>
                  </a:lnTo>
                  <a:lnTo>
                    <a:pt x="8523" y="3082"/>
                  </a:lnTo>
                  <a:lnTo>
                    <a:pt x="9091" y="2802"/>
                  </a:lnTo>
                  <a:lnTo>
                    <a:pt x="10796" y="196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3" name="Google Shape;1903;p13"/>
            <p:cNvSpPr/>
            <p:nvPr/>
          </p:nvSpPr>
          <p:spPr>
            <a:xfrm>
              <a:off x="411567" y="7083041"/>
              <a:ext cx="24149" cy="22978"/>
            </a:xfrm>
            <a:custGeom>
              <a:avLst/>
              <a:gdLst/>
              <a:ahLst/>
              <a:cxnLst/>
              <a:rect l="l" t="t" r="r" b="b"/>
              <a:pathLst>
                <a:path w="24149" h="22978" extrusionOk="0">
                  <a:moveTo>
                    <a:pt x="12785" y="17308"/>
                  </a:moveTo>
                  <a:lnTo>
                    <a:pt x="14205" y="17308"/>
                  </a:lnTo>
                  <a:lnTo>
                    <a:pt x="14774" y="17009"/>
                  </a:lnTo>
                  <a:lnTo>
                    <a:pt x="17046" y="16711"/>
                  </a:lnTo>
                  <a:lnTo>
                    <a:pt x="19319" y="15219"/>
                  </a:lnTo>
                  <a:lnTo>
                    <a:pt x="19319" y="11041"/>
                  </a:lnTo>
                  <a:lnTo>
                    <a:pt x="18467" y="8952"/>
                  </a:lnTo>
                  <a:lnTo>
                    <a:pt x="17046" y="7758"/>
                  </a:lnTo>
                  <a:lnTo>
                    <a:pt x="19319" y="0"/>
                  </a:lnTo>
                  <a:lnTo>
                    <a:pt x="24149" y="4476"/>
                  </a:lnTo>
                  <a:lnTo>
                    <a:pt x="24149" y="18502"/>
                  </a:lnTo>
                  <a:lnTo>
                    <a:pt x="19604" y="22978"/>
                  </a:lnTo>
                  <a:lnTo>
                    <a:pt x="5114" y="22978"/>
                  </a:lnTo>
                  <a:lnTo>
                    <a:pt x="0" y="18203"/>
                  </a:lnTo>
                  <a:lnTo>
                    <a:pt x="0" y="4476"/>
                  </a:lnTo>
                  <a:lnTo>
                    <a:pt x="4545" y="0"/>
                  </a:lnTo>
                  <a:lnTo>
                    <a:pt x="4261" y="8057"/>
                  </a:lnTo>
                  <a:lnTo>
                    <a:pt x="3409" y="12235"/>
                  </a:lnTo>
                  <a:lnTo>
                    <a:pt x="6250" y="14622"/>
                  </a:lnTo>
                  <a:lnTo>
                    <a:pt x="7955" y="16114"/>
                  </a:lnTo>
                  <a:lnTo>
                    <a:pt x="10228" y="16711"/>
                  </a:lnTo>
                  <a:lnTo>
                    <a:pt x="12501" y="17905"/>
                  </a:lnTo>
                  <a:lnTo>
                    <a:pt x="12501" y="17606"/>
                  </a:lnTo>
                  <a:lnTo>
                    <a:pt x="12785" y="17308"/>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4" name="Google Shape;1904;p13"/>
            <p:cNvSpPr/>
            <p:nvPr/>
          </p:nvSpPr>
          <p:spPr>
            <a:xfrm>
              <a:off x="415828" y="7083041"/>
              <a:ext cx="15058" cy="8057"/>
            </a:xfrm>
            <a:custGeom>
              <a:avLst/>
              <a:gdLst/>
              <a:ahLst/>
              <a:cxnLst/>
              <a:rect l="l" t="t" r="r" b="b"/>
              <a:pathLst>
                <a:path w="15058" h="8057" extrusionOk="0">
                  <a:moveTo>
                    <a:pt x="10228" y="5073"/>
                  </a:moveTo>
                  <a:lnTo>
                    <a:pt x="6818" y="5073"/>
                  </a:lnTo>
                  <a:lnTo>
                    <a:pt x="3409" y="6565"/>
                  </a:lnTo>
                  <a:lnTo>
                    <a:pt x="0" y="8057"/>
                  </a:lnTo>
                  <a:lnTo>
                    <a:pt x="284" y="0"/>
                  </a:lnTo>
                  <a:lnTo>
                    <a:pt x="15058" y="0"/>
                  </a:lnTo>
                  <a:lnTo>
                    <a:pt x="12785" y="7758"/>
                  </a:lnTo>
                  <a:lnTo>
                    <a:pt x="10228" y="507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5" name="Google Shape;1905;p13"/>
            <p:cNvSpPr/>
            <p:nvPr/>
          </p:nvSpPr>
          <p:spPr>
            <a:xfrm>
              <a:off x="459856" y="6971786"/>
              <a:ext cx="24150" cy="22978"/>
            </a:xfrm>
            <a:custGeom>
              <a:avLst/>
              <a:gdLst/>
              <a:ahLst/>
              <a:cxnLst/>
              <a:rect l="l" t="t" r="r" b="b"/>
              <a:pathLst>
                <a:path w="24150" h="22978" extrusionOk="0">
                  <a:moveTo>
                    <a:pt x="9892" y="5324"/>
                  </a:moveTo>
                  <a:lnTo>
                    <a:pt x="6983" y="5324"/>
                  </a:lnTo>
                  <a:lnTo>
                    <a:pt x="4655" y="7566"/>
                  </a:lnTo>
                  <a:lnTo>
                    <a:pt x="4655" y="10088"/>
                  </a:lnTo>
                  <a:lnTo>
                    <a:pt x="4946" y="13451"/>
                  </a:lnTo>
                  <a:lnTo>
                    <a:pt x="10183" y="17934"/>
                  </a:lnTo>
                  <a:lnTo>
                    <a:pt x="16585" y="17934"/>
                  </a:lnTo>
                  <a:lnTo>
                    <a:pt x="18912" y="15692"/>
                  </a:lnTo>
                  <a:lnTo>
                    <a:pt x="18912" y="9247"/>
                  </a:lnTo>
                  <a:lnTo>
                    <a:pt x="17167" y="0"/>
                  </a:lnTo>
                  <a:lnTo>
                    <a:pt x="24150" y="6445"/>
                  </a:lnTo>
                  <a:lnTo>
                    <a:pt x="24150" y="18214"/>
                  </a:lnTo>
                  <a:lnTo>
                    <a:pt x="19203" y="22978"/>
                  </a:lnTo>
                  <a:lnTo>
                    <a:pt x="6692" y="22978"/>
                  </a:lnTo>
                  <a:lnTo>
                    <a:pt x="0" y="16813"/>
                  </a:lnTo>
                  <a:lnTo>
                    <a:pt x="0" y="4763"/>
                  </a:lnTo>
                  <a:lnTo>
                    <a:pt x="4655" y="0"/>
                  </a:lnTo>
                  <a:lnTo>
                    <a:pt x="10474" y="0"/>
                  </a:lnTo>
                  <a:lnTo>
                    <a:pt x="9892" y="532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6" name="Google Shape;1906;p13"/>
            <p:cNvSpPr/>
            <p:nvPr/>
          </p:nvSpPr>
          <p:spPr>
            <a:xfrm>
              <a:off x="469749" y="6971786"/>
              <a:ext cx="9020" cy="9247"/>
            </a:xfrm>
            <a:custGeom>
              <a:avLst/>
              <a:gdLst/>
              <a:ahLst/>
              <a:cxnLst/>
              <a:rect l="l" t="t" r="r" b="b"/>
              <a:pathLst>
                <a:path w="9020" h="9247" extrusionOk="0">
                  <a:moveTo>
                    <a:pt x="4364" y="5324"/>
                  </a:moveTo>
                  <a:lnTo>
                    <a:pt x="0" y="5324"/>
                  </a:lnTo>
                  <a:lnTo>
                    <a:pt x="581" y="0"/>
                  </a:lnTo>
                  <a:lnTo>
                    <a:pt x="7274" y="0"/>
                  </a:lnTo>
                  <a:lnTo>
                    <a:pt x="9020" y="9247"/>
                  </a:lnTo>
                  <a:lnTo>
                    <a:pt x="4364" y="5324"/>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7" name="Google Shape;1907;p13"/>
            <p:cNvSpPr/>
            <p:nvPr/>
          </p:nvSpPr>
          <p:spPr>
            <a:xfrm>
              <a:off x="473135" y="6952433"/>
              <a:ext cx="28980" cy="27816"/>
            </a:xfrm>
            <a:custGeom>
              <a:avLst/>
              <a:gdLst/>
              <a:ahLst/>
              <a:cxnLst/>
              <a:rect l="l" t="t" r="r" b="b"/>
              <a:pathLst>
                <a:path w="28980" h="27816" extrusionOk="0">
                  <a:moveTo>
                    <a:pt x="9091" y="7305"/>
                  </a:moveTo>
                  <a:lnTo>
                    <a:pt x="7103" y="8991"/>
                  </a:lnTo>
                  <a:lnTo>
                    <a:pt x="7103" y="11800"/>
                  </a:lnTo>
                  <a:lnTo>
                    <a:pt x="9376" y="14048"/>
                  </a:lnTo>
                  <a:lnTo>
                    <a:pt x="11933" y="16577"/>
                  </a:lnTo>
                  <a:lnTo>
                    <a:pt x="14774" y="19106"/>
                  </a:lnTo>
                  <a:lnTo>
                    <a:pt x="17615" y="21634"/>
                  </a:lnTo>
                  <a:lnTo>
                    <a:pt x="19604" y="23320"/>
                  </a:lnTo>
                  <a:lnTo>
                    <a:pt x="18467" y="24725"/>
                  </a:lnTo>
                  <a:lnTo>
                    <a:pt x="17331" y="26130"/>
                  </a:lnTo>
                  <a:lnTo>
                    <a:pt x="15910" y="27816"/>
                  </a:lnTo>
                  <a:lnTo>
                    <a:pt x="14774" y="26411"/>
                  </a:lnTo>
                  <a:lnTo>
                    <a:pt x="13921" y="25568"/>
                  </a:lnTo>
                  <a:lnTo>
                    <a:pt x="9944" y="21915"/>
                  </a:lnTo>
                  <a:lnTo>
                    <a:pt x="5682" y="17982"/>
                  </a:lnTo>
                  <a:lnTo>
                    <a:pt x="1988" y="14329"/>
                  </a:lnTo>
                  <a:lnTo>
                    <a:pt x="1136" y="13486"/>
                  </a:lnTo>
                  <a:lnTo>
                    <a:pt x="0" y="11800"/>
                  </a:lnTo>
                  <a:lnTo>
                    <a:pt x="284" y="10957"/>
                  </a:lnTo>
                  <a:lnTo>
                    <a:pt x="852" y="9834"/>
                  </a:lnTo>
                  <a:lnTo>
                    <a:pt x="2557" y="8991"/>
                  </a:lnTo>
                  <a:lnTo>
                    <a:pt x="3693" y="8148"/>
                  </a:lnTo>
                  <a:lnTo>
                    <a:pt x="4546" y="5338"/>
                  </a:lnTo>
                  <a:lnTo>
                    <a:pt x="5682" y="2809"/>
                  </a:lnTo>
                  <a:lnTo>
                    <a:pt x="8807" y="1123"/>
                  </a:lnTo>
                  <a:lnTo>
                    <a:pt x="11364" y="0"/>
                  </a:lnTo>
                  <a:lnTo>
                    <a:pt x="13921" y="281"/>
                  </a:lnTo>
                  <a:lnTo>
                    <a:pt x="16195" y="1966"/>
                  </a:lnTo>
                  <a:lnTo>
                    <a:pt x="19888" y="5338"/>
                  </a:lnTo>
                  <a:lnTo>
                    <a:pt x="23582" y="8710"/>
                  </a:lnTo>
                  <a:lnTo>
                    <a:pt x="27275" y="12081"/>
                  </a:lnTo>
                  <a:lnTo>
                    <a:pt x="28980" y="13486"/>
                  </a:lnTo>
                  <a:lnTo>
                    <a:pt x="28128" y="14329"/>
                  </a:lnTo>
                  <a:lnTo>
                    <a:pt x="26991" y="15734"/>
                  </a:lnTo>
                  <a:lnTo>
                    <a:pt x="25855" y="16858"/>
                  </a:lnTo>
                  <a:lnTo>
                    <a:pt x="25002" y="17139"/>
                  </a:lnTo>
                  <a:lnTo>
                    <a:pt x="23582" y="15734"/>
                  </a:lnTo>
                  <a:lnTo>
                    <a:pt x="20741" y="13205"/>
                  </a:lnTo>
                  <a:lnTo>
                    <a:pt x="17899" y="10677"/>
                  </a:lnTo>
                  <a:lnTo>
                    <a:pt x="15058" y="8148"/>
                  </a:lnTo>
                  <a:lnTo>
                    <a:pt x="12501" y="5619"/>
                  </a:lnTo>
                  <a:lnTo>
                    <a:pt x="10796" y="5619"/>
                  </a:lnTo>
                  <a:lnTo>
                    <a:pt x="9091" y="730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8" name="Google Shape;1908;p13"/>
            <p:cNvSpPr/>
            <p:nvPr/>
          </p:nvSpPr>
          <p:spPr>
            <a:xfrm>
              <a:off x="407942" y="7119326"/>
              <a:ext cx="25357" cy="19350"/>
            </a:xfrm>
            <a:custGeom>
              <a:avLst/>
              <a:gdLst/>
              <a:ahLst/>
              <a:cxnLst/>
              <a:rect l="l" t="t" r="r" b="b"/>
              <a:pathLst>
                <a:path w="25357" h="19350" extrusionOk="0">
                  <a:moveTo>
                    <a:pt x="24794" y="5122"/>
                  </a:moveTo>
                  <a:lnTo>
                    <a:pt x="23667" y="5691"/>
                  </a:lnTo>
                  <a:lnTo>
                    <a:pt x="18595" y="5691"/>
                  </a:lnTo>
                  <a:lnTo>
                    <a:pt x="14932" y="5406"/>
                  </a:lnTo>
                  <a:lnTo>
                    <a:pt x="11269" y="5691"/>
                  </a:lnTo>
                  <a:lnTo>
                    <a:pt x="7889" y="5691"/>
                  </a:lnTo>
                  <a:lnTo>
                    <a:pt x="6480" y="6829"/>
                  </a:lnTo>
                  <a:lnTo>
                    <a:pt x="6480" y="9390"/>
                  </a:lnTo>
                  <a:lnTo>
                    <a:pt x="6198" y="11951"/>
                  </a:lnTo>
                  <a:lnTo>
                    <a:pt x="8452" y="13943"/>
                  </a:lnTo>
                  <a:lnTo>
                    <a:pt x="11833" y="14228"/>
                  </a:lnTo>
                  <a:lnTo>
                    <a:pt x="24230" y="14228"/>
                  </a:lnTo>
                  <a:lnTo>
                    <a:pt x="25357" y="14512"/>
                  </a:lnTo>
                  <a:lnTo>
                    <a:pt x="25357" y="18781"/>
                  </a:lnTo>
                  <a:lnTo>
                    <a:pt x="24230" y="19350"/>
                  </a:lnTo>
                  <a:lnTo>
                    <a:pt x="22540" y="19350"/>
                  </a:lnTo>
                  <a:lnTo>
                    <a:pt x="19440" y="19065"/>
                  </a:lnTo>
                  <a:lnTo>
                    <a:pt x="16623" y="19350"/>
                  </a:lnTo>
                  <a:lnTo>
                    <a:pt x="5635" y="19350"/>
                  </a:lnTo>
                  <a:lnTo>
                    <a:pt x="2817" y="19065"/>
                  </a:lnTo>
                  <a:lnTo>
                    <a:pt x="1690" y="17643"/>
                  </a:lnTo>
                  <a:lnTo>
                    <a:pt x="2817" y="14797"/>
                  </a:lnTo>
                  <a:lnTo>
                    <a:pt x="3099" y="13943"/>
                  </a:lnTo>
                  <a:lnTo>
                    <a:pt x="3099" y="12805"/>
                  </a:lnTo>
                  <a:lnTo>
                    <a:pt x="2817" y="11951"/>
                  </a:lnTo>
                  <a:lnTo>
                    <a:pt x="0" y="7114"/>
                  </a:lnTo>
                  <a:lnTo>
                    <a:pt x="2253" y="0"/>
                  </a:lnTo>
                  <a:lnTo>
                    <a:pt x="9861" y="569"/>
                  </a:lnTo>
                  <a:lnTo>
                    <a:pt x="13805" y="853"/>
                  </a:lnTo>
                  <a:lnTo>
                    <a:pt x="18032" y="569"/>
                  </a:lnTo>
                  <a:lnTo>
                    <a:pt x="23948" y="569"/>
                  </a:lnTo>
                  <a:lnTo>
                    <a:pt x="24794" y="1138"/>
                  </a:lnTo>
                  <a:lnTo>
                    <a:pt x="24794" y="512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9" name="Google Shape;1909;p13"/>
            <p:cNvSpPr/>
            <p:nvPr/>
          </p:nvSpPr>
          <p:spPr>
            <a:xfrm>
              <a:off x="400708" y="7104812"/>
              <a:ext cx="33809" cy="13303"/>
            </a:xfrm>
            <a:custGeom>
              <a:avLst/>
              <a:gdLst/>
              <a:ahLst/>
              <a:cxnLst/>
              <a:rect l="l" t="t" r="r" b="b"/>
              <a:pathLst>
                <a:path w="33809" h="13303" extrusionOk="0">
                  <a:moveTo>
                    <a:pt x="6467" y="9623"/>
                  </a:moveTo>
                  <a:lnTo>
                    <a:pt x="2057" y="9057"/>
                  </a:lnTo>
                  <a:lnTo>
                    <a:pt x="0" y="6227"/>
                  </a:lnTo>
                  <a:lnTo>
                    <a:pt x="1175" y="1981"/>
                  </a:lnTo>
                  <a:lnTo>
                    <a:pt x="1469" y="1132"/>
                  </a:lnTo>
                  <a:lnTo>
                    <a:pt x="2645" y="0"/>
                  </a:lnTo>
                  <a:lnTo>
                    <a:pt x="4115" y="0"/>
                  </a:lnTo>
                  <a:lnTo>
                    <a:pt x="4997" y="1132"/>
                  </a:lnTo>
                  <a:lnTo>
                    <a:pt x="5879" y="1981"/>
                  </a:lnTo>
                  <a:lnTo>
                    <a:pt x="5879" y="3113"/>
                  </a:lnTo>
                  <a:lnTo>
                    <a:pt x="6761" y="3679"/>
                  </a:lnTo>
                  <a:lnTo>
                    <a:pt x="7349" y="4245"/>
                  </a:lnTo>
                  <a:lnTo>
                    <a:pt x="8231" y="4528"/>
                  </a:lnTo>
                  <a:lnTo>
                    <a:pt x="8525" y="4528"/>
                  </a:lnTo>
                  <a:lnTo>
                    <a:pt x="9113" y="3396"/>
                  </a:lnTo>
                  <a:lnTo>
                    <a:pt x="9701" y="3113"/>
                  </a:lnTo>
                  <a:lnTo>
                    <a:pt x="10583" y="2264"/>
                  </a:lnTo>
                  <a:lnTo>
                    <a:pt x="11171" y="1132"/>
                  </a:lnTo>
                  <a:lnTo>
                    <a:pt x="12935" y="1132"/>
                  </a:lnTo>
                  <a:lnTo>
                    <a:pt x="14111" y="2264"/>
                  </a:lnTo>
                  <a:lnTo>
                    <a:pt x="14111" y="3113"/>
                  </a:lnTo>
                  <a:lnTo>
                    <a:pt x="14405" y="4811"/>
                  </a:lnTo>
                  <a:lnTo>
                    <a:pt x="15581" y="5094"/>
                  </a:lnTo>
                  <a:lnTo>
                    <a:pt x="17051" y="5094"/>
                  </a:lnTo>
                  <a:lnTo>
                    <a:pt x="21755" y="5377"/>
                  </a:lnTo>
                  <a:lnTo>
                    <a:pt x="26165" y="5661"/>
                  </a:lnTo>
                  <a:lnTo>
                    <a:pt x="30575" y="5661"/>
                  </a:lnTo>
                  <a:lnTo>
                    <a:pt x="32339" y="5944"/>
                  </a:lnTo>
                  <a:lnTo>
                    <a:pt x="33809" y="6227"/>
                  </a:lnTo>
                  <a:lnTo>
                    <a:pt x="33221" y="8208"/>
                  </a:lnTo>
                  <a:lnTo>
                    <a:pt x="33221" y="9906"/>
                  </a:lnTo>
                  <a:lnTo>
                    <a:pt x="32633" y="11605"/>
                  </a:lnTo>
                  <a:lnTo>
                    <a:pt x="29987" y="11038"/>
                  </a:lnTo>
                  <a:lnTo>
                    <a:pt x="26165" y="10755"/>
                  </a:lnTo>
                  <a:lnTo>
                    <a:pt x="22049" y="10472"/>
                  </a:lnTo>
                  <a:lnTo>
                    <a:pt x="17933" y="10189"/>
                  </a:lnTo>
                  <a:lnTo>
                    <a:pt x="16169" y="10189"/>
                  </a:lnTo>
                  <a:lnTo>
                    <a:pt x="14111" y="9623"/>
                  </a:lnTo>
                  <a:lnTo>
                    <a:pt x="13523" y="12454"/>
                  </a:lnTo>
                  <a:lnTo>
                    <a:pt x="13229" y="12737"/>
                  </a:lnTo>
                  <a:lnTo>
                    <a:pt x="12053" y="13303"/>
                  </a:lnTo>
                  <a:lnTo>
                    <a:pt x="10583" y="13303"/>
                  </a:lnTo>
                  <a:lnTo>
                    <a:pt x="9407" y="12454"/>
                  </a:lnTo>
                  <a:lnTo>
                    <a:pt x="9407" y="11888"/>
                  </a:lnTo>
                  <a:lnTo>
                    <a:pt x="9113" y="10189"/>
                  </a:lnTo>
                  <a:lnTo>
                    <a:pt x="7937" y="9906"/>
                  </a:lnTo>
                  <a:lnTo>
                    <a:pt x="6467" y="962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10" name="Google Shape;1910;p13"/>
            <p:cNvSpPr/>
            <p:nvPr/>
          </p:nvSpPr>
          <p:spPr>
            <a:xfrm>
              <a:off x="438146" y="6994769"/>
              <a:ext cx="31394" cy="18141"/>
            </a:xfrm>
            <a:custGeom>
              <a:avLst/>
              <a:gdLst/>
              <a:ahLst/>
              <a:cxnLst/>
              <a:rect l="l" t="t" r="r" b="b"/>
              <a:pathLst>
                <a:path w="31394" h="18141" extrusionOk="0">
                  <a:moveTo>
                    <a:pt x="0" y="5102"/>
                  </a:moveTo>
                  <a:lnTo>
                    <a:pt x="1184" y="2834"/>
                  </a:lnTo>
                  <a:lnTo>
                    <a:pt x="2369" y="283"/>
                  </a:lnTo>
                  <a:lnTo>
                    <a:pt x="2961" y="0"/>
                  </a:lnTo>
                  <a:lnTo>
                    <a:pt x="5627" y="1700"/>
                  </a:lnTo>
                  <a:lnTo>
                    <a:pt x="7404" y="2551"/>
                  </a:lnTo>
                  <a:lnTo>
                    <a:pt x="8885" y="3684"/>
                  </a:lnTo>
                  <a:lnTo>
                    <a:pt x="10365" y="1417"/>
                  </a:lnTo>
                  <a:lnTo>
                    <a:pt x="10662" y="850"/>
                  </a:lnTo>
                  <a:lnTo>
                    <a:pt x="12143" y="566"/>
                  </a:lnTo>
                  <a:lnTo>
                    <a:pt x="12735" y="1133"/>
                  </a:lnTo>
                  <a:lnTo>
                    <a:pt x="13327" y="1417"/>
                  </a:lnTo>
                  <a:lnTo>
                    <a:pt x="14216" y="2834"/>
                  </a:lnTo>
                  <a:lnTo>
                    <a:pt x="13920" y="3401"/>
                  </a:lnTo>
                  <a:lnTo>
                    <a:pt x="12735" y="5669"/>
                  </a:lnTo>
                  <a:lnTo>
                    <a:pt x="13920" y="6519"/>
                  </a:lnTo>
                  <a:lnTo>
                    <a:pt x="15697" y="7369"/>
                  </a:lnTo>
                  <a:lnTo>
                    <a:pt x="18066" y="8787"/>
                  </a:lnTo>
                  <a:lnTo>
                    <a:pt x="20435" y="10204"/>
                  </a:lnTo>
                  <a:lnTo>
                    <a:pt x="22805" y="11621"/>
                  </a:lnTo>
                  <a:lnTo>
                    <a:pt x="24286" y="12472"/>
                  </a:lnTo>
                  <a:lnTo>
                    <a:pt x="25766" y="12755"/>
                  </a:lnTo>
                  <a:lnTo>
                    <a:pt x="26951" y="11054"/>
                  </a:lnTo>
                  <a:lnTo>
                    <a:pt x="27247" y="10487"/>
                  </a:lnTo>
                  <a:lnTo>
                    <a:pt x="28728" y="10204"/>
                  </a:lnTo>
                  <a:lnTo>
                    <a:pt x="29321" y="10487"/>
                  </a:lnTo>
                  <a:lnTo>
                    <a:pt x="29913" y="11054"/>
                  </a:lnTo>
                  <a:lnTo>
                    <a:pt x="31098" y="11905"/>
                  </a:lnTo>
                  <a:lnTo>
                    <a:pt x="31098" y="12472"/>
                  </a:lnTo>
                  <a:lnTo>
                    <a:pt x="31394" y="15023"/>
                  </a:lnTo>
                  <a:lnTo>
                    <a:pt x="27543" y="18141"/>
                  </a:lnTo>
                  <a:lnTo>
                    <a:pt x="23989" y="18141"/>
                  </a:lnTo>
                  <a:lnTo>
                    <a:pt x="23101" y="17574"/>
                  </a:lnTo>
                  <a:lnTo>
                    <a:pt x="21324" y="17007"/>
                  </a:lnTo>
                  <a:lnTo>
                    <a:pt x="19843" y="16157"/>
                  </a:lnTo>
                  <a:lnTo>
                    <a:pt x="17177" y="14739"/>
                  </a:lnTo>
                  <a:lnTo>
                    <a:pt x="14808" y="13039"/>
                  </a:lnTo>
                  <a:lnTo>
                    <a:pt x="12143" y="11621"/>
                  </a:lnTo>
                  <a:lnTo>
                    <a:pt x="10958" y="10771"/>
                  </a:lnTo>
                  <a:lnTo>
                    <a:pt x="9773" y="10204"/>
                  </a:lnTo>
                  <a:lnTo>
                    <a:pt x="8885" y="11905"/>
                  </a:lnTo>
                  <a:lnTo>
                    <a:pt x="8589" y="12472"/>
                  </a:lnTo>
                  <a:lnTo>
                    <a:pt x="7108" y="12472"/>
                  </a:lnTo>
                  <a:lnTo>
                    <a:pt x="6515" y="12188"/>
                  </a:lnTo>
                  <a:lnTo>
                    <a:pt x="5627" y="11905"/>
                  </a:lnTo>
                  <a:lnTo>
                    <a:pt x="4738" y="10487"/>
                  </a:lnTo>
                  <a:lnTo>
                    <a:pt x="5034" y="10204"/>
                  </a:lnTo>
                  <a:lnTo>
                    <a:pt x="6219" y="7653"/>
                  </a:lnTo>
                  <a:lnTo>
                    <a:pt x="4146" y="7086"/>
                  </a:lnTo>
                  <a:lnTo>
                    <a:pt x="2961" y="6236"/>
                  </a:lnTo>
                  <a:lnTo>
                    <a:pt x="1777" y="5385"/>
                  </a:lnTo>
                  <a:lnTo>
                    <a:pt x="0" y="510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11" name="Google Shape;1911;p13"/>
            <p:cNvSpPr/>
            <p:nvPr/>
          </p:nvSpPr>
          <p:spPr>
            <a:xfrm>
              <a:off x="401918" y="7141097"/>
              <a:ext cx="32601" cy="8465"/>
            </a:xfrm>
            <a:custGeom>
              <a:avLst/>
              <a:gdLst/>
              <a:ahLst/>
              <a:cxnLst/>
              <a:rect l="l" t="t" r="r" b="b"/>
              <a:pathLst>
                <a:path w="32601" h="8465" extrusionOk="0">
                  <a:moveTo>
                    <a:pt x="0" y="5139"/>
                  </a:moveTo>
                  <a:lnTo>
                    <a:pt x="0" y="3325"/>
                  </a:lnTo>
                  <a:lnTo>
                    <a:pt x="873" y="2116"/>
                  </a:lnTo>
                  <a:lnTo>
                    <a:pt x="2910" y="2116"/>
                  </a:lnTo>
                  <a:lnTo>
                    <a:pt x="15581" y="1229"/>
                  </a:lnTo>
                  <a:lnTo>
                    <a:pt x="28242" y="342"/>
                  </a:lnTo>
                  <a:lnTo>
                    <a:pt x="28817" y="302"/>
                  </a:lnTo>
                  <a:lnTo>
                    <a:pt x="30855" y="0"/>
                  </a:lnTo>
                  <a:lnTo>
                    <a:pt x="32019" y="907"/>
                  </a:lnTo>
                  <a:lnTo>
                    <a:pt x="32310" y="3023"/>
                  </a:lnTo>
                  <a:lnTo>
                    <a:pt x="32601" y="5442"/>
                  </a:lnTo>
                  <a:lnTo>
                    <a:pt x="31728" y="6047"/>
                  </a:lnTo>
                  <a:lnTo>
                    <a:pt x="29690" y="6047"/>
                  </a:lnTo>
                  <a:lnTo>
                    <a:pt x="17026" y="7043"/>
                  </a:lnTo>
                  <a:lnTo>
                    <a:pt x="4383" y="8062"/>
                  </a:lnTo>
                  <a:lnTo>
                    <a:pt x="2910" y="8163"/>
                  </a:lnTo>
                  <a:lnTo>
                    <a:pt x="582" y="8465"/>
                  </a:lnTo>
                  <a:lnTo>
                    <a:pt x="0" y="7256"/>
                  </a:lnTo>
                  <a:lnTo>
                    <a:pt x="0" y="5139"/>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12" name="Google Shape;1912;p13"/>
            <p:cNvSpPr/>
            <p:nvPr/>
          </p:nvSpPr>
          <p:spPr>
            <a:xfrm>
              <a:off x="415180" y="7064898"/>
              <a:ext cx="24150" cy="18140"/>
            </a:xfrm>
            <a:custGeom>
              <a:avLst/>
              <a:gdLst/>
              <a:ahLst/>
              <a:cxnLst/>
              <a:rect l="l" t="t" r="r" b="b"/>
              <a:pathLst>
                <a:path w="24150" h="18140" extrusionOk="0">
                  <a:moveTo>
                    <a:pt x="11486" y="9655"/>
                  </a:moveTo>
                  <a:lnTo>
                    <a:pt x="14725" y="10825"/>
                  </a:lnTo>
                  <a:lnTo>
                    <a:pt x="18259" y="11411"/>
                  </a:lnTo>
                  <a:lnTo>
                    <a:pt x="21499" y="12288"/>
                  </a:lnTo>
                  <a:lnTo>
                    <a:pt x="23266" y="12581"/>
                  </a:lnTo>
                  <a:lnTo>
                    <a:pt x="24150" y="13166"/>
                  </a:lnTo>
                  <a:lnTo>
                    <a:pt x="23855" y="15214"/>
                  </a:lnTo>
                  <a:lnTo>
                    <a:pt x="23266" y="17262"/>
                  </a:lnTo>
                  <a:lnTo>
                    <a:pt x="22677" y="18140"/>
                  </a:lnTo>
                  <a:lnTo>
                    <a:pt x="20321" y="17555"/>
                  </a:lnTo>
                  <a:lnTo>
                    <a:pt x="14725" y="16092"/>
                  </a:lnTo>
                  <a:lnTo>
                    <a:pt x="8835" y="14922"/>
                  </a:lnTo>
                  <a:lnTo>
                    <a:pt x="3239" y="13459"/>
                  </a:lnTo>
                  <a:lnTo>
                    <a:pt x="1767" y="13166"/>
                  </a:lnTo>
                  <a:lnTo>
                    <a:pt x="0" y="13459"/>
                  </a:lnTo>
                  <a:lnTo>
                    <a:pt x="294" y="11118"/>
                  </a:lnTo>
                  <a:lnTo>
                    <a:pt x="589" y="9655"/>
                  </a:lnTo>
                  <a:lnTo>
                    <a:pt x="589" y="7607"/>
                  </a:lnTo>
                  <a:lnTo>
                    <a:pt x="2945" y="8192"/>
                  </a:lnTo>
                  <a:lnTo>
                    <a:pt x="2356" y="6144"/>
                  </a:lnTo>
                  <a:lnTo>
                    <a:pt x="1767" y="4388"/>
                  </a:lnTo>
                  <a:lnTo>
                    <a:pt x="1767" y="877"/>
                  </a:lnTo>
                  <a:lnTo>
                    <a:pt x="2650" y="0"/>
                  </a:lnTo>
                  <a:lnTo>
                    <a:pt x="4712" y="292"/>
                  </a:lnTo>
                  <a:lnTo>
                    <a:pt x="6479" y="877"/>
                  </a:lnTo>
                  <a:lnTo>
                    <a:pt x="7951" y="877"/>
                  </a:lnTo>
                  <a:lnTo>
                    <a:pt x="7362" y="3511"/>
                  </a:lnTo>
                  <a:lnTo>
                    <a:pt x="6479" y="6144"/>
                  </a:lnTo>
                  <a:lnTo>
                    <a:pt x="8246" y="8777"/>
                  </a:lnTo>
                  <a:lnTo>
                    <a:pt x="11486" y="965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13" name="Google Shape;1913;p13"/>
            <p:cNvSpPr/>
            <p:nvPr/>
          </p:nvSpPr>
          <p:spPr>
            <a:xfrm>
              <a:off x="451419" y="6988720"/>
              <a:ext cx="21734" cy="16931"/>
            </a:xfrm>
            <a:custGeom>
              <a:avLst/>
              <a:gdLst/>
              <a:ahLst/>
              <a:cxnLst/>
              <a:rect l="l" t="t" r="r" b="b"/>
              <a:pathLst>
                <a:path w="21734" h="16931" extrusionOk="0">
                  <a:moveTo>
                    <a:pt x="6375" y="8896"/>
                  </a:moveTo>
                  <a:lnTo>
                    <a:pt x="1159" y="5165"/>
                  </a:lnTo>
                  <a:lnTo>
                    <a:pt x="579" y="4878"/>
                  </a:lnTo>
                  <a:lnTo>
                    <a:pt x="0" y="3443"/>
                  </a:lnTo>
                  <a:lnTo>
                    <a:pt x="289" y="2869"/>
                  </a:lnTo>
                  <a:lnTo>
                    <a:pt x="579" y="1721"/>
                  </a:lnTo>
                  <a:lnTo>
                    <a:pt x="1448" y="860"/>
                  </a:lnTo>
                  <a:lnTo>
                    <a:pt x="2318" y="0"/>
                  </a:lnTo>
                  <a:lnTo>
                    <a:pt x="3187" y="287"/>
                  </a:lnTo>
                  <a:lnTo>
                    <a:pt x="3767" y="573"/>
                  </a:lnTo>
                  <a:lnTo>
                    <a:pt x="4346" y="1147"/>
                  </a:lnTo>
                  <a:lnTo>
                    <a:pt x="9563" y="4304"/>
                  </a:lnTo>
                  <a:lnTo>
                    <a:pt x="14489" y="7748"/>
                  </a:lnTo>
                  <a:lnTo>
                    <a:pt x="19706" y="10905"/>
                  </a:lnTo>
                  <a:lnTo>
                    <a:pt x="21444" y="12053"/>
                  </a:lnTo>
                  <a:lnTo>
                    <a:pt x="21734" y="12914"/>
                  </a:lnTo>
                  <a:lnTo>
                    <a:pt x="20575" y="14349"/>
                  </a:lnTo>
                  <a:lnTo>
                    <a:pt x="19416" y="16070"/>
                  </a:lnTo>
                  <a:lnTo>
                    <a:pt x="18546" y="16931"/>
                  </a:lnTo>
                  <a:lnTo>
                    <a:pt x="16518" y="15496"/>
                  </a:lnTo>
                  <a:lnTo>
                    <a:pt x="11591" y="12053"/>
                  </a:lnTo>
                  <a:lnTo>
                    <a:pt x="6375" y="8896"/>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14" name="Google Shape;1914;p13"/>
            <p:cNvSpPr/>
            <p:nvPr/>
          </p:nvSpPr>
          <p:spPr>
            <a:xfrm>
              <a:off x="444180" y="6982672"/>
              <a:ext cx="6037" cy="7256"/>
            </a:xfrm>
            <a:custGeom>
              <a:avLst/>
              <a:gdLst/>
              <a:ahLst/>
              <a:cxnLst/>
              <a:rect l="l" t="t" r="r" b="b"/>
              <a:pathLst>
                <a:path w="6037" h="7256" extrusionOk="0">
                  <a:moveTo>
                    <a:pt x="274" y="4535"/>
                  </a:moveTo>
                  <a:lnTo>
                    <a:pt x="0" y="3325"/>
                  </a:lnTo>
                  <a:lnTo>
                    <a:pt x="1646" y="1814"/>
                  </a:lnTo>
                  <a:lnTo>
                    <a:pt x="2469" y="0"/>
                  </a:lnTo>
                  <a:lnTo>
                    <a:pt x="4116" y="1511"/>
                  </a:lnTo>
                  <a:lnTo>
                    <a:pt x="5762" y="2721"/>
                  </a:lnTo>
                  <a:lnTo>
                    <a:pt x="6037" y="3930"/>
                  </a:lnTo>
                  <a:lnTo>
                    <a:pt x="6037" y="5140"/>
                  </a:lnTo>
                  <a:lnTo>
                    <a:pt x="4390" y="7256"/>
                  </a:lnTo>
                  <a:lnTo>
                    <a:pt x="2469" y="7256"/>
                  </a:lnTo>
                  <a:lnTo>
                    <a:pt x="548" y="5744"/>
                  </a:lnTo>
                  <a:lnTo>
                    <a:pt x="274" y="453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15" name="Google Shape;1915;p13"/>
            <p:cNvSpPr/>
            <p:nvPr/>
          </p:nvSpPr>
          <p:spPr>
            <a:xfrm>
              <a:off x="596322" y="6877454"/>
              <a:ext cx="6037" cy="7256"/>
            </a:xfrm>
            <a:custGeom>
              <a:avLst/>
              <a:gdLst/>
              <a:ahLst/>
              <a:cxnLst/>
              <a:rect l="l" t="t" r="r" b="b"/>
              <a:pathLst>
                <a:path w="6037" h="7256" extrusionOk="0">
                  <a:moveTo>
                    <a:pt x="2299" y="302"/>
                  </a:moveTo>
                  <a:lnTo>
                    <a:pt x="3449" y="302"/>
                  </a:lnTo>
                  <a:lnTo>
                    <a:pt x="6037" y="0"/>
                  </a:lnTo>
                  <a:lnTo>
                    <a:pt x="5749" y="2721"/>
                  </a:lnTo>
                  <a:lnTo>
                    <a:pt x="5749" y="3930"/>
                  </a:lnTo>
                  <a:lnTo>
                    <a:pt x="5462" y="5140"/>
                  </a:lnTo>
                  <a:lnTo>
                    <a:pt x="3737" y="5744"/>
                  </a:lnTo>
                  <a:lnTo>
                    <a:pt x="2012" y="7256"/>
                  </a:lnTo>
                  <a:lnTo>
                    <a:pt x="1150" y="5140"/>
                  </a:lnTo>
                  <a:lnTo>
                    <a:pt x="287" y="3930"/>
                  </a:lnTo>
                  <a:lnTo>
                    <a:pt x="0" y="2418"/>
                  </a:lnTo>
                  <a:lnTo>
                    <a:pt x="0" y="0"/>
                  </a:lnTo>
                  <a:lnTo>
                    <a:pt x="2299" y="302"/>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16" name="Google Shape;1916;p13"/>
            <p:cNvSpPr/>
            <p:nvPr/>
          </p:nvSpPr>
          <p:spPr>
            <a:xfrm>
              <a:off x="735699" y="7073431"/>
              <a:ext cx="56235" cy="73846"/>
            </a:xfrm>
            <a:custGeom>
              <a:avLst/>
              <a:gdLst/>
              <a:ahLst/>
              <a:cxnLst/>
              <a:rect l="l" t="t" r="r" b="b"/>
              <a:pathLst>
                <a:path w="56235" h="73846" extrusionOk="0">
                  <a:moveTo>
                    <a:pt x="54691" y="22414"/>
                  </a:moveTo>
                  <a:lnTo>
                    <a:pt x="54787" y="22914"/>
                  </a:lnTo>
                  <a:lnTo>
                    <a:pt x="55655" y="27541"/>
                  </a:lnTo>
                  <a:lnTo>
                    <a:pt x="55945" y="32458"/>
                  </a:lnTo>
                  <a:lnTo>
                    <a:pt x="56235" y="36796"/>
                  </a:lnTo>
                  <a:lnTo>
                    <a:pt x="55945" y="42001"/>
                  </a:lnTo>
                  <a:lnTo>
                    <a:pt x="55366" y="46628"/>
                  </a:lnTo>
                  <a:lnTo>
                    <a:pt x="55076" y="51256"/>
                  </a:lnTo>
                  <a:lnTo>
                    <a:pt x="50247" y="63609"/>
                  </a:lnTo>
                  <a:lnTo>
                    <a:pt x="39664" y="71452"/>
                  </a:lnTo>
                  <a:lnTo>
                    <a:pt x="38862" y="71789"/>
                  </a:lnTo>
                  <a:lnTo>
                    <a:pt x="26844" y="73846"/>
                  </a:lnTo>
                  <a:lnTo>
                    <a:pt x="14768" y="70966"/>
                  </a:lnTo>
                  <a:lnTo>
                    <a:pt x="6722" y="65427"/>
                  </a:lnTo>
                  <a:lnTo>
                    <a:pt x="2958" y="61667"/>
                  </a:lnTo>
                  <a:lnTo>
                    <a:pt x="931" y="56751"/>
                  </a:lnTo>
                  <a:lnTo>
                    <a:pt x="642" y="51545"/>
                  </a:lnTo>
                  <a:lnTo>
                    <a:pt x="0" y="38897"/>
                  </a:lnTo>
                  <a:lnTo>
                    <a:pt x="515" y="26233"/>
                  </a:lnTo>
                  <a:lnTo>
                    <a:pt x="642" y="25228"/>
                  </a:lnTo>
                  <a:lnTo>
                    <a:pt x="5387" y="11187"/>
                  </a:lnTo>
                  <a:lnTo>
                    <a:pt x="14309" y="2971"/>
                  </a:lnTo>
                  <a:lnTo>
                    <a:pt x="25792" y="0"/>
                  </a:lnTo>
                  <a:lnTo>
                    <a:pt x="38222" y="1693"/>
                  </a:lnTo>
                  <a:lnTo>
                    <a:pt x="39441" y="2091"/>
                  </a:lnTo>
                  <a:lnTo>
                    <a:pt x="49913" y="10028"/>
                  </a:lnTo>
                  <a:lnTo>
                    <a:pt x="54691" y="22414"/>
                  </a:lnTo>
                  <a:close/>
                </a:path>
              </a:pathLst>
            </a:custGeom>
            <a:solidFill>
              <a:srgbClr val="CECFC8"/>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17" name="Google Shape;1917;p13"/>
            <p:cNvSpPr/>
            <p:nvPr/>
          </p:nvSpPr>
          <p:spPr>
            <a:xfrm>
              <a:off x="701361" y="7051578"/>
              <a:ext cx="125007" cy="120254"/>
            </a:xfrm>
            <a:custGeom>
              <a:avLst/>
              <a:gdLst/>
              <a:ahLst/>
              <a:cxnLst/>
              <a:rect l="l" t="t" r="r" b="b"/>
              <a:pathLst>
                <a:path w="125007" h="120254" extrusionOk="0">
                  <a:moveTo>
                    <a:pt x="4610" y="83141"/>
                  </a:moveTo>
                  <a:lnTo>
                    <a:pt x="1440" y="75045"/>
                  </a:lnTo>
                  <a:lnTo>
                    <a:pt x="0" y="66660"/>
                  </a:lnTo>
                  <a:lnTo>
                    <a:pt x="288" y="59431"/>
                  </a:lnTo>
                  <a:lnTo>
                    <a:pt x="1277" y="45907"/>
                  </a:lnTo>
                  <a:lnTo>
                    <a:pt x="4783" y="33805"/>
                  </a:lnTo>
                  <a:lnTo>
                    <a:pt x="10806" y="22861"/>
                  </a:lnTo>
                  <a:lnTo>
                    <a:pt x="21608" y="11275"/>
                  </a:lnTo>
                  <a:lnTo>
                    <a:pt x="32290" y="4363"/>
                  </a:lnTo>
                  <a:lnTo>
                    <a:pt x="44437" y="0"/>
                  </a:lnTo>
                  <a:lnTo>
                    <a:pt x="50028" y="24545"/>
                  </a:lnTo>
                  <a:lnTo>
                    <a:pt x="40822" y="32275"/>
                  </a:lnTo>
                  <a:lnTo>
                    <a:pt x="35650" y="45806"/>
                  </a:lnTo>
                  <a:lnTo>
                    <a:pt x="35443" y="47287"/>
                  </a:lnTo>
                  <a:lnTo>
                    <a:pt x="34787" y="59936"/>
                  </a:lnTo>
                  <a:lnTo>
                    <a:pt x="35377" y="72600"/>
                  </a:lnTo>
                  <a:lnTo>
                    <a:pt x="35443" y="73599"/>
                  </a:lnTo>
                  <a:lnTo>
                    <a:pt x="35731" y="78804"/>
                  </a:lnTo>
                  <a:lnTo>
                    <a:pt x="37748" y="83719"/>
                  </a:lnTo>
                  <a:lnTo>
                    <a:pt x="41494" y="87478"/>
                  </a:lnTo>
                  <a:lnTo>
                    <a:pt x="51911" y="94011"/>
                  </a:lnTo>
                  <a:lnTo>
                    <a:pt x="64164" y="95884"/>
                  </a:lnTo>
                  <a:lnTo>
                    <a:pt x="73479" y="93839"/>
                  </a:lnTo>
                  <a:lnTo>
                    <a:pt x="84347" y="86236"/>
                  </a:lnTo>
                  <a:lnTo>
                    <a:pt x="89512" y="74130"/>
                  </a:lnTo>
                  <a:lnTo>
                    <a:pt x="89616" y="73310"/>
                  </a:lnTo>
                  <a:lnTo>
                    <a:pt x="89904" y="68684"/>
                  </a:lnTo>
                  <a:lnTo>
                    <a:pt x="90481" y="64057"/>
                  </a:lnTo>
                  <a:lnTo>
                    <a:pt x="90769" y="58853"/>
                  </a:lnTo>
                  <a:lnTo>
                    <a:pt x="90481" y="54516"/>
                  </a:lnTo>
                  <a:lnTo>
                    <a:pt x="90192" y="49600"/>
                  </a:lnTo>
                  <a:lnTo>
                    <a:pt x="89328" y="44974"/>
                  </a:lnTo>
                  <a:lnTo>
                    <a:pt x="84726" y="32466"/>
                  </a:lnTo>
                  <a:lnTo>
                    <a:pt x="74515" y="24315"/>
                  </a:lnTo>
                  <a:lnTo>
                    <a:pt x="85190" y="1099"/>
                  </a:lnTo>
                  <a:lnTo>
                    <a:pt x="92210" y="3915"/>
                  </a:lnTo>
                  <a:lnTo>
                    <a:pt x="103500" y="10795"/>
                  </a:lnTo>
                  <a:lnTo>
                    <a:pt x="112452" y="19880"/>
                  </a:lnTo>
                  <a:lnTo>
                    <a:pt x="119066" y="31029"/>
                  </a:lnTo>
                  <a:lnTo>
                    <a:pt x="120737" y="35143"/>
                  </a:lnTo>
                  <a:lnTo>
                    <a:pt x="123967" y="47531"/>
                  </a:lnTo>
                  <a:lnTo>
                    <a:pt x="125007" y="59925"/>
                  </a:lnTo>
                  <a:lnTo>
                    <a:pt x="123812" y="72230"/>
                  </a:lnTo>
                  <a:lnTo>
                    <a:pt x="120334" y="84355"/>
                  </a:lnTo>
                  <a:lnTo>
                    <a:pt x="112500" y="98378"/>
                  </a:lnTo>
                  <a:lnTo>
                    <a:pt x="103466" y="107438"/>
                  </a:lnTo>
                  <a:lnTo>
                    <a:pt x="92365" y="114080"/>
                  </a:lnTo>
                  <a:lnTo>
                    <a:pt x="83565" y="117260"/>
                  </a:lnTo>
                  <a:lnTo>
                    <a:pt x="71015" y="119731"/>
                  </a:lnTo>
                  <a:lnTo>
                    <a:pt x="58646" y="120254"/>
                  </a:lnTo>
                  <a:lnTo>
                    <a:pt x="46457" y="118601"/>
                  </a:lnTo>
                  <a:lnTo>
                    <a:pt x="34449" y="114545"/>
                  </a:lnTo>
                  <a:lnTo>
                    <a:pt x="29968" y="112345"/>
                  </a:lnTo>
                  <a:lnTo>
                    <a:pt x="19247" y="104903"/>
                  </a:lnTo>
                  <a:lnTo>
                    <a:pt x="10889" y="95276"/>
                  </a:lnTo>
                  <a:lnTo>
                    <a:pt x="4831" y="83708"/>
                  </a:lnTo>
                  <a:lnTo>
                    <a:pt x="4610" y="83141"/>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18" name="Google Shape;1918;p13"/>
            <p:cNvSpPr/>
            <p:nvPr/>
          </p:nvSpPr>
          <p:spPr>
            <a:xfrm>
              <a:off x="745798" y="7049369"/>
              <a:ext cx="40753" cy="26753"/>
            </a:xfrm>
            <a:custGeom>
              <a:avLst/>
              <a:gdLst/>
              <a:ahLst/>
              <a:cxnLst/>
              <a:rect l="l" t="t" r="r" b="b"/>
              <a:pathLst>
                <a:path w="40753" h="26753" extrusionOk="0">
                  <a:moveTo>
                    <a:pt x="0" y="2208"/>
                  </a:moveTo>
                  <a:lnTo>
                    <a:pt x="3396" y="1497"/>
                  </a:lnTo>
                  <a:lnTo>
                    <a:pt x="16083" y="0"/>
                  </a:lnTo>
                  <a:lnTo>
                    <a:pt x="28560" y="515"/>
                  </a:lnTo>
                  <a:lnTo>
                    <a:pt x="40753" y="3308"/>
                  </a:lnTo>
                  <a:lnTo>
                    <a:pt x="30078" y="26523"/>
                  </a:lnTo>
                  <a:lnTo>
                    <a:pt x="29619" y="26364"/>
                  </a:lnTo>
                  <a:lnTo>
                    <a:pt x="17208" y="24242"/>
                  </a:lnTo>
                  <a:lnTo>
                    <a:pt x="5591" y="26753"/>
                  </a:lnTo>
                  <a:lnTo>
                    <a:pt x="0" y="2208"/>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19" name="Google Shape;1919;p13"/>
            <p:cNvSpPr/>
            <p:nvPr/>
          </p:nvSpPr>
          <p:spPr>
            <a:xfrm>
              <a:off x="590856" y="7050977"/>
              <a:ext cx="106379" cy="119178"/>
            </a:xfrm>
            <a:custGeom>
              <a:avLst/>
              <a:gdLst/>
              <a:ahLst/>
              <a:cxnLst/>
              <a:rect l="l" t="t" r="r" b="b"/>
              <a:pathLst>
                <a:path w="106379" h="119178" extrusionOk="0">
                  <a:moveTo>
                    <a:pt x="80573" y="2221"/>
                  </a:moveTo>
                  <a:lnTo>
                    <a:pt x="102651" y="2221"/>
                  </a:lnTo>
                  <a:lnTo>
                    <a:pt x="103512" y="2793"/>
                  </a:lnTo>
                  <a:lnTo>
                    <a:pt x="103512" y="38265"/>
                  </a:lnTo>
                  <a:lnTo>
                    <a:pt x="102651" y="39124"/>
                  </a:lnTo>
                  <a:lnTo>
                    <a:pt x="100644" y="39124"/>
                  </a:lnTo>
                  <a:lnTo>
                    <a:pt x="94623" y="38838"/>
                  </a:lnTo>
                  <a:lnTo>
                    <a:pt x="88888" y="38838"/>
                  </a:lnTo>
                  <a:lnTo>
                    <a:pt x="83153" y="39124"/>
                  </a:lnTo>
                  <a:lnTo>
                    <a:pt x="81146" y="39124"/>
                  </a:lnTo>
                  <a:lnTo>
                    <a:pt x="79712" y="38265"/>
                  </a:lnTo>
                  <a:lnTo>
                    <a:pt x="78852" y="36549"/>
                  </a:lnTo>
                  <a:lnTo>
                    <a:pt x="75698" y="31400"/>
                  </a:lnTo>
                  <a:lnTo>
                    <a:pt x="72257" y="26537"/>
                  </a:lnTo>
                  <a:lnTo>
                    <a:pt x="67096" y="23390"/>
                  </a:lnTo>
                  <a:lnTo>
                    <a:pt x="60788" y="19099"/>
                  </a:lnTo>
                  <a:lnTo>
                    <a:pt x="53619" y="17668"/>
                  </a:lnTo>
                  <a:lnTo>
                    <a:pt x="46164" y="18527"/>
                  </a:lnTo>
                  <a:lnTo>
                    <a:pt x="43297" y="18813"/>
                  </a:lnTo>
                  <a:lnTo>
                    <a:pt x="40716" y="19099"/>
                  </a:lnTo>
                  <a:lnTo>
                    <a:pt x="38136" y="19671"/>
                  </a:lnTo>
                  <a:lnTo>
                    <a:pt x="34121" y="20815"/>
                  </a:lnTo>
                  <a:lnTo>
                    <a:pt x="30967" y="22818"/>
                  </a:lnTo>
                  <a:lnTo>
                    <a:pt x="30394" y="27109"/>
                  </a:lnTo>
                  <a:lnTo>
                    <a:pt x="29533" y="32544"/>
                  </a:lnTo>
                  <a:lnTo>
                    <a:pt x="31541" y="36835"/>
                  </a:lnTo>
                  <a:lnTo>
                    <a:pt x="35842" y="39410"/>
                  </a:lnTo>
                  <a:lnTo>
                    <a:pt x="41290" y="42270"/>
                  </a:lnTo>
                  <a:lnTo>
                    <a:pt x="47311" y="43415"/>
                  </a:lnTo>
                  <a:lnTo>
                    <a:pt x="53333" y="43987"/>
                  </a:lnTo>
                  <a:lnTo>
                    <a:pt x="66019" y="45516"/>
                  </a:lnTo>
                  <a:lnTo>
                    <a:pt x="78335" y="48567"/>
                  </a:lnTo>
                  <a:lnTo>
                    <a:pt x="84874" y="51139"/>
                  </a:lnTo>
                  <a:lnTo>
                    <a:pt x="96093" y="58274"/>
                  </a:lnTo>
                  <a:lnTo>
                    <a:pt x="103885" y="68412"/>
                  </a:lnTo>
                  <a:lnTo>
                    <a:pt x="106379" y="76599"/>
                  </a:lnTo>
                  <a:lnTo>
                    <a:pt x="106275" y="89243"/>
                  </a:lnTo>
                  <a:lnTo>
                    <a:pt x="101285" y="100537"/>
                  </a:lnTo>
                  <a:lnTo>
                    <a:pt x="99211" y="103203"/>
                  </a:lnTo>
                  <a:lnTo>
                    <a:pt x="89276" y="112122"/>
                  </a:lnTo>
                  <a:lnTo>
                    <a:pt x="77925" y="117262"/>
                  </a:lnTo>
                  <a:lnTo>
                    <a:pt x="65399" y="119178"/>
                  </a:lnTo>
                  <a:lnTo>
                    <a:pt x="56487" y="118937"/>
                  </a:lnTo>
                  <a:lnTo>
                    <a:pt x="43793" y="116069"/>
                  </a:lnTo>
                  <a:lnTo>
                    <a:pt x="32497" y="110196"/>
                  </a:lnTo>
                  <a:lnTo>
                    <a:pt x="26666" y="105492"/>
                  </a:lnTo>
                  <a:lnTo>
                    <a:pt x="26379" y="105206"/>
                  </a:lnTo>
                  <a:lnTo>
                    <a:pt x="25806" y="104920"/>
                  </a:lnTo>
                  <a:lnTo>
                    <a:pt x="24659" y="104348"/>
                  </a:lnTo>
                  <a:lnTo>
                    <a:pt x="24659" y="110927"/>
                  </a:lnTo>
                  <a:lnTo>
                    <a:pt x="24946" y="113788"/>
                  </a:lnTo>
                  <a:lnTo>
                    <a:pt x="24946" y="116076"/>
                  </a:lnTo>
                  <a:lnTo>
                    <a:pt x="24085" y="116935"/>
                  </a:lnTo>
                  <a:lnTo>
                    <a:pt x="860" y="116935"/>
                  </a:lnTo>
                  <a:lnTo>
                    <a:pt x="0" y="116362"/>
                  </a:lnTo>
                  <a:lnTo>
                    <a:pt x="0" y="77171"/>
                  </a:lnTo>
                  <a:lnTo>
                    <a:pt x="860" y="76313"/>
                  </a:lnTo>
                  <a:lnTo>
                    <a:pt x="23799" y="76313"/>
                  </a:lnTo>
                  <a:lnTo>
                    <a:pt x="24946" y="77171"/>
                  </a:lnTo>
                  <a:lnTo>
                    <a:pt x="25806" y="78887"/>
                  </a:lnTo>
                  <a:lnTo>
                    <a:pt x="33789" y="89515"/>
                  </a:lnTo>
                  <a:lnTo>
                    <a:pt x="44852" y="95939"/>
                  </a:lnTo>
                  <a:lnTo>
                    <a:pt x="51899" y="97482"/>
                  </a:lnTo>
                  <a:lnTo>
                    <a:pt x="59354" y="98340"/>
                  </a:lnTo>
                  <a:lnTo>
                    <a:pt x="66809" y="98054"/>
                  </a:lnTo>
                  <a:lnTo>
                    <a:pt x="73978" y="94049"/>
                  </a:lnTo>
                  <a:lnTo>
                    <a:pt x="80438" y="84554"/>
                  </a:lnTo>
                  <a:lnTo>
                    <a:pt x="75363" y="74674"/>
                  </a:lnTo>
                  <a:lnTo>
                    <a:pt x="74264" y="74024"/>
                  </a:lnTo>
                  <a:lnTo>
                    <a:pt x="69677" y="71736"/>
                  </a:lnTo>
                  <a:lnTo>
                    <a:pt x="64515" y="70877"/>
                  </a:lnTo>
                  <a:lnTo>
                    <a:pt x="59354" y="69733"/>
                  </a:lnTo>
                  <a:lnTo>
                    <a:pt x="51325" y="68303"/>
                  </a:lnTo>
                  <a:lnTo>
                    <a:pt x="43297" y="67731"/>
                  </a:lnTo>
                  <a:lnTo>
                    <a:pt x="35268" y="66300"/>
                  </a:lnTo>
                  <a:lnTo>
                    <a:pt x="22733" y="62086"/>
                  </a:lnTo>
                  <a:lnTo>
                    <a:pt x="12330" y="54736"/>
                  </a:lnTo>
                  <a:lnTo>
                    <a:pt x="5734" y="46275"/>
                  </a:lnTo>
                  <a:lnTo>
                    <a:pt x="1916" y="34564"/>
                  </a:lnTo>
                  <a:lnTo>
                    <a:pt x="3817" y="22939"/>
                  </a:lnTo>
                  <a:lnTo>
                    <a:pt x="9462" y="14522"/>
                  </a:lnTo>
                  <a:lnTo>
                    <a:pt x="19700" y="6331"/>
                  </a:lnTo>
                  <a:lnTo>
                    <a:pt x="31067" y="1611"/>
                  </a:lnTo>
                  <a:lnTo>
                    <a:pt x="43413" y="0"/>
                  </a:lnTo>
                  <a:lnTo>
                    <a:pt x="54480" y="790"/>
                  </a:lnTo>
                  <a:lnTo>
                    <a:pt x="62508" y="1935"/>
                  </a:lnTo>
                  <a:lnTo>
                    <a:pt x="69963" y="5081"/>
                  </a:lnTo>
                  <a:lnTo>
                    <a:pt x="76272" y="10803"/>
                  </a:lnTo>
                  <a:lnTo>
                    <a:pt x="77132" y="11661"/>
                  </a:lnTo>
                  <a:lnTo>
                    <a:pt x="78279" y="12233"/>
                  </a:lnTo>
                  <a:lnTo>
                    <a:pt x="79999" y="13663"/>
                  </a:lnTo>
                  <a:lnTo>
                    <a:pt x="79999" y="5367"/>
                  </a:lnTo>
                  <a:lnTo>
                    <a:pt x="79712" y="3079"/>
                  </a:lnTo>
                  <a:lnTo>
                    <a:pt x="80573" y="2221"/>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0" name="Google Shape;1920;p13"/>
            <p:cNvSpPr/>
            <p:nvPr/>
          </p:nvSpPr>
          <p:spPr>
            <a:xfrm>
              <a:off x="511796" y="7052802"/>
              <a:ext cx="70033" cy="114890"/>
            </a:xfrm>
            <a:custGeom>
              <a:avLst/>
              <a:gdLst/>
              <a:ahLst/>
              <a:cxnLst/>
              <a:rect l="l" t="t" r="r" b="b"/>
              <a:pathLst>
                <a:path w="70033" h="114890" extrusionOk="0">
                  <a:moveTo>
                    <a:pt x="864" y="22634"/>
                  </a:moveTo>
                  <a:lnTo>
                    <a:pt x="0" y="21774"/>
                  </a:lnTo>
                  <a:lnTo>
                    <a:pt x="288" y="19482"/>
                  </a:lnTo>
                  <a:lnTo>
                    <a:pt x="288" y="2865"/>
                  </a:lnTo>
                  <a:lnTo>
                    <a:pt x="0" y="573"/>
                  </a:lnTo>
                  <a:lnTo>
                    <a:pt x="864" y="0"/>
                  </a:lnTo>
                  <a:lnTo>
                    <a:pt x="68592" y="0"/>
                  </a:lnTo>
                  <a:lnTo>
                    <a:pt x="69457" y="859"/>
                  </a:lnTo>
                  <a:lnTo>
                    <a:pt x="69457" y="2865"/>
                  </a:lnTo>
                  <a:lnTo>
                    <a:pt x="69169" y="8308"/>
                  </a:lnTo>
                  <a:lnTo>
                    <a:pt x="69169" y="13752"/>
                  </a:lnTo>
                  <a:lnTo>
                    <a:pt x="69457" y="19482"/>
                  </a:lnTo>
                  <a:lnTo>
                    <a:pt x="69457" y="21774"/>
                  </a:lnTo>
                  <a:lnTo>
                    <a:pt x="68304" y="22634"/>
                  </a:lnTo>
                  <a:lnTo>
                    <a:pt x="65999" y="22634"/>
                  </a:lnTo>
                  <a:lnTo>
                    <a:pt x="61387" y="22347"/>
                  </a:lnTo>
                  <a:lnTo>
                    <a:pt x="51876" y="22347"/>
                  </a:lnTo>
                  <a:lnTo>
                    <a:pt x="48418" y="22634"/>
                  </a:lnTo>
                  <a:lnTo>
                    <a:pt x="48418" y="26072"/>
                  </a:lnTo>
                  <a:lnTo>
                    <a:pt x="48294" y="38757"/>
                  </a:lnTo>
                  <a:lnTo>
                    <a:pt x="48393" y="51495"/>
                  </a:lnTo>
                  <a:lnTo>
                    <a:pt x="48418" y="57302"/>
                  </a:lnTo>
                  <a:lnTo>
                    <a:pt x="48334" y="70013"/>
                  </a:lnTo>
                  <a:lnTo>
                    <a:pt x="48309" y="82670"/>
                  </a:lnTo>
                  <a:lnTo>
                    <a:pt x="48418" y="88818"/>
                  </a:lnTo>
                  <a:lnTo>
                    <a:pt x="48418" y="92256"/>
                  </a:lnTo>
                  <a:lnTo>
                    <a:pt x="56776" y="92256"/>
                  </a:lnTo>
                  <a:lnTo>
                    <a:pt x="61675" y="92543"/>
                  </a:lnTo>
                  <a:lnTo>
                    <a:pt x="66863" y="92256"/>
                  </a:lnTo>
                  <a:lnTo>
                    <a:pt x="69169" y="92256"/>
                  </a:lnTo>
                  <a:lnTo>
                    <a:pt x="70033" y="93116"/>
                  </a:lnTo>
                  <a:lnTo>
                    <a:pt x="69745" y="95408"/>
                  </a:lnTo>
                  <a:lnTo>
                    <a:pt x="69745" y="112025"/>
                  </a:lnTo>
                  <a:lnTo>
                    <a:pt x="70033" y="114031"/>
                  </a:lnTo>
                  <a:lnTo>
                    <a:pt x="68881" y="114890"/>
                  </a:lnTo>
                  <a:lnTo>
                    <a:pt x="864" y="114890"/>
                  </a:lnTo>
                  <a:lnTo>
                    <a:pt x="0" y="114031"/>
                  </a:lnTo>
                  <a:lnTo>
                    <a:pt x="0" y="111739"/>
                  </a:lnTo>
                  <a:lnTo>
                    <a:pt x="288" y="106295"/>
                  </a:lnTo>
                  <a:lnTo>
                    <a:pt x="288" y="101138"/>
                  </a:lnTo>
                  <a:lnTo>
                    <a:pt x="0" y="95694"/>
                  </a:lnTo>
                  <a:lnTo>
                    <a:pt x="0" y="93116"/>
                  </a:lnTo>
                  <a:lnTo>
                    <a:pt x="1152" y="92256"/>
                  </a:lnTo>
                  <a:lnTo>
                    <a:pt x="3458" y="92256"/>
                  </a:lnTo>
                  <a:lnTo>
                    <a:pt x="8646" y="92543"/>
                  </a:lnTo>
                  <a:lnTo>
                    <a:pt x="13545" y="92256"/>
                  </a:lnTo>
                  <a:lnTo>
                    <a:pt x="18445" y="92256"/>
                  </a:lnTo>
                  <a:lnTo>
                    <a:pt x="20750" y="92543"/>
                  </a:lnTo>
                  <a:lnTo>
                    <a:pt x="21903" y="91683"/>
                  </a:lnTo>
                  <a:lnTo>
                    <a:pt x="21903" y="89104"/>
                  </a:lnTo>
                  <a:lnTo>
                    <a:pt x="21764" y="76377"/>
                  </a:lnTo>
                  <a:lnTo>
                    <a:pt x="21695" y="63692"/>
                  </a:lnTo>
                  <a:lnTo>
                    <a:pt x="21696" y="51020"/>
                  </a:lnTo>
                  <a:lnTo>
                    <a:pt x="21766" y="38334"/>
                  </a:lnTo>
                  <a:lnTo>
                    <a:pt x="21903" y="25785"/>
                  </a:lnTo>
                  <a:lnTo>
                    <a:pt x="21903" y="23207"/>
                  </a:lnTo>
                  <a:lnTo>
                    <a:pt x="20750" y="22347"/>
                  </a:lnTo>
                  <a:lnTo>
                    <a:pt x="18445" y="22347"/>
                  </a:lnTo>
                  <a:lnTo>
                    <a:pt x="13257" y="22634"/>
                  </a:lnTo>
                  <a:lnTo>
                    <a:pt x="8069" y="22347"/>
                  </a:lnTo>
                  <a:lnTo>
                    <a:pt x="3170" y="22634"/>
                  </a:lnTo>
                  <a:lnTo>
                    <a:pt x="864" y="22634"/>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1" name="Google Shape;1921;p13"/>
            <p:cNvSpPr/>
            <p:nvPr/>
          </p:nvSpPr>
          <p:spPr>
            <a:xfrm>
              <a:off x="627912" y="7187388"/>
              <a:ext cx="14982" cy="31637"/>
            </a:xfrm>
            <a:custGeom>
              <a:avLst/>
              <a:gdLst/>
              <a:ahLst/>
              <a:cxnLst/>
              <a:rect l="l" t="t" r="r" b="b"/>
              <a:pathLst>
                <a:path w="14982" h="31637" extrusionOk="0">
                  <a:moveTo>
                    <a:pt x="3457" y="8997"/>
                  </a:moveTo>
                  <a:lnTo>
                    <a:pt x="5186" y="11319"/>
                  </a:lnTo>
                  <a:lnTo>
                    <a:pt x="8643" y="16834"/>
                  </a:lnTo>
                  <a:lnTo>
                    <a:pt x="14982" y="31637"/>
                  </a:lnTo>
                  <a:lnTo>
                    <a:pt x="6757" y="22018"/>
                  </a:lnTo>
                  <a:lnTo>
                    <a:pt x="37" y="11102"/>
                  </a:lnTo>
                  <a:lnTo>
                    <a:pt x="0" y="0"/>
                  </a:lnTo>
                  <a:lnTo>
                    <a:pt x="864" y="2322"/>
                  </a:lnTo>
                  <a:lnTo>
                    <a:pt x="1440" y="4063"/>
                  </a:lnTo>
                  <a:lnTo>
                    <a:pt x="2304" y="4353"/>
                  </a:lnTo>
                  <a:lnTo>
                    <a:pt x="4033" y="4063"/>
                  </a:lnTo>
                  <a:lnTo>
                    <a:pt x="3745" y="8127"/>
                  </a:lnTo>
                  <a:lnTo>
                    <a:pt x="3457" y="8997"/>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2" name="Google Shape;1922;p13"/>
            <p:cNvSpPr/>
            <p:nvPr/>
          </p:nvSpPr>
          <p:spPr>
            <a:xfrm>
              <a:off x="665655" y="7181003"/>
              <a:ext cx="105740" cy="50676"/>
            </a:xfrm>
            <a:custGeom>
              <a:avLst/>
              <a:gdLst/>
              <a:ahLst/>
              <a:cxnLst/>
              <a:rect l="l" t="t" r="r" b="b"/>
              <a:pathLst>
                <a:path w="105740" h="50676" extrusionOk="0">
                  <a:moveTo>
                    <a:pt x="89858" y="20691"/>
                  </a:moveTo>
                  <a:lnTo>
                    <a:pt x="88453" y="22059"/>
                  </a:lnTo>
                  <a:lnTo>
                    <a:pt x="78649" y="30949"/>
                  </a:lnTo>
                  <a:lnTo>
                    <a:pt x="68263" y="38702"/>
                  </a:lnTo>
                  <a:lnTo>
                    <a:pt x="57299" y="45287"/>
                  </a:lnTo>
                  <a:lnTo>
                    <a:pt x="45765" y="50676"/>
                  </a:lnTo>
                  <a:lnTo>
                    <a:pt x="36879" y="49052"/>
                  </a:lnTo>
                  <a:lnTo>
                    <a:pt x="40913" y="47311"/>
                  </a:lnTo>
                  <a:lnTo>
                    <a:pt x="46675" y="44989"/>
                  </a:lnTo>
                  <a:lnTo>
                    <a:pt x="52149" y="42667"/>
                  </a:lnTo>
                  <a:lnTo>
                    <a:pt x="57336" y="39764"/>
                  </a:lnTo>
                  <a:lnTo>
                    <a:pt x="61657" y="37732"/>
                  </a:lnTo>
                  <a:lnTo>
                    <a:pt x="65691" y="34830"/>
                  </a:lnTo>
                  <a:lnTo>
                    <a:pt x="69725" y="32508"/>
                  </a:lnTo>
                  <a:lnTo>
                    <a:pt x="69725" y="31347"/>
                  </a:lnTo>
                  <a:lnTo>
                    <a:pt x="67132" y="29605"/>
                  </a:lnTo>
                  <a:lnTo>
                    <a:pt x="64250" y="28154"/>
                  </a:lnTo>
                  <a:lnTo>
                    <a:pt x="61369" y="26413"/>
                  </a:lnTo>
                  <a:lnTo>
                    <a:pt x="59352" y="24961"/>
                  </a:lnTo>
                  <a:lnTo>
                    <a:pt x="58200" y="25542"/>
                  </a:lnTo>
                  <a:lnTo>
                    <a:pt x="56471" y="26993"/>
                  </a:lnTo>
                  <a:lnTo>
                    <a:pt x="50421" y="32218"/>
                  </a:lnTo>
                  <a:lnTo>
                    <a:pt x="44082" y="36862"/>
                  </a:lnTo>
                  <a:lnTo>
                    <a:pt x="37743" y="41796"/>
                  </a:lnTo>
                  <a:lnTo>
                    <a:pt x="36303" y="42957"/>
                  </a:lnTo>
                  <a:lnTo>
                    <a:pt x="34862" y="43538"/>
                  </a:lnTo>
                  <a:lnTo>
                    <a:pt x="33422" y="44408"/>
                  </a:lnTo>
                  <a:lnTo>
                    <a:pt x="31693" y="49923"/>
                  </a:lnTo>
                  <a:lnTo>
                    <a:pt x="31693" y="49343"/>
                  </a:lnTo>
                  <a:lnTo>
                    <a:pt x="30828" y="48762"/>
                  </a:lnTo>
                  <a:lnTo>
                    <a:pt x="29964" y="47891"/>
                  </a:lnTo>
                  <a:lnTo>
                    <a:pt x="28812" y="47601"/>
                  </a:lnTo>
                  <a:lnTo>
                    <a:pt x="25354" y="46150"/>
                  </a:lnTo>
                  <a:lnTo>
                    <a:pt x="21897" y="44699"/>
                  </a:lnTo>
                  <a:lnTo>
                    <a:pt x="18439" y="43828"/>
                  </a:lnTo>
                  <a:lnTo>
                    <a:pt x="5873" y="41894"/>
                  </a:lnTo>
                  <a:lnTo>
                    <a:pt x="0" y="38603"/>
                  </a:lnTo>
                  <a:lnTo>
                    <a:pt x="0" y="36753"/>
                  </a:lnTo>
                  <a:lnTo>
                    <a:pt x="7779" y="37732"/>
                  </a:lnTo>
                  <a:lnTo>
                    <a:pt x="10372" y="38023"/>
                  </a:lnTo>
                  <a:lnTo>
                    <a:pt x="12965" y="37732"/>
                  </a:lnTo>
                  <a:lnTo>
                    <a:pt x="15270" y="35701"/>
                  </a:lnTo>
                  <a:lnTo>
                    <a:pt x="18439" y="38893"/>
                  </a:lnTo>
                  <a:lnTo>
                    <a:pt x="21032" y="39764"/>
                  </a:lnTo>
                  <a:lnTo>
                    <a:pt x="23337" y="40635"/>
                  </a:lnTo>
                  <a:lnTo>
                    <a:pt x="25642" y="41216"/>
                  </a:lnTo>
                  <a:lnTo>
                    <a:pt x="27083" y="41506"/>
                  </a:lnTo>
                  <a:lnTo>
                    <a:pt x="29388" y="41506"/>
                  </a:lnTo>
                  <a:lnTo>
                    <a:pt x="30828" y="40635"/>
                  </a:lnTo>
                  <a:lnTo>
                    <a:pt x="34862" y="38603"/>
                  </a:lnTo>
                  <a:lnTo>
                    <a:pt x="39184" y="35991"/>
                  </a:lnTo>
                  <a:lnTo>
                    <a:pt x="43218" y="33088"/>
                  </a:lnTo>
                  <a:lnTo>
                    <a:pt x="47251" y="30186"/>
                  </a:lnTo>
                  <a:lnTo>
                    <a:pt x="50709" y="26703"/>
                  </a:lnTo>
                  <a:lnTo>
                    <a:pt x="54742" y="23220"/>
                  </a:lnTo>
                  <a:lnTo>
                    <a:pt x="53302" y="22349"/>
                  </a:lnTo>
                  <a:lnTo>
                    <a:pt x="52726" y="22059"/>
                  </a:lnTo>
                  <a:lnTo>
                    <a:pt x="51861" y="21769"/>
                  </a:lnTo>
                  <a:lnTo>
                    <a:pt x="47251" y="20027"/>
                  </a:lnTo>
                  <a:lnTo>
                    <a:pt x="42353" y="18285"/>
                  </a:lnTo>
                  <a:lnTo>
                    <a:pt x="37455" y="16544"/>
                  </a:lnTo>
                  <a:lnTo>
                    <a:pt x="35438" y="15673"/>
                  </a:lnTo>
                  <a:lnTo>
                    <a:pt x="34286" y="16544"/>
                  </a:lnTo>
                  <a:lnTo>
                    <a:pt x="33133" y="18285"/>
                  </a:lnTo>
                  <a:lnTo>
                    <a:pt x="32557" y="10158"/>
                  </a:lnTo>
                  <a:lnTo>
                    <a:pt x="33133" y="8127"/>
                  </a:lnTo>
                  <a:lnTo>
                    <a:pt x="33710" y="6385"/>
                  </a:lnTo>
                  <a:lnTo>
                    <a:pt x="34574" y="4644"/>
                  </a:lnTo>
                  <a:lnTo>
                    <a:pt x="35438" y="2902"/>
                  </a:lnTo>
                  <a:lnTo>
                    <a:pt x="36303" y="290"/>
                  </a:lnTo>
                  <a:lnTo>
                    <a:pt x="38031" y="0"/>
                  </a:lnTo>
                  <a:lnTo>
                    <a:pt x="40625" y="870"/>
                  </a:lnTo>
                  <a:lnTo>
                    <a:pt x="39472" y="3483"/>
                  </a:lnTo>
                  <a:lnTo>
                    <a:pt x="38608" y="6095"/>
                  </a:lnTo>
                  <a:lnTo>
                    <a:pt x="37743" y="8417"/>
                  </a:lnTo>
                  <a:lnTo>
                    <a:pt x="36303" y="11900"/>
                  </a:lnTo>
                  <a:lnTo>
                    <a:pt x="36591" y="11610"/>
                  </a:lnTo>
                  <a:lnTo>
                    <a:pt x="39760" y="12771"/>
                  </a:lnTo>
                  <a:lnTo>
                    <a:pt x="44658" y="14512"/>
                  </a:lnTo>
                  <a:lnTo>
                    <a:pt x="49844" y="16254"/>
                  </a:lnTo>
                  <a:lnTo>
                    <a:pt x="54454" y="18285"/>
                  </a:lnTo>
                  <a:lnTo>
                    <a:pt x="57047" y="19446"/>
                  </a:lnTo>
                  <a:lnTo>
                    <a:pt x="58776" y="18866"/>
                  </a:lnTo>
                  <a:lnTo>
                    <a:pt x="60217" y="16834"/>
                  </a:lnTo>
                  <a:lnTo>
                    <a:pt x="63386" y="12190"/>
                  </a:lnTo>
                  <a:lnTo>
                    <a:pt x="66555" y="7836"/>
                  </a:lnTo>
                  <a:lnTo>
                    <a:pt x="69725" y="2902"/>
                  </a:lnTo>
                  <a:lnTo>
                    <a:pt x="71165" y="580"/>
                  </a:lnTo>
                  <a:lnTo>
                    <a:pt x="72894" y="0"/>
                  </a:lnTo>
                  <a:lnTo>
                    <a:pt x="76063" y="870"/>
                  </a:lnTo>
                  <a:lnTo>
                    <a:pt x="73758" y="4644"/>
                  </a:lnTo>
                  <a:lnTo>
                    <a:pt x="71742" y="8127"/>
                  </a:lnTo>
                  <a:lnTo>
                    <a:pt x="69437" y="11319"/>
                  </a:lnTo>
                  <a:lnTo>
                    <a:pt x="67132" y="14802"/>
                  </a:lnTo>
                  <a:lnTo>
                    <a:pt x="64539" y="17995"/>
                  </a:lnTo>
                  <a:lnTo>
                    <a:pt x="61945" y="21478"/>
                  </a:lnTo>
                  <a:lnTo>
                    <a:pt x="65979" y="23800"/>
                  </a:lnTo>
                  <a:lnTo>
                    <a:pt x="69437" y="26122"/>
                  </a:lnTo>
                  <a:lnTo>
                    <a:pt x="73182" y="28154"/>
                  </a:lnTo>
                  <a:lnTo>
                    <a:pt x="73758" y="28444"/>
                  </a:lnTo>
                  <a:lnTo>
                    <a:pt x="75487" y="27864"/>
                  </a:lnTo>
                  <a:lnTo>
                    <a:pt x="76352" y="26993"/>
                  </a:lnTo>
                  <a:lnTo>
                    <a:pt x="86001" y="18696"/>
                  </a:lnTo>
                  <a:lnTo>
                    <a:pt x="94478" y="9218"/>
                  </a:lnTo>
                  <a:lnTo>
                    <a:pt x="99113" y="2902"/>
                  </a:lnTo>
                  <a:lnTo>
                    <a:pt x="100842" y="580"/>
                  </a:lnTo>
                  <a:lnTo>
                    <a:pt x="102570" y="0"/>
                  </a:lnTo>
                  <a:lnTo>
                    <a:pt x="105740" y="870"/>
                  </a:lnTo>
                  <a:lnTo>
                    <a:pt x="98471" y="11371"/>
                  </a:lnTo>
                  <a:lnTo>
                    <a:pt x="89858" y="20691"/>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3" name="Google Shape;1923;p13"/>
            <p:cNvSpPr/>
            <p:nvPr/>
          </p:nvSpPr>
          <p:spPr>
            <a:xfrm>
              <a:off x="556458" y="7181003"/>
              <a:ext cx="154962" cy="59703"/>
            </a:xfrm>
            <a:custGeom>
              <a:avLst/>
              <a:gdLst/>
              <a:ahLst/>
              <a:cxnLst/>
              <a:rect l="l" t="t" r="r" b="b"/>
              <a:pathLst>
                <a:path w="154962" h="59703" extrusionOk="0">
                  <a:moveTo>
                    <a:pt x="142862" y="54837"/>
                  </a:moveTo>
                  <a:lnTo>
                    <a:pt x="130203" y="57742"/>
                  </a:lnTo>
                  <a:lnTo>
                    <a:pt x="121875" y="58921"/>
                  </a:lnTo>
                  <a:lnTo>
                    <a:pt x="105828" y="59703"/>
                  </a:lnTo>
                  <a:lnTo>
                    <a:pt x="90748" y="58721"/>
                  </a:lnTo>
                  <a:lnTo>
                    <a:pt x="76648" y="56164"/>
                  </a:lnTo>
                  <a:lnTo>
                    <a:pt x="69725" y="48472"/>
                  </a:lnTo>
                  <a:lnTo>
                    <a:pt x="72030" y="44408"/>
                  </a:lnTo>
                  <a:lnTo>
                    <a:pt x="61142" y="37670"/>
                  </a:lnTo>
                  <a:lnTo>
                    <a:pt x="51259" y="29693"/>
                  </a:lnTo>
                  <a:lnTo>
                    <a:pt x="47539" y="26413"/>
                  </a:lnTo>
                  <a:lnTo>
                    <a:pt x="46963" y="25832"/>
                  </a:lnTo>
                  <a:lnTo>
                    <a:pt x="45523" y="25832"/>
                  </a:lnTo>
                  <a:lnTo>
                    <a:pt x="44658" y="26122"/>
                  </a:lnTo>
                  <a:lnTo>
                    <a:pt x="42353" y="27283"/>
                  </a:lnTo>
                  <a:lnTo>
                    <a:pt x="40048" y="28735"/>
                  </a:lnTo>
                  <a:lnTo>
                    <a:pt x="37743" y="30186"/>
                  </a:lnTo>
                  <a:lnTo>
                    <a:pt x="35150" y="31637"/>
                  </a:lnTo>
                  <a:lnTo>
                    <a:pt x="35150" y="32508"/>
                  </a:lnTo>
                  <a:lnTo>
                    <a:pt x="37743" y="33669"/>
                  </a:lnTo>
                  <a:lnTo>
                    <a:pt x="48972" y="39698"/>
                  </a:lnTo>
                  <a:lnTo>
                    <a:pt x="60240" y="45536"/>
                  </a:lnTo>
                  <a:lnTo>
                    <a:pt x="63538" y="52223"/>
                  </a:lnTo>
                  <a:lnTo>
                    <a:pt x="51430" y="47089"/>
                  </a:lnTo>
                  <a:lnTo>
                    <a:pt x="40336" y="40952"/>
                  </a:lnTo>
                  <a:lnTo>
                    <a:pt x="30266" y="34002"/>
                  </a:lnTo>
                  <a:lnTo>
                    <a:pt x="21232" y="26430"/>
                  </a:lnTo>
                  <a:lnTo>
                    <a:pt x="13246" y="18426"/>
                  </a:lnTo>
                  <a:lnTo>
                    <a:pt x="6318" y="10181"/>
                  </a:lnTo>
                  <a:lnTo>
                    <a:pt x="461" y="1884"/>
                  </a:lnTo>
                  <a:lnTo>
                    <a:pt x="0" y="1160"/>
                  </a:lnTo>
                  <a:lnTo>
                    <a:pt x="2016" y="0"/>
                  </a:lnTo>
                  <a:lnTo>
                    <a:pt x="3745" y="0"/>
                  </a:lnTo>
                  <a:lnTo>
                    <a:pt x="5186" y="2031"/>
                  </a:lnTo>
                  <a:lnTo>
                    <a:pt x="9219" y="6966"/>
                  </a:lnTo>
                  <a:lnTo>
                    <a:pt x="13253" y="12190"/>
                  </a:lnTo>
                  <a:lnTo>
                    <a:pt x="17575" y="16834"/>
                  </a:lnTo>
                  <a:lnTo>
                    <a:pt x="21608" y="20898"/>
                  </a:lnTo>
                  <a:lnTo>
                    <a:pt x="25930" y="24381"/>
                  </a:lnTo>
                  <a:lnTo>
                    <a:pt x="30252" y="28154"/>
                  </a:lnTo>
                  <a:lnTo>
                    <a:pt x="30828" y="28735"/>
                  </a:lnTo>
                  <a:lnTo>
                    <a:pt x="32269" y="28444"/>
                  </a:lnTo>
                  <a:lnTo>
                    <a:pt x="33133" y="27864"/>
                  </a:lnTo>
                  <a:lnTo>
                    <a:pt x="35726" y="26703"/>
                  </a:lnTo>
                  <a:lnTo>
                    <a:pt x="38031" y="24961"/>
                  </a:lnTo>
                  <a:lnTo>
                    <a:pt x="40625" y="23510"/>
                  </a:lnTo>
                  <a:lnTo>
                    <a:pt x="43218" y="21769"/>
                  </a:lnTo>
                  <a:lnTo>
                    <a:pt x="43218" y="21478"/>
                  </a:lnTo>
                  <a:lnTo>
                    <a:pt x="41489" y="19156"/>
                  </a:lnTo>
                  <a:lnTo>
                    <a:pt x="38031" y="13932"/>
                  </a:lnTo>
                  <a:lnTo>
                    <a:pt x="34574" y="8707"/>
                  </a:lnTo>
                  <a:lnTo>
                    <a:pt x="30828" y="3773"/>
                  </a:lnTo>
                  <a:lnTo>
                    <a:pt x="30540" y="2902"/>
                  </a:lnTo>
                  <a:lnTo>
                    <a:pt x="30252" y="2031"/>
                  </a:lnTo>
                  <a:lnTo>
                    <a:pt x="29676" y="870"/>
                  </a:lnTo>
                  <a:lnTo>
                    <a:pt x="32269" y="0"/>
                  </a:lnTo>
                  <a:lnTo>
                    <a:pt x="33998" y="580"/>
                  </a:lnTo>
                  <a:lnTo>
                    <a:pt x="35438" y="2612"/>
                  </a:lnTo>
                  <a:lnTo>
                    <a:pt x="38608" y="7546"/>
                  </a:lnTo>
                  <a:lnTo>
                    <a:pt x="42065" y="12190"/>
                  </a:lnTo>
                  <a:lnTo>
                    <a:pt x="45234" y="17124"/>
                  </a:lnTo>
                  <a:lnTo>
                    <a:pt x="46675" y="19156"/>
                  </a:lnTo>
                  <a:lnTo>
                    <a:pt x="48116" y="19446"/>
                  </a:lnTo>
                  <a:lnTo>
                    <a:pt x="50709" y="18576"/>
                  </a:lnTo>
                  <a:lnTo>
                    <a:pt x="55895" y="16254"/>
                  </a:lnTo>
                  <a:lnTo>
                    <a:pt x="61081" y="14512"/>
                  </a:lnTo>
                  <a:lnTo>
                    <a:pt x="66267" y="12771"/>
                  </a:lnTo>
                  <a:lnTo>
                    <a:pt x="68284" y="12190"/>
                  </a:lnTo>
                  <a:lnTo>
                    <a:pt x="68572" y="11319"/>
                  </a:lnTo>
                  <a:lnTo>
                    <a:pt x="67996" y="9288"/>
                  </a:lnTo>
                  <a:lnTo>
                    <a:pt x="67132" y="7546"/>
                  </a:lnTo>
                  <a:lnTo>
                    <a:pt x="66267" y="5514"/>
                  </a:lnTo>
                  <a:lnTo>
                    <a:pt x="65691" y="3773"/>
                  </a:lnTo>
                  <a:lnTo>
                    <a:pt x="65403" y="2612"/>
                  </a:lnTo>
                  <a:lnTo>
                    <a:pt x="65403" y="870"/>
                  </a:lnTo>
                  <a:lnTo>
                    <a:pt x="65979" y="580"/>
                  </a:lnTo>
                  <a:lnTo>
                    <a:pt x="67420" y="0"/>
                  </a:lnTo>
                  <a:lnTo>
                    <a:pt x="68860" y="290"/>
                  </a:lnTo>
                  <a:lnTo>
                    <a:pt x="69725" y="2031"/>
                  </a:lnTo>
                  <a:lnTo>
                    <a:pt x="70301" y="4353"/>
                  </a:lnTo>
                  <a:lnTo>
                    <a:pt x="71453" y="6385"/>
                  </a:lnTo>
                  <a:lnTo>
                    <a:pt x="71453" y="17415"/>
                  </a:lnTo>
                  <a:lnTo>
                    <a:pt x="71165" y="16834"/>
                  </a:lnTo>
                  <a:lnTo>
                    <a:pt x="69437" y="16254"/>
                  </a:lnTo>
                  <a:lnTo>
                    <a:pt x="68572" y="16544"/>
                  </a:lnTo>
                  <a:lnTo>
                    <a:pt x="64250" y="17705"/>
                  </a:lnTo>
                  <a:lnTo>
                    <a:pt x="60217" y="19446"/>
                  </a:lnTo>
                  <a:lnTo>
                    <a:pt x="55895" y="20898"/>
                  </a:lnTo>
                  <a:lnTo>
                    <a:pt x="54454" y="21478"/>
                  </a:lnTo>
                  <a:lnTo>
                    <a:pt x="52726" y="22059"/>
                  </a:lnTo>
                  <a:lnTo>
                    <a:pt x="50709" y="22930"/>
                  </a:lnTo>
                  <a:lnTo>
                    <a:pt x="52437" y="24671"/>
                  </a:lnTo>
                  <a:lnTo>
                    <a:pt x="53302" y="26122"/>
                  </a:lnTo>
                  <a:lnTo>
                    <a:pt x="54454" y="26993"/>
                  </a:lnTo>
                  <a:lnTo>
                    <a:pt x="60217" y="31057"/>
                  </a:lnTo>
                  <a:lnTo>
                    <a:pt x="65979" y="35120"/>
                  </a:lnTo>
                  <a:lnTo>
                    <a:pt x="71453" y="39474"/>
                  </a:lnTo>
                  <a:lnTo>
                    <a:pt x="76928" y="43538"/>
                  </a:lnTo>
                  <a:lnTo>
                    <a:pt x="81538" y="40345"/>
                  </a:lnTo>
                  <a:lnTo>
                    <a:pt x="86724" y="38893"/>
                  </a:lnTo>
                  <a:lnTo>
                    <a:pt x="86436" y="38313"/>
                  </a:lnTo>
                  <a:lnTo>
                    <a:pt x="86436" y="38023"/>
                  </a:lnTo>
                  <a:lnTo>
                    <a:pt x="80097" y="23220"/>
                  </a:lnTo>
                  <a:lnTo>
                    <a:pt x="83843" y="28444"/>
                  </a:lnTo>
                  <a:lnTo>
                    <a:pt x="87876" y="33379"/>
                  </a:lnTo>
                  <a:lnTo>
                    <a:pt x="89893" y="35701"/>
                  </a:lnTo>
                  <a:lnTo>
                    <a:pt x="92198" y="39184"/>
                  </a:lnTo>
                  <a:lnTo>
                    <a:pt x="95367" y="38023"/>
                  </a:lnTo>
                  <a:lnTo>
                    <a:pt x="98537" y="37732"/>
                  </a:lnTo>
                  <a:lnTo>
                    <a:pt x="100842" y="37442"/>
                  </a:lnTo>
                  <a:lnTo>
                    <a:pt x="103147" y="37152"/>
                  </a:lnTo>
                  <a:lnTo>
                    <a:pt x="103723" y="36862"/>
                  </a:lnTo>
                  <a:lnTo>
                    <a:pt x="105164" y="35991"/>
                  </a:lnTo>
                  <a:lnTo>
                    <a:pt x="105164" y="12480"/>
                  </a:lnTo>
                  <a:lnTo>
                    <a:pt x="103723" y="11319"/>
                  </a:lnTo>
                  <a:lnTo>
                    <a:pt x="103147" y="11319"/>
                  </a:lnTo>
                  <a:lnTo>
                    <a:pt x="94791" y="12190"/>
                  </a:lnTo>
                  <a:lnTo>
                    <a:pt x="86436" y="13061"/>
                  </a:lnTo>
                  <a:lnTo>
                    <a:pt x="78368" y="14222"/>
                  </a:lnTo>
                  <a:lnTo>
                    <a:pt x="75199" y="14512"/>
                  </a:lnTo>
                  <a:lnTo>
                    <a:pt x="75487" y="10449"/>
                  </a:lnTo>
                  <a:lnTo>
                    <a:pt x="88098" y="8840"/>
                  </a:lnTo>
                  <a:lnTo>
                    <a:pt x="100709" y="7412"/>
                  </a:lnTo>
                  <a:lnTo>
                    <a:pt x="102282" y="7256"/>
                  </a:lnTo>
                  <a:lnTo>
                    <a:pt x="104587" y="6966"/>
                  </a:lnTo>
                  <a:lnTo>
                    <a:pt x="105452" y="6095"/>
                  </a:lnTo>
                  <a:lnTo>
                    <a:pt x="105164" y="4063"/>
                  </a:lnTo>
                  <a:lnTo>
                    <a:pt x="105164" y="2612"/>
                  </a:lnTo>
                  <a:lnTo>
                    <a:pt x="105740" y="2031"/>
                  </a:lnTo>
                  <a:lnTo>
                    <a:pt x="106604" y="1160"/>
                  </a:lnTo>
                  <a:lnTo>
                    <a:pt x="107180" y="580"/>
                  </a:lnTo>
                  <a:lnTo>
                    <a:pt x="107757" y="1160"/>
                  </a:lnTo>
                  <a:lnTo>
                    <a:pt x="108909" y="1741"/>
                  </a:lnTo>
                  <a:lnTo>
                    <a:pt x="108909" y="2612"/>
                  </a:lnTo>
                  <a:lnTo>
                    <a:pt x="109773" y="6966"/>
                  </a:lnTo>
                  <a:lnTo>
                    <a:pt x="109773" y="6675"/>
                  </a:lnTo>
                  <a:lnTo>
                    <a:pt x="114095" y="7256"/>
                  </a:lnTo>
                  <a:lnTo>
                    <a:pt x="122451" y="7836"/>
                  </a:lnTo>
                  <a:lnTo>
                    <a:pt x="130518" y="8997"/>
                  </a:lnTo>
                  <a:lnTo>
                    <a:pt x="138586" y="10158"/>
                  </a:lnTo>
                  <a:lnTo>
                    <a:pt x="140602" y="10449"/>
                  </a:lnTo>
                  <a:lnTo>
                    <a:pt x="141755" y="10158"/>
                  </a:lnTo>
                  <a:lnTo>
                    <a:pt x="142331" y="18285"/>
                  </a:lnTo>
                  <a:lnTo>
                    <a:pt x="138586" y="25252"/>
                  </a:lnTo>
                  <a:lnTo>
                    <a:pt x="134552" y="31927"/>
                  </a:lnTo>
                  <a:lnTo>
                    <a:pt x="128789" y="37152"/>
                  </a:lnTo>
                  <a:lnTo>
                    <a:pt x="128501" y="37442"/>
                  </a:lnTo>
                  <a:lnTo>
                    <a:pt x="128213" y="38313"/>
                  </a:lnTo>
                  <a:lnTo>
                    <a:pt x="127637" y="38893"/>
                  </a:lnTo>
                  <a:lnTo>
                    <a:pt x="124468" y="35701"/>
                  </a:lnTo>
                  <a:lnTo>
                    <a:pt x="129942" y="30766"/>
                  </a:lnTo>
                  <a:lnTo>
                    <a:pt x="134264" y="24671"/>
                  </a:lnTo>
                  <a:lnTo>
                    <a:pt x="137721" y="17995"/>
                  </a:lnTo>
                  <a:lnTo>
                    <a:pt x="139450" y="14802"/>
                  </a:lnTo>
                  <a:lnTo>
                    <a:pt x="139162" y="14512"/>
                  </a:lnTo>
                  <a:lnTo>
                    <a:pt x="135992" y="13932"/>
                  </a:lnTo>
                  <a:lnTo>
                    <a:pt x="127637" y="13061"/>
                  </a:lnTo>
                  <a:lnTo>
                    <a:pt x="119570" y="12190"/>
                  </a:lnTo>
                  <a:lnTo>
                    <a:pt x="111214" y="11029"/>
                  </a:lnTo>
                  <a:lnTo>
                    <a:pt x="109485" y="11029"/>
                  </a:lnTo>
                  <a:lnTo>
                    <a:pt x="109197" y="12190"/>
                  </a:lnTo>
                  <a:lnTo>
                    <a:pt x="109197" y="36753"/>
                  </a:lnTo>
                  <a:lnTo>
                    <a:pt x="107757" y="36572"/>
                  </a:lnTo>
                  <a:lnTo>
                    <a:pt x="109197" y="38603"/>
                  </a:lnTo>
                  <a:lnTo>
                    <a:pt x="115071" y="41894"/>
                  </a:lnTo>
                  <a:lnTo>
                    <a:pt x="102450" y="41749"/>
                  </a:lnTo>
                  <a:lnTo>
                    <a:pt x="96232" y="42377"/>
                  </a:lnTo>
                  <a:lnTo>
                    <a:pt x="89029" y="42957"/>
                  </a:lnTo>
                  <a:lnTo>
                    <a:pt x="82402" y="44408"/>
                  </a:lnTo>
                  <a:lnTo>
                    <a:pt x="76063" y="47601"/>
                  </a:lnTo>
                  <a:lnTo>
                    <a:pt x="74911" y="48182"/>
                  </a:lnTo>
                  <a:lnTo>
                    <a:pt x="74335" y="49052"/>
                  </a:lnTo>
                  <a:lnTo>
                    <a:pt x="73470" y="49633"/>
                  </a:lnTo>
                  <a:lnTo>
                    <a:pt x="73470" y="50213"/>
                  </a:lnTo>
                  <a:lnTo>
                    <a:pt x="73758" y="50504"/>
                  </a:lnTo>
                  <a:lnTo>
                    <a:pt x="86225" y="53283"/>
                  </a:lnTo>
                  <a:lnTo>
                    <a:pt x="98729" y="54784"/>
                  </a:lnTo>
                  <a:lnTo>
                    <a:pt x="111249" y="55008"/>
                  </a:lnTo>
                  <a:lnTo>
                    <a:pt x="123761" y="53954"/>
                  </a:lnTo>
                  <a:lnTo>
                    <a:pt x="136243" y="51622"/>
                  </a:lnTo>
                  <a:lnTo>
                    <a:pt x="140602" y="50504"/>
                  </a:lnTo>
                  <a:lnTo>
                    <a:pt x="140602" y="50213"/>
                  </a:lnTo>
                  <a:lnTo>
                    <a:pt x="140890" y="49923"/>
                  </a:lnTo>
                  <a:lnTo>
                    <a:pt x="142619" y="44408"/>
                  </a:lnTo>
                  <a:lnTo>
                    <a:pt x="145789" y="48762"/>
                  </a:lnTo>
                  <a:lnTo>
                    <a:pt x="146077" y="49052"/>
                  </a:lnTo>
                  <a:lnTo>
                    <a:pt x="154962" y="50676"/>
                  </a:lnTo>
                  <a:lnTo>
                    <a:pt x="142862" y="54837"/>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4" name="Google Shape;1924;p13"/>
            <p:cNvSpPr/>
            <p:nvPr/>
          </p:nvSpPr>
          <p:spPr>
            <a:xfrm>
              <a:off x="616698" y="7226540"/>
              <a:ext cx="16407" cy="10627"/>
            </a:xfrm>
            <a:custGeom>
              <a:avLst/>
              <a:gdLst/>
              <a:ahLst/>
              <a:cxnLst/>
              <a:rect l="l" t="t" r="r" b="b"/>
              <a:pathLst>
                <a:path w="16407" h="10627" extrusionOk="0">
                  <a:moveTo>
                    <a:pt x="0" y="0"/>
                  </a:moveTo>
                  <a:lnTo>
                    <a:pt x="2857" y="1484"/>
                  </a:lnTo>
                  <a:lnTo>
                    <a:pt x="6603" y="3515"/>
                  </a:lnTo>
                  <a:lnTo>
                    <a:pt x="9484" y="2935"/>
                  </a:lnTo>
                  <a:lnTo>
                    <a:pt x="16407" y="10627"/>
                  </a:lnTo>
                  <a:lnTo>
                    <a:pt x="3298" y="6686"/>
                  </a:lnTo>
                  <a:lnTo>
                    <a:pt x="0"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5" name="Google Shape;1925;p13"/>
            <p:cNvSpPr/>
            <p:nvPr/>
          </p:nvSpPr>
          <p:spPr>
            <a:xfrm>
              <a:off x="708005" y="6993576"/>
              <a:ext cx="32987" cy="15502"/>
            </a:xfrm>
            <a:custGeom>
              <a:avLst/>
              <a:gdLst/>
              <a:ahLst/>
              <a:cxnLst/>
              <a:rect l="l" t="t" r="r" b="b"/>
              <a:pathLst>
                <a:path w="32987" h="15502" extrusionOk="0">
                  <a:moveTo>
                    <a:pt x="27948" y="15502"/>
                  </a:moveTo>
                  <a:lnTo>
                    <a:pt x="27948" y="14631"/>
                  </a:lnTo>
                  <a:lnTo>
                    <a:pt x="25643" y="13470"/>
                  </a:lnTo>
                  <a:lnTo>
                    <a:pt x="14369" y="7493"/>
                  </a:lnTo>
                  <a:lnTo>
                    <a:pt x="3137" y="1705"/>
                  </a:lnTo>
                  <a:lnTo>
                    <a:pt x="0" y="118"/>
                  </a:lnTo>
                  <a:lnTo>
                    <a:pt x="11804" y="0"/>
                  </a:lnTo>
                  <a:lnTo>
                    <a:pt x="22909" y="6117"/>
                  </a:lnTo>
                  <a:lnTo>
                    <a:pt x="32987" y="13046"/>
                  </a:lnTo>
                  <a:lnTo>
                    <a:pt x="27948" y="1550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6" name="Google Shape;1926;p13"/>
            <p:cNvSpPr/>
            <p:nvPr/>
          </p:nvSpPr>
          <p:spPr>
            <a:xfrm>
              <a:off x="607161" y="6992824"/>
              <a:ext cx="88166" cy="47601"/>
            </a:xfrm>
            <a:custGeom>
              <a:avLst/>
              <a:gdLst/>
              <a:ahLst/>
              <a:cxnLst/>
              <a:rect l="l" t="t" r="r" b="b"/>
              <a:pathLst>
                <a:path w="88166" h="47601" extrusionOk="0">
                  <a:moveTo>
                    <a:pt x="5186" y="31637"/>
                  </a:moveTo>
                  <a:lnTo>
                    <a:pt x="288" y="29606"/>
                  </a:lnTo>
                  <a:lnTo>
                    <a:pt x="0" y="24671"/>
                  </a:lnTo>
                  <a:lnTo>
                    <a:pt x="1440" y="25542"/>
                  </a:lnTo>
                  <a:lnTo>
                    <a:pt x="2016" y="25832"/>
                  </a:lnTo>
                  <a:lnTo>
                    <a:pt x="2881" y="26122"/>
                  </a:lnTo>
                  <a:lnTo>
                    <a:pt x="17575" y="31347"/>
                  </a:lnTo>
                  <a:lnTo>
                    <a:pt x="19592" y="32218"/>
                  </a:lnTo>
                  <a:lnTo>
                    <a:pt x="20456" y="31347"/>
                  </a:lnTo>
                  <a:lnTo>
                    <a:pt x="21609" y="29606"/>
                  </a:lnTo>
                  <a:lnTo>
                    <a:pt x="25354" y="22639"/>
                  </a:lnTo>
                  <a:lnTo>
                    <a:pt x="29388" y="15964"/>
                  </a:lnTo>
                  <a:lnTo>
                    <a:pt x="35151" y="10739"/>
                  </a:lnTo>
                  <a:lnTo>
                    <a:pt x="35727" y="10449"/>
                  </a:lnTo>
                  <a:lnTo>
                    <a:pt x="36015" y="9578"/>
                  </a:lnTo>
                  <a:lnTo>
                    <a:pt x="36591" y="8997"/>
                  </a:lnTo>
                  <a:lnTo>
                    <a:pt x="33998" y="8127"/>
                  </a:lnTo>
                  <a:lnTo>
                    <a:pt x="31693" y="7256"/>
                  </a:lnTo>
                  <a:lnTo>
                    <a:pt x="29388" y="6675"/>
                  </a:lnTo>
                  <a:lnTo>
                    <a:pt x="32846" y="3192"/>
                  </a:lnTo>
                  <a:lnTo>
                    <a:pt x="36303" y="4063"/>
                  </a:lnTo>
                  <a:lnTo>
                    <a:pt x="48899" y="5987"/>
                  </a:lnTo>
                  <a:lnTo>
                    <a:pt x="61439" y="6155"/>
                  </a:lnTo>
                  <a:lnTo>
                    <a:pt x="67997" y="5514"/>
                  </a:lnTo>
                  <a:lnTo>
                    <a:pt x="74912" y="4934"/>
                  </a:lnTo>
                  <a:lnTo>
                    <a:pt x="81827" y="3483"/>
                  </a:lnTo>
                  <a:lnTo>
                    <a:pt x="88166" y="0"/>
                  </a:lnTo>
                  <a:lnTo>
                    <a:pt x="87013" y="4353"/>
                  </a:lnTo>
                  <a:lnTo>
                    <a:pt x="82403" y="7256"/>
                  </a:lnTo>
                  <a:lnTo>
                    <a:pt x="77505" y="8997"/>
                  </a:lnTo>
                  <a:lnTo>
                    <a:pt x="77505" y="9578"/>
                  </a:lnTo>
                  <a:lnTo>
                    <a:pt x="80386" y="19156"/>
                  </a:lnTo>
                  <a:lnTo>
                    <a:pt x="76352" y="14222"/>
                  </a:lnTo>
                  <a:lnTo>
                    <a:pt x="74336" y="12190"/>
                  </a:lnTo>
                  <a:lnTo>
                    <a:pt x="72031" y="8707"/>
                  </a:lnTo>
                  <a:lnTo>
                    <a:pt x="68573" y="9868"/>
                  </a:lnTo>
                  <a:lnTo>
                    <a:pt x="65692" y="10158"/>
                  </a:lnTo>
                  <a:lnTo>
                    <a:pt x="63387" y="10449"/>
                  </a:lnTo>
                  <a:lnTo>
                    <a:pt x="61082" y="10739"/>
                  </a:lnTo>
                  <a:lnTo>
                    <a:pt x="60217" y="11029"/>
                  </a:lnTo>
                  <a:lnTo>
                    <a:pt x="59065" y="11900"/>
                  </a:lnTo>
                  <a:lnTo>
                    <a:pt x="59065" y="12771"/>
                  </a:lnTo>
                  <a:lnTo>
                    <a:pt x="58777" y="20027"/>
                  </a:lnTo>
                  <a:lnTo>
                    <a:pt x="58777" y="27284"/>
                  </a:lnTo>
                  <a:lnTo>
                    <a:pt x="59065" y="34540"/>
                  </a:lnTo>
                  <a:lnTo>
                    <a:pt x="59065" y="35411"/>
                  </a:lnTo>
                  <a:lnTo>
                    <a:pt x="60217" y="36572"/>
                  </a:lnTo>
                  <a:lnTo>
                    <a:pt x="59641" y="40926"/>
                  </a:lnTo>
                  <a:lnTo>
                    <a:pt x="58777" y="41506"/>
                  </a:lnTo>
                  <a:lnTo>
                    <a:pt x="58777" y="44118"/>
                  </a:lnTo>
                  <a:lnTo>
                    <a:pt x="59065" y="44699"/>
                  </a:lnTo>
                  <a:lnTo>
                    <a:pt x="58777" y="45279"/>
                  </a:lnTo>
                  <a:lnTo>
                    <a:pt x="58201" y="45860"/>
                  </a:lnTo>
                  <a:lnTo>
                    <a:pt x="57624" y="46731"/>
                  </a:lnTo>
                  <a:lnTo>
                    <a:pt x="57048" y="47311"/>
                  </a:lnTo>
                  <a:lnTo>
                    <a:pt x="56472" y="11319"/>
                  </a:lnTo>
                  <a:lnTo>
                    <a:pt x="54743" y="9288"/>
                  </a:lnTo>
                  <a:lnTo>
                    <a:pt x="54803" y="11109"/>
                  </a:lnTo>
                  <a:lnTo>
                    <a:pt x="47252" y="10158"/>
                  </a:lnTo>
                  <a:lnTo>
                    <a:pt x="44371" y="9868"/>
                  </a:lnTo>
                  <a:lnTo>
                    <a:pt x="42066" y="10158"/>
                  </a:lnTo>
                  <a:lnTo>
                    <a:pt x="39761" y="12190"/>
                  </a:lnTo>
                  <a:lnTo>
                    <a:pt x="33998" y="17125"/>
                  </a:lnTo>
                  <a:lnTo>
                    <a:pt x="29964" y="23220"/>
                  </a:lnTo>
                  <a:lnTo>
                    <a:pt x="26219" y="29896"/>
                  </a:lnTo>
                  <a:lnTo>
                    <a:pt x="24778" y="33089"/>
                  </a:lnTo>
                  <a:lnTo>
                    <a:pt x="24778" y="33379"/>
                  </a:lnTo>
                  <a:lnTo>
                    <a:pt x="28236" y="33959"/>
                  </a:lnTo>
                  <a:lnTo>
                    <a:pt x="36303" y="34830"/>
                  </a:lnTo>
                  <a:lnTo>
                    <a:pt x="44659" y="35701"/>
                  </a:lnTo>
                  <a:lnTo>
                    <a:pt x="52726" y="36572"/>
                  </a:lnTo>
                  <a:lnTo>
                    <a:pt x="54455" y="40926"/>
                  </a:lnTo>
                  <a:lnTo>
                    <a:pt x="54455" y="41216"/>
                  </a:lnTo>
                  <a:lnTo>
                    <a:pt x="50133" y="40635"/>
                  </a:lnTo>
                  <a:lnTo>
                    <a:pt x="41778" y="40055"/>
                  </a:lnTo>
                  <a:lnTo>
                    <a:pt x="33422" y="38894"/>
                  </a:lnTo>
                  <a:lnTo>
                    <a:pt x="25354" y="37733"/>
                  </a:lnTo>
                  <a:lnTo>
                    <a:pt x="23338" y="37152"/>
                  </a:lnTo>
                  <a:lnTo>
                    <a:pt x="22185" y="37733"/>
                  </a:lnTo>
                  <a:lnTo>
                    <a:pt x="21609" y="39765"/>
                  </a:lnTo>
                  <a:lnTo>
                    <a:pt x="21033" y="41506"/>
                  </a:lnTo>
                  <a:lnTo>
                    <a:pt x="20168" y="43248"/>
                  </a:lnTo>
                  <a:lnTo>
                    <a:pt x="19592" y="44989"/>
                  </a:lnTo>
                  <a:lnTo>
                    <a:pt x="18728" y="47601"/>
                  </a:lnTo>
                  <a:lnTo>
                    <a:pt x="18439" y="36281"/>
                  </a:lnTo>
                  <a:lnTo>
                    <a:pt x="18439" y="35991"/>
                  </a:lnTo>
                  <a:lnTo>
                    <a:pt x="18354" y="36250"/>
                  </a:lnTo>
                  <a:lnTo>
                    <a:pt x="15270" y="35120"/>
                  </a:lnTo>
                  <a:lnTo>
                    <a:pt x="10084" y="33379"/>
                  </a:lnTo>
                  <a:lnTo>
                    <a:pt x="5186" y="31637"/>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7" name="Google Shape;1927;p13"/>
            <p:cNvSpPr/>
            <p:nvPr/>
          </p:nvSpPr>
          <p:spPr>
            <a:xfrm>
              <a:off x="659888" y="7003934"/>
              <a:ext cx="4321" cy="36201"/>
            </a:xfrm>
            <a:custGeom>
              <a:avLst/>
              <a:gdLst/>
              <a:ahLst/>
              <a:cxnLst/>
              <a:rect l="l" t="t" r="r" b="b"/>
              <a:pathLst>
                <a:path w="4321" h="36201" extrusionOk="0">
                  <a:moveTo>
                    <a:pt x="2305" y="23140"/>
                  </a:moveTo>
                  <a:lnTo>
                    <a:pt x="2305" y="6885"/>
                  </a:lnTo>
                  <a:lnTo>
                    <a:pt x="2077" y="0"/>
                  </a:lnTo>
                  <a:lnTo>
                    <a:pt x="3745" y="210"/>
                  </a:lnTo>
                  <a:lnTo>
                    <a:pt x="4321" y="36201"/>
                  </a:lnTo>
                  <a:lnTo>
                    <a:pt x="3457" y="35621"/>
                  </a:lnTo>
                  <a:lnTo>
                    <a:pt x="2593" y="35040"/>
                  </a:lnTo>
                  <a:lnTo>
                    <a:pt x="2305" y="34170"/>
                  </a:lnTo>
                  <a:lnTo>
                    <a:pt x="1728" y="29816"/>
                  </a:lnTo>
                  <a:lnTo>
                    <a:pt x="0" y="25462"/>
                  </a:lnTo>
                  <a:lnTo>
                    <a:pt x="2016" y="25752"/>
                  </a:lnTo>
                  <a:lnTo>
                    <a:pt x="2305" y="24591"/>
                  </a:lnTo>
                  <a:lnTo>
                    <a:pt x="2305" y="2314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8" name="Google Shape;1928;p13"/>
            <p:cNvSpPr/>
            <p:nvPr/>
          </p:nvSpPr>
          <p:spPr>
            <a:xfrm>
              <a:off x="556451" y="6981012"/>
              <a:ext cx="214940" cy="59704"/>
            </a:xfrm>
            <a:custGeom>
              <a:avLst/>
              <a:gdLst/>
              <a:ahLst/>
              <a:cxnLst/>
              <a:rect l="l" t="t" r="r" b="b"/>
              <a:pathLst>
                <a:path w="214940" h="59704" extrusionOk="0">
                  <a:moveTo>
                    <a:pt x="126553" y="50863"/>
                  </a:moveTo>
                  <a:lnTo>
                    <a:pt x="113942" y="52291"/>
                  </a:lnTo>
                  <a:lnTo>
                    <a:pt x="112368" y="52447"/>
                  </a:lnTo>
                  <a:lnTo>
                    <a:pt x="110351" y="52737"/>
                  </a:lnTo>
                  <a:lnTo>
                    <a:pt x="110927" y="48384"/>
                  </a:lnTo>
                  <a:lnTo>
                    <a:pt x="111792" y="48384"/>
                  </a:lnTo>
                  <a:lnTo>
                    <a:pt x="119859" y="47513"/>
                  </a:lnTo>
                  <a:lnTo>
                    <a:pt x="128215" y="46642"/>
                  </a:lnTo>
                  <a:lnTo>
                    <a:pt x="136570" y="45481"/>
                  </a:lnTo>
                  <a:lnTo>
                    <a:pt x="139452" y="45191"/>
                  </a:lnTo>
                  <a:lnTo>
                    <a:pt x="139740" y="44320"/>
                  </a:lnTo>
                  <a:lnTo>
                    <a:pt x="138299" y="41998"/>
                  </a:lnTo>
                  <a:lnTo>
                    <a:pt x="134554" y="36483"/>
                  </a:lnTo>
                  <a:lnTo>
                    <a:pt x="131096" y="30968"/>
                  </a:lnTo>
                  <a:lnTo>
                    <a:pt x="128215" y="21390"/>
                  </a:lnTo>
                  <a:lnTo>
                    <a:pt x="128503" y="21680"/>
                  </a:lnTo>
                  <a:lnTo>
                    <a:pt x="134554" y="27776"/>
                  </a:lnTo>
                  <a:lnTo>
                    <a:pt x="139452" y="34451"/>
                  </a:lnTo>
                  <a:lnTo>
                    <a:pt x="143197" y="42288"/>
                  </a:lnTo>
                  <a:lnTo>
                    <a:pt x="143485" y="42869"/>
                  </a:lnTo>
                  <a:lnTo>
                    <a:pt x="145502" y="43449"/>
                  </a:lnTo>
                  <a:lnTo>
                    <a:pt x="146367" y="43159"/>
                  </a:lnTo>
                  <a:lnTo>
                    <a:pt x="150400" y="41998"/>
                  </a:lnTo>
                  <a:lnTo>
                    <a:pt x="154722" y="40256"/>
                  </a:lnTo>
                  <a:lnTo>
                    <a:pt x="158756" y="38805"/>
                  </a:lnTo>
                  <a:lnTo>
                    <a:pt x="160485" y="38225"/>
                  </a:lnTo>
                  <a:lnTo>
                    <a:pt x="161925" y="37644"/>
                  </a:lnTo>
                  <a:lnTo>
                    <a:pt x="163942" y="36483"/>
                  </a:lnTo>
                  <a:lnTo>
                    <a:pt x="162502" y="35032"/>
                  </a:lnTo>
                  <a:lnTo>
                    <a:pt x="161349" y="33581"/>
                  </a:lnTo>
                  <a:lnTo>
                    <a:pt x="160197" y="32710"/>
                  </a:lnTo>
                  <a:lnTo>
                    <a:pt x="154722" y="28646"/>
                  </a:lnTo>
                  <a:lnTo>
                    <a:pt x="148672" y="24583"/>
                  </a:lnTo>
                  <a:lnTo>
                    <a:pt x="143197" y="20229"/>
                  </a:lnTo>
                  <a:lnTo>
                    <a:pt x="137723" y="16165"/>
                  </a:lnTo>
                  <a:lnTo>
                    <a:pt x="138875" y="11811"/>
                  </a:lnTo>
                  <a:lnTo>
                    <a:pt x="139740" y="11521"/>
                  </a:lnTo>
                  <a:lnTo>
                    <a:pt x="140604" y="10650"/>
                  </a:lnTo>
                  <a:lnTo>
                    <a:pt x="141468" y="10070"/>
                  </a:lnTo>
                  <a:lnTo>
                    <a:pt x="141180" y="9780"/>
                  </a:lnTo>
                  <a:lnTo>
                    <a:pt x="141180" y="9199"/>
                  </a:lnTo>
                  <a:lnTo>
                    <a:pt x="128657" y="6429"/>
                  </a:lnTo>
                  <a:lnTo>
                    <a:pt x="116172" y="4926"/>
                  </a:lnTo>
                  <a:lnTo>
                    <a:pt x="103702" y="4690"/>
                  </a:lnTo>
                  <a:lnTo>
                    <a:pt x="91225" y="5721"/>
                  </a:lnTo>
                  <a:lnTo>
                    <a:pt x="78718" y="8019"/>
                  </a:lnTo>
                  <a:lnTo>
                    <a:pt x="74047" y="9199"/>
                  </a:lnTo>
                  <a:lnTo>
                    <a:pt x="74047" y="9780"/>
                  </a:lnTo>
                  <a:lnTo>
                    <a:pt x="73759" y="10070"/>
                  </a:lnTo>
                  <a:lnTo>
                    <a:pt x="74912" y="10941"/>
                  </a:lnTo>
                  <a:lnTo>
                    <a:pt x="75776" y="11811"/>
                  </a:lnTo>
                  <a:lnTo>
                    <a:pt x="76641" y="12102"/>
                  </a:lnTo>
                  <a:lnTo>
                    <a:pt x="80098" y="13553"/>
                  </a:lnTo>
                  <a:lnTo>
                    <a:pt x="83556" y="15004"/>
                  </a:lnTo>
                  <a:lnTo>
                    <a:pt x="80098" y="18487"/>
                  </a:lnTo>
                  <a:lnTo>
                    <a:pt x="78369" y="18197"/>
                  </a:lnTo>
                  <a:lnTo>
                    <a:pt x="76352" y="18197"/>
                  </a:lnTo>
                  <a:lnTo>
                    <a:pt x="74912" y="19068"/>
                  </a:lnTo>
                  <a:lnTo>
                    <a:pt x="70590" y="21100"/>
                  </a:lnTo>
                  <a:lnTo>
                    <a:pt x="66268" y="23712"/>
                  </a:lnTo>
                  <a:lnTo>
                    <a:pt x="67709" y="17907"/>
                  </a:lnTo>
                  <a:lnTo>
                    <a:pt x="69149" y="16746"/>
                  </a:lnTo>
                  <a:lnTo>
                    <a:pt x="70590" y="16165"/>
                  </a:lnTo>
                  <a:lnTo>
                    <a:pt x="72031" y="15295"/>
                  </a:lnTo>
                  <a:lnTo>
                    <a:pt x="69149" y="10941"/>
                  </a:lnTo>
                  <a:lnTo>
                    <a:pt x="68861" y="10650"/>
                  </a:lnTo>
                  <a:lnTo>
                    <a:pt x="64539" y="12392"/>
                  </a:lnTo>
                  <a:lnTo>
                    <a:pt x="59065" y="14714"/>
                  </a:lnTo>
                  <a:lnTo>
                    <a:pt x="53591" y="17036"/>
                  </a:lnTo>
                  <a:lnTo>
                    <a:pt x="48116" y="19648"/>
                  </a:lnTo>
                  <a:lnTo>
                    <a:pt x="43794" y="21970"/>
                  </a:lnTo>
                  <a:lnTo>
                    <a:pt x="40049" y="24873"/>
                  </a:lnTo>
                  <a:lnTo>
                    <a:pt x="35727" y="27195"/>
                  </a:lnTo>
                  <a:lnTo>
                    <a:pt x="35727" y="28356"/>
                  </a:lnTo>
                  <a:lnTo>
                    <a:pt x="38608" y="30098"/>
                  </a:lnTo>
                  <a:lnTo>
                    <a:pt x="41489" y="31549"/>
                  </a:lnTo>
                  <a:lnTo>
                    <a:pt x="44083" y="33290"/>
                  </a:lnTo>
                  <a:lnTo>
                    <a:pt x="46099" y="34742"/>
                  </a:lnTo>
                  <a:lnTo>
                    <a:pt x="47252" y="34161"/>
                  </a:lnTo>
                  <a:lnTo>
                    <a:pt x="48981" y="32710"/>
                  </a:lnTo>
                  <a:lnTo>
                    <a:pt x="50709" y="36483"/>
                  </a:lnTo>
                  <a:lnTo>
                    <a:pt x="50997" y="41418"/>
                  </a:lnTo>
                  <a:lnTo>
                    <a:pt x="48404" y="40256"/>
                  </a:lnTo>
                  <a:lnTo>
                    <a:pt x="46964" y="40837"/>
                  </a:lnTo>
                  <a:lnTo>
                    <a:pt x="45523" y="42869"/>
                  </a:lnTo>
                  <a:lnTo>
                    <a:pt x="42354" y="47513"/>
                  </a:lnTo>
                  <a:lnTo>
                    <a:pt x="38896" y="51867"/>
                  </a:lnTo>
                  <a:lnTo>
                    <a:pt x="36015" y="56511"/>
                  </a:lnTo>
                  <a:lnTo>
                    <a:pt x="34574" y="58833"/>
                  </a:lnTo>
                  <a:lnTo>
                    <a:pt x="32846" y="59704"/>
                  </a:lnTo>
                  <a:lnTo>
                    <a:pt x="29676" y="58833"/>
                  </a:lnTo>
                  <a:lnTo>
                    <a:pt x="31693" y="55060"/>
                  </a:lnTo>
                  <a:lnTo>
                    <a:pt x="33998" y="51576"/>
                  </a:lnTo>
                  <a:lnTo>
                    <a:pt x="36015" y="48384"/>
                  </a:lnTo>
                  <a:lnTo>
                    <a:pt x="38320" y="44901"/>
                  </a:lnTo>
                  <a:lnTo>
                    <a:pt x="40913" y="41708"/>
                  </a:lnTo>
                  <a:lnTo>
                    <a:pt x="43506" y="38225"/>
                  </a:lnTo>
                  <a:lnTo>
                    <a:pt x="39761" y="35903"/>
                  </a:lnTo>
                  <a:lnTo>
                    <a:pt x="36303" y="33581"/>
                  </a:lnTo>
                  <a:lnTo>
                    <a:pt x="32558" y="31549"/>
                  </a:lnTo>
                  <a:lnTo>
                    <a:pt x="29964" y="31839"/>
                  </a:lnTo>
                  <a:lnTo>
                    <a:pt x="29100" y="32420"/>
                  </a:lnTo>
                  <a:lnTo>
                    <a:pt x="19712" y="40882"/>
                  </a:lnTo>
                  <a:lnTo>
                    <a:pt x="11231" y="50354"/>
                  </a:lnTo>
                  <a:lnTo>
                    <a:pt x="6338" y="56801"/>
                  </a:lnTo>
                  <a:lnTo>
                    <a:pt x="4898" y="59123"/>
                  </a:lnTo>
                  <a:lnTo>
                    <a:pt x="2881" y="59704"/>
                  </a:lnTo>
                  <a:lnTo>
                    <a:pt x="7292" y="48267"/>
                  </a:lnTo>
                  <a:lnTo>
                    <a:pt x="15767" y="38893"/>
                  </a:lnTo>
                  <a:lnTo>
                    <a:pt x="26896" y="28754"/>
                  </a:lnTo>
                  <a:lnTo>
                    <a:pt x="37316" y="21001"/>
                  </a:lnTo>
                  <a:lnTo>
                    <a:pt x="48269" y="14416"/>
                  </a:lnTo>
                  <a:lnTo>
                    <a:pt x="59769" y="9027"/>
                  </a:lnTo>
                  <a:lnTo>
                    <a:pt x="71826" y="4866"/>
                  </a:lnTo>
                  <a:lnTo>
                    <a:pt x="84453" y="1961"/>
                  </a:lnTo>
                  <a:lnTo>
                    <a:pt x="92776" y="782"/>
                  </a:lnTo>
                  <a:lnTo>
                    <a:pt x="108866" y="0"/>
                  </a:lnTo>
                  <a:lnTo>
                    <a:pt x="123980" y="976"/>
                  </a:lnTo>
                  <a:lnTo>
                    <a:pt x="138106" y="3522"/>
                  </a:lnTo>
                  <a:lnTo>
                    <a:pt x="151235" y="7447"/>
                  </a:lnTo>
                  <a:lnTo>
                    <a:pt x="163358" y="12563"/>
                  </a:lnTo>
                  <a:lnTo>
                    <a:pt x="151553" y="12682"/>
                  </a:lnTo>
                  <a:lnTo>
                    <a:pt x="148095" y="10650"/>
                  </a:lnTo>
                  <a:lnTo>
                    <a:pt x="145214" y="11231"/>
                  </a:lnTo>
                  <a:lnTo>
                    <a:pt x="142621" y="15295"/>
                  </a:lnTo>
                  <a:lnTo>
                    <a:pt x="153509" y="21944"/>
                  </a:lnTo>
                  <a:lnTo>
                    <a:pt x="163392" y="29910"/>
                  </a:lnTo>
                  <a:lnTo>
                    <a:pt x="167112" y="33290"/>
                  </a:lnTo>
                  <a:lnTo>
                    <a:pt x="167688" y="33871"/>
                  </a:lnTo>
                  <a:lnTo>
                    <a:pt x="169417" y="33871"/>
                  </a:lnTo>
                  <a:lnTo>
                    <a:pt x="169993" y="33581"/>
                  </a:lnTo>
                  <a:lnTo>
                    <a:pt x="172586" y="32420"/>
                  </a:lnTo>
                  <a:lnTo>
                    <a:pt x="174891" y="30968"/>
                  </a:lnTo>
                  <a:lnTo>
                    <a:pt x="177196" y="29517"/>
                  </a:lnTo>
                  <a:lnTo>
                    <a:pt x="179501" y="28066"/>
                  </a:lnTo>
                  <a:lnTo>
                    <a:pt x="184540" y="25610"/>
                  </a:lnTo>
                  <a:lnTo>
                    <a:pt x="193580" y="33161"/>
                  </a:lnTo>
                  <a:lnTo>
                    <a:pt x="201572" y="41146"/>
                  </a:lnTo>
                  <a:lnTo>
                    <a:pt x="208507" y="49375"/>
                  </a:lnTo>
                  <a:lnTo>
                    <a:pt x="214374" y="57658"/>
                  </a:lnTo>
                  <a:lnTo>
                    <a:pt x="214940" y="58543"/>
                  </a:lnTo>
                  <a:lnTo>
                    <a:pt x="212923" y="59704"/>
                  </a:lnTo>
                  <a:lnTo>
                    <a:pt x="210907" y="59704"/>
                  </a:lnTo>
                  <a:lnTo>
                    <a:pt x="209466" y="57672"/>
                  </a:lnTo>
                  <a:lnTo>
                    <a:pt x="205432" y="52737"/>
                  </a:lnTo>
                  <a:lnTo>
                    <a:pt x="201687" y="47513"/>
                  </a:lnTo>
                  <a:lnTo>
                    <a:pt x="197077" y="42869"/>
                  </a:lnTo>
                  <a:lnTo>
                    <a:pt x="193331" y="38805"/>
                  </a:lnTo>
                  <a:lnTo>
                    <a:pt x="189009" y="35032"/>
                  </a:lnTo>
                  <a:lnTo>
                    <a:pt x="184687" y="31549"/>
                  </a:lnTo>
                  <a:lnTo>
                    <a:pt x="184111" y="30968"/>
                  </a:lnTo>
                  <a:lnTo>
                    <a:pt x="182382" y="31259"/>
                  </a:lnTo>
                  <a:lnTo>
                    <a:pt x="181806" y="31839"/>
                  </a:lnTo>
                  <a:lnTo>
                    <a:pt x="179213" y="33000"/>
                  </a:lnTo>
                  <a:lnTo>
                    <a:pt x="176620" y="34742"/>
                  </a:lnTo>
                  <a:lnTo>
                    <a:pt x="174027" y="36193"/>
                  </a:lnTo>
                  <a:lnTo>
                    <a:pt x="171433" y="37934"/>
                  </a:lnTo>
                  <a:lnTo>
                    <a:pt x="171433" y="38225"/>
                  </a:lnTo>
                  <a:lnTo>
                    <a:pt x="173162" y="40547"/>
                  </a:lnTo>
                  <a:lnTo>
                    <a:pt x="176908" y="45771"/>
                  </a:lnTo>
                  <a:lnTo>
                    <a:pt x="180365" y="50706"/>
                  </a:lnTo>
                  <a:lnTo>
                    <a:pt x="183823" y="55930"/>
                  </a:lnTo>
                  <a:lnTo>
                    <a:pt x="184399" y="56801"/>
                  </a:lnTo>
                  <a:lnTo>
                    <a:pt x="184687" y="57672"/>
                  </a:lnTo>
                  <a:lnTo>
                    <a:pt x="185263" y="58833"/>
                  </a:lnTo>
                  <a:lnTo>
                    <a:pt x="182382" y="59704"/>
                  </a:lnTo>
                  <a:lnTo>
                    <a:pt x="180942" y="59123"/>
                  </a:lnTo>
                  <a:lnTo>
                    <a:pt x="179501" y="57091"/>
                  </a:lnTo>
                  <a:lnTo>
                    <a:pt x="176332" y="52157"/>
                  </a:lnTo>
                  <a:lnTo>
                    <a:pt x="172874" y="47513"/>
                  </a:lnTo>
                  <a:lnTo>
                    <a:pt x="169417" y="42579"/>
                  </a:lnTo>
                  <a:lnTo>
                    <a:pt x="168264" y="40547"/>
                  </a:lnTo>
                  <a:lnTo>
                    <a:pt x="166535" y="40256"/>
                  </a:lnTo>
                  <a:lnTo>
                    <a:pt x="164230" y="41127"/>
                  </a:lnTo>
                  <a:lnTo>
                    <a:pt x="159044" y="43449"/>
                  </a:lnTo>
                  <a:lnTo>
                    <a:pt x="153858" y="45191"/>
                  </a:lnTo>
                  <a:lnTo>
                    <a:pt x="148672" y="46932"/>
                  </a:lnTo>
                  <a:lnTo>
                    <a:pt x="146367" y="47513"/>
                  </a:lnTo>
                  <a:lnTo>
                    <a:pt x="146079" y="48384"/>
                  </a:lnTo>
                  <a:lnTo>
                    <a:pt x="146943" y="50415"/>
                  </a:lnTo>
                  <a:lnTo>
                    <a:pt x="147807" y="52157"/>
                  </a:lnTo>
                  <a:lnTo>
                    <a:pt x="148672" y="54189"/>
                  </a:lnTo>
                  <a:lnTo>
                    <a:pt x="149248" y="55930"/>
                  </a:lnTo>
                  <a:lnTo>
                    <a:pt x="149248" y="58833"/>
                  </a:lnTo>
                  <a:lnTo>
                    <a:pt x="148672" y="59123"/>
                  </a:lnTo>
                  <a:lnTo>
                    <a:pt x="147231" y="59704"/>
                  </a:lnTo>
                  <a:lnTo>
                    <a:pt x="145790" y="59413"/>
                  </a:lnTo>
                  <a:lnTo>
                    <a:pt x="145214" y="57672"/>
                  </a:lnTo>
                  <a:lnTo>
                    <a:pt x="144350" y="55350"/>
                  </a:lnTo>
                  <a:lnTo>
                    <a:pt x="143485" y="53318"/>
                  </a:lnTo>
                  <a:lnTo>
                    <a:pt x="142621" y="50996"/>
                  </a:lnTo>
                  <a:lnTo>
                    <a:pt x="142045" y="49254"/>
                  </a:lnTo>
                  <a:lnTo>
                    <a:pt x="141180" y="48964"/>
                  </a:lnTo>
                  <a:lnTo>
                    <a:pt x="139164" y="49254"/>
                  </a:lnTo>
                  <a:lnTo>
                    <a:pt x="126553" y="50863"/>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9" name="Google Shape;1929;p13"/>
            <p:cNvSpPr/>
            <p:nvPr/>
          </p:nvSpPr>
          <p:spPr>
            <a:xfrm>
              <a:off x="621567" y="7029075"/>
              <a:ext cx="4321" cy="11641"/>
            </a:xfrm>
            <a:custGeom>
              <a:avLst/>
              <a:gdLst/>
              <a:ahLst/>
              <a:cxnLst/>
              <a:rect l="l" t="t" r="r" b="b"/>
              <a:pathLst>
                <a:path w="4321" h="11641" extrusionOk="0">
                  <a:moveTo>
                    <a:pt x="864" y="8158"/>
                  </a:moveTo>
                  <a:lnTo>
                    <a:pt x="1728" y="5546"/>
                  </a:lnTo>
                  <a:lnTo>
                    <a:pt x="2881" y="3224"/>
                  </a:lnTo>
                  <a:lnTo>
                    <a:pt x="3948" y="0"/>
                  </a:lnTo>
                  <a:lnTo>
                    <a:pt x="4321" y="11351"/>
                  </a:lnTo>
                  <a:lnTo>
                    <a:pt x="2593" y="11641"/>
                  </a:lnTo>
                  <a:lnTo>
                    <a:pt x="0" y="10770"/>
                  </a:lnTo>
                  <a:lnTo>
                    <a:pt x="864" y="8158"/>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30" name="Google Shape;1930;p13"/>
            <p:cNvSpPr/>
            <p:nvPr/>
          </p:nvSpPr>
          <p:spPr>
            <a:xfrm>
              <a:off x="605432" y="6998920"/>
              <a:ext cx="18728" cy="18576"/>
            </a:xfrm>
            <a:custGeom>
              <a:avLst/>
              <a:gdLst/>
              <a:ahLst/>
              <a:cxnLst/>
              <a:rect l="l" t="t" r="r" b="b"/>
              <a:pathLst>
                <a:path w="18728" h="18576" extrusionOk="0">
                  <a:moveTo>
                    <a:pt x="6050" y="9578"/>
                  </a:moveTo>
                  <a:lnTo>
                    <a:pt x="12389" y="4934"/>
                  </a:lnTo>
                  <a:lnTo>
                    <a:pt x="18728" y="0"/>
                  </a:lnTo>
                  <a:lnTo>
                    <a:pt x="17287" y="5805"/>
                  </a:lnTo>
                  <a:lnTo>
                    <a:pt x="13541" y="8707"/>
                  </a:lnTo>
                  <a:lnTo>
                    <a:pt x="9508" y="11610"/>
                  </a:lnTo>
                  <a:lnTo>
                    <a:pt x="6050" y="15093"/>
                  </a:lnTo>
                  <a:lnTo>
                    <a:pt x="1728" y="18576"/>
                  </a:lnTo>
                  <a:lnTo>
                    <a:pt x="0" y="14803"/>
                  </a:lnTo>
                  <a:lnTo>
                    <a:pt x="6050" y="9578"/>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31" name="Google Shape;1931;p13"/>
            <p:cNvSpPr/>
            <p:nvPr/>
          </p:nvSpPr>
          <p:spPr>
            <a:xfrm>
              <a:off x="557676" y="7208821"/>
              <a:ext cx="38639" cy="56841"/>
            </a:xfrm>
            <a:custGeom>
              <a:avLst/>
              <a:gdLst/>
              <a:ahLst/>
              <a:cxnLst/>
              <a:rect l="l" t="t" r="r" b="b"/>
              <a:pathLst>
                <a:path w="38639" h="56841" extrusionOk="0">
                  <a:moveTo>
                    <a:pt x="36082" y="7751"/>
                  </a:moveTo>
                  <a:lnTo>
                    <a:pt x="37503" y="10334"/>
                  </a:lnTo>
                  <a:lnTo>
                    <a:pt x="38355" y="13205"/>
                  </a:lnTo>
                  <a:lnTo>
                    <a:pt x="38355" y="19808"/>
                  </a:lnTo>
                  <a:lnTo>
                    <a:pt x="37503" y="22966"/>
                  </a:lnTo>
                  <a:lnTo>
                    <a:pt x="35798" y="26124"/>
                  </a:lnTo>
                  <a:lnTo>
                    <a:pt x="34093" y="29282"/>
                  </a:lnTo>
                  <a:lnTo>
                    <a:pt x="31252" y="32726"/>
                  </a:lnTo>
                  <a:lnTo>
                    <a:pt x="26706" y="36171"/>
                  </a:lnTo>
                  <a:lnTo>
                    <a:pt x="24149" y="38468"/>
                  </a:lnTo>
                  <a:lnTo>
                    <a:pt x="22445" y="39903"/>
                  </a:lnTo>
                  <a:lnTo>
                    <a:pt x="21592" y="40765"/>
                  </a:lnTo>
                  <a:lnTo>
                    <a:pt x="20740" y="41626"/>
                  </a:lnTo>
                  <a:lnTo>
                    <a:pt x="19603" y="42774"/>
                  </a:lnTo>
                  <a:lnTo>
                    <a:pt x="18467" y="44210"/>
                  </a:lnTo>
                  <a:lnTo>
                    <a:pt x="38639" y="44210"/>
                  </a:lnTo>
                  <a:lnTo>
                    <a:pt x="38639" y="56841"/>
                  </a:lnTo>
                  <a:lnTo>
                    <a:pt x="0" y="56841"/>
                  </a:lnTo>
                  <a:lnTo>
                    <a:pt x="568" y="52248"/>
                  </a:lnTo>
                  <a:lnTo>
                    <a:pt x="1704" y="47942"/>
                  </a:lnTo>
                  <a:lnTo>
                    <a:pt x="3977" y="43922"/>
                  </a:lnTo>
                  <a:lnTo>
                    <a:pt x="6250" y="39903"/>
                  </a:lnTo>
                  <a:lnTo>
                    <a:pt x="10512" y="35023"/>
                  </a:lnTo>
                  <a:lnTo>
                    <a:pt x="16762" y="29569"/>
                  </a:lnTo>
                  <a:lnTo>
                    <a:pt x="20456" y="26124"/>
                  </a:lnTo>
                  <a:lnTo>
                    <a:pt x="22729" y="23540"/>
                  </a:lnTo>
                  <a:lnTo>
                    <a:pt x="23865" y="21817"/>
                  </a:lnTo>
                  <a:lnTo>
                    <a:pt x="25002" y="20095"/>
                  </a:lnTo>
                  <a:lnTo>
                    <a:pt x="25570" y="18373"/>
                  </a:lnTo>
                  <a:lnTo>
                    <a:pt x="25570" y="15215"/>
                  </a:lnTo>
                  <a:lnTo>
                    <a:pt x="25002" y="13779"/>
                  </a:lnTo>
                  <a:lnTo>
                    <a:pt x="23865" y="12344"/>
                  </a:lnTo>
                  <a:lnTo>
                    <a:pt x="23013" y="11196"/>
                  </a:lnTo>
                  <a:lnTo>
                    <a:pt x="21592" y="10621"/>
                  </a:lnTo>
                  <a:lnTo>
                    <a:pt x="18467" y="10621"/>
                  </a:lnTo>
                  <a:lnTo>
                    <a:pt x="17046" y="11196"/>
                  </a:lnTo>
                  <a:lnTo>
                    <a:pt x="15910" y="12631"/>
                  </a:lnTo>
                  <a:lnTo>
                    <a:pt x="14774" y="13779"/>
                  </a:lnTo>
                  <a:lnTo>
                    <a:pt x="14205" y="16076"/>
                  </a:lnTo>
                  <a:lnTo>
                    <a:pt x="13921" y="19234"/>
                  </a:lnTo>
                  <a:lnTo>
                    <a:pt x="852" y="17798"/>
                  </a:lnTo>
                  <a:lnTo>
                    <a:pt x="1420" y="13492"/>
                  </a:lnTo>
                  <a:lnTo>
                    <a:pt x="2272" y="10047"/>
                  </a:lnTo>
                  <a:lnTo>
                    <a:pt x="3693" y="7751"/>
                  </a:lnTo>
                  <a:lnTo>
                    <a:pt x="5114" y="5167"/>
                  </a:lnTo>
                  <a:lnTo>
                    <a:pt x="7102" y="3444"/>
                  </a:lnTo>
                  <a:lnTo>
                    <a:pt x="9375" y="2009"/>
                  </a:lnTo>
                  <a:lnTo>
                    <a:pt x="11932" y="574"/>
                  </a:lnTo>
                  <a:lnTo>
                    <a:pt x="15342" y="0"/>
                  </a:lnTo>
                  <a:lnTo>
                    <a:pt x="24149" y="0"/>
                  </a:lnTo>
                  <a:lnTo>
                    <a:pt x="27559" y="574"/>
                  </a:lnTo>
                  <a:lnTo>
                    <a:pt x="30116" y="2009"/>
                  </a:lnTo>
                  <a:lnTo>
                    <a:pt x="32673" y="3157"/>
                  </a:lnTo>
                  <a:lnTo>
                    <a:pt x="34662" y="5167"/>
                  </a:lnTo>
                  <a:lnTo>
                    <a:pt x="36082" y="7751"/>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32" name="Google Shape;1932;p13"/>
            <p:cNvSpPr/>
            <p:nvPr/>
          </p:nvSpPr>
          <p:spPr>
            <a:xfrm>
              <a:off x="602355" y="7210026"/>
              <a:ext cx="37432" cy="55631"/>
            </a:xfrm>
            <a:custGeom>
              <a:avLst/>
              <a:gdLst/>
              <a:ahLst/>
              <a:cxnLst/>
              <a:rect l="l" t="t" r="r" b="b"/>
              <a:pathLst>
                <a:path w="37432" h="55631" extrusionOk="0">
                  <a:moveTo>
                    <a:pt x="22796" y="13123"/>
                  </a:moveTo>
                  <a:lnTo>
                    <a:pt x="0" y="13123"/>
                  </a:lnTo>
                  <a:lnTo>
                    <a:pt x="0" y="0"/>
                  </a:lnTo>
                  <a:lnTo>
                    <a:pt x="37432" y="0"/>
                  </a:lnTo>
                  <a:lnTo>
                    <a:pt x="37432" y="10555"/>
                  </a:lnTo>
                  <a:lnTo>
                    <a:pt x="34054" y="13979"/>
                  </a:lnTo>
                  <a:lnTo>
                    <a:pt x="31240" y="17973"/>
                  </a:lnTo>
                  <a:lnTo>
                    <a:pt x="29270" y="21967"/>
                  </a:lnTo>
                  <a:lnTo>
                    <a:pt x="26455" y="27102"/>
                  </a:lnTo>
                  <a:lnTo>
                    <a:pt x="24485" y="32523"/>
                  </a:lnTo>
                  <a:lnTo>
                    <a:pt x="23078" y="38799"/>
                  </a:lnTo>
                  <a:lnTo>
                    <a:pt x="21671" y="43649"/>
                  </a:lnTo>
                  <a:lnTo>
                    <a:pt x="20826" y="49070"/>
                  </a:lnTo>
                  <a:lnTo>
                    <a:pt x="20545" y="55631"/>
                  </a:lnTo>
                  <a:lnTo>
                    <a:pt x="7880" y="55631"/>
                  </a:lnTo>
                  <a:lnTo>
                    <a:pt x="8724" y="46502"/>
                  </a:lnTo>
                  <a:lnTo>
                    <a:pt x="10413" y="39084"/>
                  </a:lnTo>
                  <a:lnTo>
                    <a:pt x="12664" y="32808"/>
                  </a:lnTo>
                  <a:lnTo>
                    <a:pt x="14635" y="26817"/>
                  </a:lnTo>
                  <a:lnTo>
                    <a:pt x="18012" y="20255"/>
                  </a:lnTo>
                  <a:lnTo>
                    <a:pt x="22796" y="13123"/>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33" name="Google Shape;1933;p13"/>
            <p:cNvSpPr/>
            <p:nvPr/>
          </p:nvSpPr>
          <p:spPr>
            <a:xfrm>
              <a:off x="664997" y="7208812"/>
              <a:ext cx="6101" cy="14081"/>
            </a:xfrm>
            <a:custGeom>
              <a:avLst/>
              <a:gdLst/>
              <a:ahLst/>
              <a:cxnLst/>
              <a:rect l="l" t="t" r="r" b="b"/>
              <a:pathLst>
                <a:path w="6101" h="14081" extrusionOk="0">
                  <a:moveTo>
                    <a:pt x="0" y="10345"/>
                  </a:moveTo>
                  <a:lnTo>
                    <a:pt x="290" y="0"/>
                  </a:lnTo>
                  <a:lnTo>
                    <a:pt x="3486" y="0"/>
                  </a:lnTo>
                  <a:lnTo>
                    <a:pt x="6101" y="574"/>
                  </a:lnTo>
                  <a:lnTo>
                    <a:pt x="4648" y="14081"/>
                  </a:lnTo>
                  <a:lnTo>
                    <a:pt x="3776" y="11782"/>
                  </a:lnTo>
                  <a:lnTo>
                    <a:pt x="2033" y="10345"/>
                  </a:lnTo>
                  <a:lnTo>
                    <a:pt x="0" y="1034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34" name="Google Shape;1934;p13"/>
            <p:cNvSpPr/>
            <p:nvPr/>
          </p:nvSpPr>
          <p:spPr>
            <a:xfrm>
              <a:off x="645823" y="7208812"/>
              <a:ext cx="38639" cy="58050"/>
            </a:xfrm>
            <a:custGeom>
              <a:avLst/>
              <a:gdLst/>
              <a:ahLst/>
              <a:cxnLst/>
              <a:rect l="l" t="t" r="r" b="b"/>
              <a:pathLst>
                <a:path w="38639" h="58050" extrusionOk="0">
                  <a:moveTo>
                    <a:pt x="13364" y="16955"/>
                  </a:moveTo>
                  <a:lnTo>
                    <a:pt x="13073" y="21840"/>
                  </a:lnTo>
                  <a:lnTo>
                    <a:pt x="13073" y="35922"/>
                  </a:lnTo>
                  <a:lnTo>
                    <a:pt x="13364" y="40807"/>
                  </a:lnTo>
                  <a:lnTo>
                    <a:pt x="14526" y="43394"/>
                  </a:lnTo>
                  <a:lnTo>
                    <a:pt x="15688" y="45980"/>
                  </a:lnTo>
                  <a:lnTo>
                    <a:pt x="17140" y="47417"/>
                  </a:lnTo>
                  <a:lnTo>
                    <a:pt x="20627" y="47417"/>
                  </a:lnTo>
                  <a:lnTo>
                    <a:pt x="21789" y="46842"/>
                  </a:lnTo>
                  <a:lnTo>
                    <a:pt x="22660" y="45693"/>
                  </a:lnTo>
                  <a:lnTo>
                    <a:pt x="23532" y="44543"/>
                  </a:lnTo>
                  <a:lnTo>
                    <a:pt x="24404" y="42819"/>
                  </a:lnTo>
                  <a:lnTo>
                    <a:pt x="24694" y="40520"/>
                  </a:lnTo>
                  <a:lnTo>
                    <a:pt x="25275" y="37933"/>
                  </a:lnTo>
                  <a:lnTo>
                    <a:pt x="25566" y="34197"/>
                  </a:lnTo>
                  <a:lnTo>
                    <a:pt x="25566" y="21840"/>
                  </a:lnTo>
                  <a:lnTo>
                    <a:pt x="24985" y="16667"/>
                  </a:lnTo>
                  <a:lnTo>
                    <a:pt x="23822" y="14081"/>
                  </a:lnTo>
                  <a:lnTo>
                    <a:pt x="25275" y="574"/>
                  </a:lnTo>
                  <a:lnTo>
                    <a:pt x="27309" y="1436"/>
                  </a:lnTo>
                  <a:lnTo>
                    <a:pt x="29342" y="2299"/>
                  </a:lnTo>
                  <a:lnTo>
                    <a:pt x="31086" y="3448"/>
                  </a:lnTo>
                  <a:lnTo>
                    <a:pt x="32538" y="5172"/>
                  </a:lnTo>
                  <a:lnTo>
                    <a:pt x="33700" y="6609"/>
                  </a:lnTo>
                  <a:lnTo>
                    <a:pt x="34862" y="8046"/>
                  </a:lnTo>
                  <a:lnTo>
                    <a:pt x="35443" y="9770"/>
                  </a:lnTo>
                  <a:lnTo>
                    <a:pt x="36315" y="11495"/>
                  </a:lnTo>
                  <a:lnTo>
                    <a:pt x="36896" y="13219"/>
                  </a:lnTo>
                  <a:lnTo>
                    <a:pt x="37187" y="15518"/>
                  </a:lnTo>
                  <a:lnTo>
                    <a:pt x="38058" y="19541"/>
                  </a:lnTo>
                  <a:lnTo>
                    <a:pt x="38639" y="24139"/>
                  </a:lnTo>
                  <a:lnTo>
                    <a:pt x="38639" y="38795"/>
                  </a:lnTo>
                  <a:lnTo>
                    <a:pt x="37187" y="46267"/>
                  </a:lnTo>
                  <a:lnTo>
                    <a:pt x="34281" y="50865"/>
                  </a:lnTo>
                  <a:lnTo>
                    <a:pt x="31376" y="55463"/>
                  </a:lnTo>
                  <a:lnTo>
                    <a:pt x="26437" y="58050"/>
                  </a:lnTo>
                  <a:lnTo>
                    <a:pt x="15107" y="58050"/>
                  </a:lnTo>
                  <a:lnTo>
                    <a:pt x="11911" y="57188"/>
                  </a:lnTo>
                  <a:lnTo>
                    <a:pt x="9587" y="55751"/>
                  </a:lnTo>
                  <a:lnTo>
                    <a:pt x="6972" y="54314"/>
                  </a:lnTo>
                  <a:lnTo>
                    <a:pt x="4938" y="52015"/>
                  </a:lnTo>
                  <a:lnTo>
                    <a:pt x="3486" y="49141"/>
                  </a:lnTo>
                  <a:lnTo>
                    <a:pt x="2324" y="47129"/>
                  </a:lnTo>
                  <a:lnTo>
                    <a:pt x="1452" y="44256"/>
                  </a:lnTo>
                  <a:lnTo>
                    <a:pt x="871" y="40520"/>
                  </a:lnTo>
                  <a:lnTo>
                    <a:pt x="290" y="37071"/>
                  </a:lnTo>
                  <a:lnTo>
                    <a:pt x="0" y="33048"/>
                  </a:lnTo>
                  <a:lnTo>
                    <a:pt x="0" y="18104"/>
                  </a:lnTo>
                  <a:lnTo>
                    <a:pt x="1452" y="10632"/>
                  </a:lnTo>
                  <a:lnTo>
                    <a:pt x="4648" y="6322"/>
                  </a:lnTo>
                  <a:lnTo>
                    <a:pt x="7844" y="2011"/>
                  </a:lnTo>
                  <a:lnTo>
                    <a:pt x="12783" y="0"/>
                  </a:lnTo>
                  <a:lnTo>
                    <a:pt x="19465" y="0"/>
                  </a:lnTo>
                  <a:lnTo>
                    <a:pt x="19174" y="10345"/>
                  </a:lnTo>
                  <a:lnTo>
                    <a:pt x="16850" y="10345"/>
                  </a:lnTo>
                  <a:lnTo>
                    <a:pt x="15397" y="11782"/>
                  </a:lnTo>
                  <a:lnTo>
                    <a:pt x="14526" y="14368"/>
                  </a:lnTo>
                  <a:lnTo>
                    <a:pt x="13364" y="1695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35" name="Google Shape;1935;p13"/>
            <p:cNvSpPr/>
            <p:nvPr/>
          </p:nvSpPr>
          <p:spPr>
            <a:xfrm>
              <a:off x="708465" y="7208808"/>
              <a:ext cx="6101" cy="14081"/>
            </a:xfrm>
            <a:custGeom>
              <a:avLst/>
              <a:gdLst/>
              <a:ahLst/>
              <a:cxnLst/>
              <a:rect l="l" t="t" r="r" b="b"/>
              <a:pathLst>
                <a:path w="6101" h="14081" extrusionOk="0">
                  <a:moveTo>
                    <a:pt x="0" y="10345"/>
                  </a:moveTo>
                  <a:lnTo>
                    <a:pt x="290" y="0"/>
                  </a:lnTo>
                  <a:lnTo>
                    <a:pt x="3486" y="0"/>
                  </a:lnTo>
                  <a:lnTo>
                    <a:pt x="6101" y="574"/>
                  </a:lnTo>
                  <a:lnTo>
                    <a:pt x="4648" y="14081"/>
                  </a:lnTo>
                  <a:lnTo>
                    <a:pt x="3776" y="11782"/>
                  </a:lnTo>
                  <a:lnTo>
                    <a:pt x="2033" y="10345"/>
                  </a:lnTo>
                  <a:lnTo>
                    <a:pt x="0" y="1034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36" name="Google Shape;1936;p13"/>
            <p:cNvSpPr/>
            <p:nvPr/>
          </p:nvSpPr>
          <p:spPr>
            <a:xfrm>
              <a:off x="689291" y="7208808"/>
              <a:ext cx="38639" cy="58049"/>
            </a:xfrm>
            <a:custGeom>
              <a:avLst/>
              <a:gdLst/>
              <a:ahLst/>
              <a:cxnLst/>
              <a:rect l="l" t="t" r="r" b="b"/>
              <a:pathLst>
                <a:path w="38639" h="58049" extrusionOk="0">
                  <a:moveTo>
                    <a:pt x="13364" y="16955"/>
                  </a:moveTo>
                  <a:lnTo>
                    <a:pt x="13073" y="21840"/>
                  </a:lnTo>
                  <a:lnTo>
                    <a:pt x="13073" y="35922"/>
                  </a:lnTo>
                  <a:lnTo>
                    <a:pt x="13364" y="40807"/>
                  </a:lnTo>
                  <a:lnTo>
                    <a:pt x="14526" y="43393"/>
                  </a:lnTo>
                  <a:lnTo>
                    <a:pt x="15688" y="45980"/>
                  </a:lnTo>
                  <a:lnTo>
                    <a:pt x="17141" y="47417"/>
                  </a:lnTo>
                  <a:lnTo>
                    <a:pt x="20627" y="47417"/>
                  </a:lnTo>
                  <a:lnTo>
                    <a:pt x="21789" y="46842"/>
                  </a:lnTo>
                  <a:lnTo>
                    <a:pt x="22661" y="45692"/>
                  </a:lnTo>
                  <a:lnTo>
                    <a:pt x="23823" y="44543"/>
                  </a:lnTo>
                  <a:lnTo>
                    <a:pt x="24404" y="42818"/>
                  </a:lnTo>
                  <a:lnTo>
                    <a:pt x="24985" y="40519"/>
                  </a:lnTo>
                  <a:lnTo>
                    <a:pt x="25275" y="37933"/>
                  </a:lnTo>
                  <a:lnTo>
                    <a:pt x="25566" y="34197"/>
                  </a:lnTo>
                  <a:lnTo>
                    <a:pt x="25566" y="21840"/>
                  </a:lnTo>
                  <a:lnTo>
                    <a:pt x="24985" y="16667"/>
                  </a:lnTo>
                  <a:lnTo>
                    <a:pt x="23823" y="14081"/>
                  </a:lnTo>
                  <a:lnTo>
                    <a:pt x="25275" y="574"/>
                  </a:lnTo>
                  <a:lnTo>
                    <a:pt x="27599" y="1436"/>
                  </a:lnTo>
                  <a:lnTo>
                    <a:pt x="29633" y="2299"/>
                  </a:lnTo>
                  <a:lnTo>
                    <a:pt x="31086" y="3448"/>
                  </a:lnTo>
                  <a:lnTo>
                    <a:pt x="32538" y="5172"/>
                  </a:lnTo>
                  <a:lnTo>
                    <a:pt x="33700" y="6609"/>
                  </a:lnTo>
                  <a:lnTo>
                    <a:pt x="34863" y="8046"/>
                  </a:lnTo>
                  <a:lnTo>
                    <a:pt x="35444" y="9770"/>
                  </a:lnTo>
                  <a:lnTo>
                    <a:pt x="36315" y="11494"/>
                  </a:lnTo>
                  <a:lnTo>
                    <a:pt x="36896" y="13219"/>
                  </a:lnTo>
                  <a:lnTo>
                    <a:pt x="37477" y="15518"/>
                  </a:lnTo>
                  <a:lnTo>
                    <a:pt x="38349" y="19541"/>
                  </a:lnTo>
                  <a:lnTo>
                    <a:pt x="38639" y="24139"/>
                  </a:lnTo>
                  <a:lnTo>
                    <a:pt x="38639" y="38795"/>
                  </a:lnTo>
                  <a:lnTo>
                    <a:pt x="37187" y="46267"/>
                  </a:lnTo>
                  <a:lnTo>
                    <a:pt x="34282" y="50865"/>
                  </a:lnTo>
                  <a:lnTo>
                    <a:pt x="31376" y="55463"/>
                  </a:lnTo>
                  <a:lnTo>
                    <a:pt x="26437" y="58049"/>
                  </a:lnTo>
                  <a:lnTo>
                    <a:pt x="15397" y="58049"/>
                  </a:lnTo>
                  <a:lnTo>
                    <a:pt x="11911" y="57187"/>
                  </a:lnTo>
                  <a:lnTo>
                    <a:pt x="9587" y="55750"/>
                  </a:lnTo>
                  <a:lnTo>
                    <a:pt x="7263" y="54313"/>
                  </a:lnTo>
                  <a:lnTo>
                    <a:pt x="5229" y="52015"/>
                  </a:lnTo>
                  <a:lnTo>
                    <a:pt x="3486" y="49141"/>
                  </a:lnTo>
                  <a:lnTo>
                    <a:pt x="2324" y="47129"/>
                  </a:lnTo>
                  <a:lnTo>
                    <a:pt x="1452" y="44255"/>
                  </a:lnTo>
                  <a:lnTo>
                    <a:pt x="871" y="40519"/>
                  </a:lnTo>
                  <a:lnTo>
                    <a:pt x="290" y="37071"/>
                  </a:lnTo>
                  <a:lnTo>
                    <a:pt x="0" y="33048"/>
                  </a:lnTo>
                  <a:lnTo>
                    <a:pt x="0" y="18104"/>
                  </a:lnTo>
                  <a:lnTo>
                    <a:pt x="1452" y="10632"/>
                  </a:lnTo>
                  <a:lnTo>
                    <a:pt x="4648" y="6322"/>
                  </a:lnTo>
                  <a:lnTo>
                    <a:pt x="8134" y="2011"/>
                  </a:lnTo>
                  <a:lnTo>
                    <a:pt x="13073" y="0"/>
                  </a:lnTo>
                  <a:lnTo>
                    <a:pt x="19465" y="0"/>
                  </a:lnTo>
                  <a:lnTo>
                    <a:pt x="19174" y="10345"/>
                  </a:lnTo>
                  <a:lnTo>
                    <a:pt x="16850" y="10345"/>
                  </a:lnTo>
                  <a:lnTo>
                    <a:pt x="15397" y="11782"/>
                  </a:lnTo>
                  <a:lnTo>
                    <a:pt x="14526" y="14368"/>
                  </a:lnTo>
                  <a:lnTo>
                    <a:pt x="13364" y="16955"/>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37" name="Google Shape;1937;p13"/>
            <p:cNvSpPr/>
            <p:nvPr/>
          </p:nvSpPr>
          <p:spPr>
            <a:xfrm>
              <a:off x="735174" y="7208839"/>
              <a:ext cx="27772" cy="56843"/>
            </a:xfrm>
            <a:custGeom>
              <a:avLst/>
              <a:gdLst/>
              <a:ahLst/>
              <a:cxnLst/>
              <a:rect l="l" t="t" r="r" b="b"/>
              <a:pathLst>
                <a:path w="27772" h="56843" extrusionOk="0">
                  <a:moveTo>
                    <a:pt x="5613" y="25550"/>
                  </a:moveTo>
                  <a:lnTo>
                    <a:pt x="3249" y="26698"/>
                  </a:lnTo>
                  <a:lnTo>
                    <a:pt x="0" y="27847"/>
                  </a:lnTo>
                  <a:lnTo>
                    <a:pt x="0" y="14928"/>
                  </a:lnTo>
                  <a:lnTo>
                    <a:pt x="4431" y="13205"/>
                  </a:lnTo>
                  <a:lnTo>
                    <a:pt x="7977" y="11196"/>
                  </a:lnTo>
                  <a:lnTo>
                    <a:pt x="10636" y="8899"/>
                  </a:lnTo>
                  <a:lnTo>
                    <a:pt x="13295" y="6602"/>
                  </a:lnTo>
                  <a:lnTo>
                    <a:pt x="15068" y="3445"/>
                  </a:lnTo>
                  <a:lnTo>
                    <a:pt x="16545" y="0"/>
                  </a:lnTo>
                  <a:lnTo>
                    <a:pt x="27772" y="0"/>
                  </a:lnTo>
                  <a:lnTo>
                    <a:pt x="27772" y="56843"/>
                  </a:lnTo>
                  <a:lnTo>
                    <a:pt x="14181" y="56843"/>
                  </a:lnTo>
                  <a:lnTo>
                    <a:pt x="14181" y="19521"/>
                  </a:lnTo>
                  <a:lnTo>
                    <a:pt x="11818" y="21531"/>
                  </a:lnTo>
                  <a:lnTo>
                    <a:pt x="9749" y="23254"/>
                  </a:lnTo>
                  <a:lnTo>
                    <a:pt x="7681" y="24402"/>
                  </a:lnTo>
                  <a:lnTo>
                    <a:pt x="5613" y="25550"/>
                  </a:lnTo>
                  <a:close/>
                </a:path>
              </a:pathLst>
            </a:custGeom>
            <a:solidFill>
              <a:srgbClr val="07539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nvGrpSpPr>
          <p:cNvPr id="1938" name="Google Shape;1938;p13"/>
          <p:cNvGrpSpPr/>
          <p:nvPr/>
        </p:nvGrpSpPr>
        <p:grpSpPr>
          <a:xfrm>
            <a:off x="3945835" y="1177358"/>
            <a:ext cx="7695303" cy="1433213"/>
            <a:chOff x="3945835" y="992301"/>
            <a:chExt cx="7695303" cy="1433213"/>
          </a:xfrm>
        </p:grpSpPr>
        <p:sp>
          <p:nvSpPr>
            <p:cNvPr id="1939" name="Google Shape;1939;p13"/>
            <p:cNvSpPr/>
            <p:nvPr/>
          </p:nvSpPr>
          <p:spPr>
            <a:xfrm>
              <a:off x="6991109" y="992301"/>
              <a:ext cx="4650029" cy="1433213"/>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chemeClr val="dk2"/>
                </a:buClr>
                <a:buSzPts val="1260"/>
                <a:buFont typeface="Noto Sans Symbols"/>
                <a:buChar char="▪"/>
              </a:pPr>
              <a:r>
                <a:rPr lang="en-US" sz="1400" b="0" i="0" u="none" strike="noStrike" cap="none" dirty="0">
                  <a:solidFill>
                    <a:schemeClr val="dk1"/>
                  </a:solidFill>
                  <a:latin typeface="Calibri"/>
                  <a:ea typeface="Calibri"/>
                  <a:cs typeface="Calibri"/>
                  <a:sym typeface="Calibri"/>
                </a:rPr>
                <a:t>Combination of </a:t>
              </a:r>
              <a:r>
                <a:rPr lang="en-US" dirty="0">
                  <a:solidFill>
                    <a:schemeClr val="dk1"/>
                  </a:solidFill>
                  <a:latin typeface="Calibri"/>
                  <a:ea typeface="Calibri"/>
                  <a:cs typeface="Calibri"/>
                  <a:sym typeface="Calibri"/>
                </a:rPr>
                <a:t>Data Analytics </a:t>
              </a:r>
              <a:r>
                <a:rPr lang="en-US" sz="1400" b="0" i="0" u="none" strike="noStrike" cap="none" dirty="0">
                  <a:solidFill>
                    <a:schemeClr val="dk1"/>
                  </a:solidFill>
                  <a:latin typeface="Calibri"/>
                  <a:ea typeface="Calibri"/>
                  <a:cs typeface="Calibri"/>
                  <a:sym typeface="Calibri"/>
                </a:rPr>
                <a:t>and Data Research methodologies</a:t>
              </a:r>
              <a:endParaRPr sz="1400" b="0" i="0" u="none" strike="noStrike" cap="none" dirty="0">
                <a:solidFill>
                  <a:srgbClr val="000000"/>
                </a:solidFill>
                <a:latin typeface="Arial"/>
                <a:ea typeface="Arial"/>
                <a:cs typeface="Arial"/>
                <a:sym typeface="Arial"/>
              </a:endParaRPr>
            </a:p>
            <a:p>
              <a:pPr marL="176213" marR="0" lvl="1" indent="-176213" algn="l" rtl="0">
                <a:lnSpc>
                  <a:spcPct val="95000"/>
                </a:lnSpc>
                <a:spcBef>
                  <a:spcPts val="800"/>
                </a:spcBef>
                <a:spcAft>
                  <a:spcPts val="0"/>
                </a:spcAft>
                <a:buClr>
                  <a:schemeClr val="dk2"/>
                </a:buClr>
                <a:buSzPts val="1260"/>
                <a:buFont typeface="Noto Sans Symbols"/>
                <a:buChar char="▪"/>
              </a:pPr>
              <a:r>
                <a:rPr lang="en-US" sz="1400" b="0" i="0" u="none" strike="noStrike" cap="none" dirty="0">
                  <a:solidFill>
                    <a:schemeClr val="dk1"/>
                  </a:solidFill>
                  <a:latin typeface="Calibri"/>
                  <a:ea typeface="Calibri"/>
                  <a:cs typeface="Calibri"/>
                  <a:sym typeface="Calibri"/>
                </a:rPr>
                <a:t>Opportunity to work with a unique professional</a:t>
              </a:r>
              <a:br>
                <a:rPr lang="en-US" sz="1400" b="0" i="0" u="none" strike="noStrike" cap="none" dirty="0">
                  <a:solidFill>
                    <a:schemeClr val="dk1"/>
                  </a:solidFill>
                  <a:latin typeface="Calibri"/>
                  <a:ea typeface="Calibri"/>
                  <a:cs typeface="Calibri"/>
                  <a:sym typeface="Calibri"/>
                </a:rPr>
              </a:br>
              <a:r>
                <a:rPr lang="en-US" sz="1400" b="0" i="0" u="none" strike="noStrike" cap="none" dirty="0">
                  <a:solidFill>
                    <a:schemeClr val="dk1"/>
                  </a:solidFill>
                  <a:latin typeface="Calibri"/>
                  <a:ea typeface="Calibri"/>
                  <a:cs typeface="Calibri"/>
                  <a:sym typeface="Calibri"/>
                </a:rPr>
                <a:t>network </a:t>
              </a:r>
              <a:endParaRPr sz="1400" b="0" i="0" u="none" strike="noStrike" cap="none" dirty="0">
                <a:solidFill>
                  <a:srgbClr val="000000"/>
                </a:solidFill>
                <a:latin typeface="Arial"/>
                <a:ea typeface="Arial"/>
                <a:cs typeface="Arial"/>
                <a:sym typeface="Arial"/>
              </a:endParaRPr>
            </a:p>
            <a:p>
              <a:pPr marL="176213" marR="0" lvl="1" indent="-176213" algn="l" rtl="0">
                <a:lnSpc>
                  <a:spcPct val="95000"/>
                </a:lnSpc>
                <a:spcBef>
                  <a:spcPts val="800"/>
                </a:spcBef>
                <a:spcAft>
                  <a:spcPts val="0"/>
                </a:spcAft>
                <a:buClr>
                  <a:schemeClr val="dk2"/>
                </a:buClr>
                <a:buSzPts val="1260"/>
                <a:buFont typeface="Noto Sans Symbols"/>
                <a:buChar char="▪"/>
              </a:pPr>
              <a:r>
                <a:rPr lang="en-US" sz="1400" b="0" i="0" u="none" strike="noStrike" cap="none" dirty="0">
                  <a:solidFill>
                    <a:schemeClr val="dk1"/>
                  </a:solidFill>
                  <a:latin typeface="Calibri"/>
                  <a:ea typeface="Calibri"/>
                  <a:cs typeface="Calibri"/>
                  <a:sym typeface="Calibri"/>
                </a:rPr>
                <a:t>Optimum confidentiality and integrity - ISO certified &amp; RGPD Compliance</a:t>
              </a:r>
              <a:endParaRPr sz="1400" b="0" i="0" u="none" strike="noStrike" cap="none" dirty="0">
                <a:solidFill>
                  <a:srgbClr val="000000"/>
                </a:solidFill>
                <a:latin typeface="Arial"/>
                <a:ea typeface="Arial"/>
                <a:cs typeface="Arial"/>
                <a:sym typeface="Arial"/>
              </a:endParaRPr>
            </a:p>
          </p:txBody>
        </p:sp>
        <p:sp>
          <p:nvSpPr>
            <p:cNvPr id="1940" name="Google Shape;1940;p13"/>
            <p:cNvSpPr/>
            <p:nvPr/>
          </p:nvSpPr>
          <p:spPr>
            <a:xfrm>
              <a:off x="5015880" y="1280757"/>
              <a:ext cx="1776363" cy="664797"/>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rgbClr val="000000"/>
                </a:buClr>
                <a:buSzPts val="1600"/>
                <a:buFont typeface="Arial"/>
                <a:buNone/>
              </a:pPr>
              <a:r>
                <a:rPr lang="en-US" sz="1600" b="0" i="0" u="none" strike="noStrike" cap="none" dirty="0">
                  <a:solidFill>
                    <a:schemeClr val="accent1"/>
                  </a:solidFill>
                  <a:latin typeface="Franklin Gothic"/>
                  <a:ea typeface="Franklin Gothic"/>
                  <a:cs typeface="Franklin Gothic"/>
                  <a:sym typeface="Franklin Gothic"/>
                </a:rPr>
                <a:t>World class Data </a:t>
              </a:r>
              <a:r>
                <a:rPr lang="en-US" sz="1600" dirty="0">
                  <a:solidFill>
                    <a:schemeClr val="accent1"/>
                  </a:solidFill>
                  <a:latin typeface="Franklin Gothic"/>
                  <a:ea typeface="Franklin Gothic"/>
                  <a:cs typeface="Franklin Gothic"/>
                  <a:sym typeface="Franklin Gothic"/>
                </a:rPr>
                <a:t>Analytics</a:t>
              </a:r>
              <a:r>
                <a:rPr lang="en-US" sz="1600" b="0" i="0" u="none" strike="noStrike" cap="none" dirty="0">
                  <a:solidFill>
                    <a:schemeClr val="accent1"/>
                  </a:solidFill>
                  <a:latin typeface="Franklin Gothic"/>
                  <a:ea typeface="Franklin Gothic"/>
                  <a:cs typeface="Franklin Gothic"/>
                  <a:sym typeface="Franklin Gothic"/>
                </a:rPr>
                <a:t> capabilities</a:t>
              </a:r>
              <a:endParaRPr sz="1400" b="0" i="0" u="none" strike="noStrike" cap="none" dirty="0">
                <a:solidFill>
                  <a:srgbClr val="000000"/>
                </a:solidFill>
                <a:latin typeface="Arial"/>
                <a:ea typeface="Arial"/>
                <a:cs typeface="Arial"/>
                <a:sym typeface="Arial"/>
              </a:endParaRPr>
            </a:p>
          </p:txBody>
        </p:sp>
        <p:sp>
          <p:nvSpPr>
            <p:cNvPr id="1941" name="Google Shape;1941;p13"/>
            <p:cNvSpPr/>
            <p:nvPr/>
          </p:nvSpPr>
          <p:spPr>
            <a:xfrm>
              <a:off x="3945835" y="1150377"/>
              <a:ext cx="925556" cy="925556"/>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942" name="Google Shape;1942;p13"/>
            <p:cNvPicPr preferRelativeResize="0"/>
            <p:nvPr/>
          </p:nvPicPr>
          <p:blipFill rotWithShape="1">
            <a:blip r:embed="rId4">
              <a:alphaModFix/>
            </a:blip>
            <a:srcRect/>
            <a:stretch/>
          </p:blipFill>
          <p:spPr>
            <a:xfrm>
              <a:off x="4144306" y="1347276"/>
              <a:ext cx="531758" cy="531758"/>
            </a:xfrm>
            <a:prstGeom prst="rect">
              <a:avLst/>
            </a:prstGeom>
            <a:noFill/>
            <a:ln>
              <a:noFill/>
            </a:ln>
          </p:spPr>
        </p:pic>
      </p:grpSp>
      <p:sp>
        <p:nvSpPr>
          <p:cNvPr id="1944" name="Google Shape;1944;p13"/>
          <p:cNvSpPr/>
          <p:nvPr/>
        </p:nvSpPr>
        <p:spPr>
          <a:xfrm>
            <a:off x="6979209" y="2827754"/>
            <a:ext cx="4812986" cy="921278"/>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chemeClr val="dk2"/>
              </a:buClr>
              <a:buSzPts val="1260"/>
              <a:buFont typeface="Noto Sans Symbols"/>
              <a:buChar char="▪"/>
            </a:pPr>
            <a:r>
              <a:rPr lang="fr-MA" sz="1400" b="0" i="0" u="none" strike="noStrike" cap="none" dirty="0" err="1">
                <a:solidFill>
                  <a:schemeClr val="dk1"/>
                </a:solidFill>
                <a:latin typeface="Calibri"/>
                <a:ea typeface="Calibri"/>
                <a:cs typeface="Calibri"/>
                <a:sym typeface="Calibri"/>
              </a:rPr>
              <a:t>We</a:t>
            </a:r>
            <a:r>
              <a:rPr lang="fr-MA" sz="1400" b="0" i="0" u="none" strike="noStrike" cap="none" dirty="0">
                <a:solidFill>
                  <a:schemeClr val="dk1"/>
                </a:solidFill>
                <a:latin typeface="Calibri"/>
                <a:ea typeface="Calibri"/>
                <a:cs typeface="Calibri"/>
                <a:sym typeface="Calibri"/>
              </a:rPr>
              <a:t> can </a:t>
            </a:r>
            <a:r>
              <a:rPr lang="fr-MA" sz="1400" b="0" i="0" u="none" strike="noStrike" cap="none" dirty="0" err="1">
                <a:solidFill>
                  <a:schemeClr val="dk1"/>
                </a:solidFill>
                <a:latin typeface="Calibri"/>
                <a:ea typeface="Calibri"/>
                <a:cs typeface="Calibri"/>
                <a:sym typeface="Calibri"/>
              </a:rPr>
              <a:t>work</a:t>
            </a:r>
            <a:r>
              <a:rPr lang="fr-MA" sz="1400" b="0" i="0" u="none" strike="noStrike" cap="none" dirty="0">
                <a:solidFill>
                  <a:schemeClr val="dk1"/>
                </a:solidFill>
                <a:latin typeface="Calibri"/>
                <a:ea typeface="Calibri"/>
                <a:cs typeface="Calibri"/>
                <a:sym typeface="Calibri"/>
              </a:rPr>
              <a:t> on </a:t>
            </a:r>
            <a:r>
              <a:rPr lang="fr-MA" sz="1400" b="0" i="0" u="none" strike="noStrike" cap="none" dirty="0" err="1">
                <a:solidFill>
                  <a:schemeClr val="dk1"/>
                </a:solidFill>
                <a:latin typeface="Calibri"/>
                <a:ea typeface="Calibri"/>
                <a:cs typeface="Calibri"/>
                <a:sym typeface="Calibri"/>
              </a:rPr>
              <a:t>specific</a:t>
            </a:r>
            <a:r>
              <a:rPr lang="fr-MA" sz="1400" b="0" i="0" u="none" strike="noStrike" cap="none" dirty="0">
                <a:solidFill>
                  <a:schemeClr val="dk1"/>
                </a:solidFill>
                <a:latin typeface="Calibri"/>
                <a:ea typeface="Calibri"/>
                <a:cs typeface="Calibri"/>
                <a:sym typeface="Calibri"/>
              </a:rPr>
              <a:t> </a:t>
            </a:r>
            <a:r>
              <a:rPr lang="fr-MA" sz="1400" b="0" i="0" u="none" strike="noStrike" cap="none" dirty="0" err="1">
                <a:solidFill>
                  <a:schemeClr val="dk1"/>
                </a:solidFill>
                <a:latin typeface="Calibri"/>
                <a:ea typeface="Calibri"/>
                <a:cs typeface="Calibri"/>
                <a:sym typeface="Calibri"/>
              </a:rPr>
              <a:t>tasks</a:t>
            </a:r>
            <a:r>
              <a:rPr lang="fr-MA" sz="1400" b="0" i="0" u="none" strike="noStrike" cap="none" dirty="0">
                <a:solidFill>
                  <a:schemeClr val="dk1"/>
                </a:solidFill>
                <a:latin typeface="Calibri"/>
                <a:ea typeface="Calibri"/>
                <a:cs typeface="Calibri"/>
                <a:sym typeface="Calibri"/>
              </a:rPr>
              <a:t> or lead full end to end </a:t>
            </a:r>
            <a:r>
              <a:rPr lang="fr-MA" sz="1400" b="0" i="0" u="none" strike="noStrike" cap="none" dirty="0" err="1">
                <a:solidFill>
                  <a:schemeClr val="dk1"/>
                </a:solidFill>
                <a:latin typeface="Calibri"/>
                <a:ea typeface="Calibri"/>
                <a:cs typeface="Calibri"/>
                <a:sym typeface="Calibri"/>
              </a:rPr>
              <a:t>projects</a:t>
            </a:r>
            <a:r>
              <a:rPr lang="fr-MA" sz="1400" b="0" i="0" u="none" strike="noStrike" cap="none" dirty="0">
                <a:solidFill>
                  <a:schemeClr val="dk1"/>
                </a:solidFill>
                <a:latin typeface="Calibri"/>
                <a:ea typeface="Calibri"/>
                <a:cs typeface="Calibri"/>
                <a:sym typeface="Calibri"/>
              </a:rPr>
              <a:t> </a:t>
            </a:r>
          </a:p>
          <a:p>
            <a:pPr marL="176213" marR="0" lvl="1" indent="-176213" algn="l" rtl="0">
              <a:lnSpc>
                <a:spcPct val="95000"/>
              </a:lnSpc>
              <a:spcBef>
                <a:spcPts val="0"/>
              </a:spcBef>
              <a:spcAft>
                <a:spcPts val="0"/>
              </a:spcAft>
              <a:buClr>
                <a:schemeClr val="dk2"/>
              </a:buClr>
              <a:buSzPts val="1260"/>
              <a:buFont typeface="Noto Sans Symbols"/>
              <a:buChar char="▪"/>
            </a:pPr>
            <a:endParaRPr lang="fr-MA" dirty="0">
              <a:solidFill>
                <a:schemeClr val="dk1"/>
              </a:solidFill>
              <a:latin typeface="Calibri"/>
              <a:ea typeface="Calibri"/>
              <a:cs typeface="Calibri"/>
              <a:sym typeface="Calibri"/>
            </a:endParaRPr>
          </a:p>
          <a:p>
            <a:pPr marL="176213" marR="0" lvl="1" indent="-176213" algn="l" rtl="0">
              <a:lnSpc>
                <a:spcPct val="95000"/>
              </a:lnSpc>
              <a:spcBef>
                <a:spcPts val="0"/>
              </a:spcBef>
              <a:spcAft>
                <a:spcPts val="0"/>
              </a:spcAft>
              <a:buClr>
                <a:schemeClr val="dk2"/>
              </a:buClr>
              <a:buSzPts val="1260"/>
              <a:buFont typeface="Noto Sans Symbols"/>
              <a:buChar char="▪"/>
            </a:pPr>
            <a:r>
              <a:rPr lang="fr-MA" dirty="0" err="1">
                <a:solidFill>
                  <a:schemeClr val="dk1"/>
                </a:solidFill>
                <a:latin typeface="Calibri"/>
                <a:ea typeface="Calibri"/>
                <a:cs typeface="Calibri"/>
                <a:sym typeface="Calibri"/>
              </a:rPr>
              <a:t>We</a:t>
            </a:r>
            <a:r>
              <a:rPr lang="fr-MA" dirty="0">
                <a:solidFill>
                  <a:schemeClr val="dk1"/>
                </a:solidFill>
                <a:latin typeface="Calibri"/>
                <a:ea typeface="Calibri"/>
                <a:cs typeface="Calibri"/>
                <a:sym typeface="Calibri"/>
              </a:rPr>
              <a:t> can support in the long run to </a:t>
            </a:r>
            <a:r>
              <a:rPr lang="fr-MA" dirty="0" err="1">
                <a:solidFill>
                  <a:schemeClr val="dk1"/>
                </a:solidFill>
                <a:latin typeface="Calibri"/>
                <a:ea typeface="Calibri"/>
                <a:cs typeface="Calibri"/>
                <a:sym typeface="Calibri"/>
              </a:rPr>
              <a:t>maintain</a:t>
            </a:r>
            <a:r>
              <a:rPr lang="fr-MA" dirty="0">
                <a:solidFill>
                  <a:schemeClr val="dk1"/>
                </a:solidFill>
                <a:latin typeface="Calibri"/>
                <a:ea typeface="Calibri"/>
                <a:cs typeface="Calibri"/>
                <a:sym typeface="Calibri"/>
              </a:rPr>
              <a:t> and </a:t>
            </a:r>
            <a:r>
              <a:rPr lang="fr-MA" dirty="0" err="1">
                <a:solidFill>
                  <a:schemeClr val="dk1"/>
                </a:solidFill>
                <a:latin typeface="Calibri"/>
                <a:ea typeface="Calibri"/>
                <a:cs typeface="Calibri"/>
                <a:sym typeface="Calibri"/>
              </a:rPr>
              <a:t>adjust</a:t>
            </a:r>
            <a:r>
              <a:rPr lang="fr-MA" dirty="0">
                <a:solidFill>
                  <a:schemeClr val="dk1"/>
                </a:solidFill>
                <a:latin typeface="Calibri"/>
                <a:ea typeface="Calibri"/>
                <a:cs typeface="Calibri"/>
                <a:sym typeface="Calibri"/>
              </a:rPr>
              <a:t> solutions </a:t>
            </a:r>
            <a:endParaRPr sz="1400" b="0" i="0" u="none" strike="noStrike" cap="none" dirty="0">
              <a:solidFill>
                <a:srgbClr val="000000"/>
              </a:solidFill>
              <a:latin typeface="Arial"/>
              <a:ea typeface="Arial"/>
              <a:cs typeface="Arial"/>
              <a:sym typeface="Arial"/>
            </a:endParaRPr>
          </a:p>
          <a:p>
            <a:pPr marL="176213" marR="0" lvl="1" indent="-176213" algn="l" rtl="0">
              <a:lnSpc>
                <a:spcPct val="95000"/>
              </a:lnSpc>
              <a:spcBef>
                <a:spcPts val="800"/>
              </a:spcBef>
              <a:spcAft>
                <a:spcPts val="0"/>
              </a:spcAft>
              <a:buClr>
                <a:schemeClr val="dk2"/>
              </a:buClr>
              <a:buSzPts val="1260"/>
              <a:buFont typeface="Noto Sans Symbols"/>
              <a:buChar char="▪"/>
            </a:pPr>
            <a:r>
              <a:rPr lang="en-US" sz="1400" b="0" i="0" u="none" strike="noStrike" cap="none" dirty="0">
                <a:solidFill>
                  <a:schemeClr val="dk1"/>
                </a:solidFill>
                <a:latin typeface="Calibri"/>
                <a:ea typeface="Calibri"/>
                <a:cs typeface="Calibri"/>
                <a:sym typeface="Calibri"/>
              </a:rPr>
              <a:t>Full compliance with confidentiality and ethics best practices</a:t>
            </a:r>
            <a:endParaRPr sz="1400" b="0" i="0" u="none" strike="noStrike" cap="none" dirty="0">
              <a:solidFill>
                <a:srgbClr val="000000"/>
              </a:solidFill>
              <a:latin typeface="Arial"/>
              <a:ea typeface="Arial"/>
              <a:cs typeface="Arial"/>
              <a:sym typeface="Arial"/>
            </a:endParaRPr>
          </a:p>
        </p:txBody>
      </p:sp>
      <p:sp>
        <p:nvSpPr>
          <p:cNvPr id="1945" name="Google Shape;1945;p13"/>
          <p:cNvSpPr/>
          <p:nvPr/>
        </p:nvSpPr>
        <p:spPr>
          <a:xfrm>
            <a:off x="5013665" y="3273773"/>
            <a:ext cx="1779405" cy="233910"/>
          </a:xfrm>
          <a:prstGeom prst="rect">
            <a:avLst/>
          </a:prstGeom>
          <a:noFill/>
          <a:ln>
            <a:noFill/>
          </a:ln>
        </p:spPr>
        <p:txBody>
          <a:bodyPr spcFirstLastPara="1" wrap="square" lIns="0" tIns="0" rIns="0" bIns="0" anchor="ctr" anchorCtr="0">
            <a:spAutoFit/>
          </a:bodyPr>
          <a:lstStyle/>
          <a:p>
            <a:pPr marL="0" marR="0" lvl="0" indent="0" algn="l" rtl="0">
              <a:lnSpc>
                <a:spcPct val="95000"/>
              </a:lnSpc>
              <a:spcBef>
                <a:spcPts val="0"/>
              </a:spcBef>
              <a:spcAft>
                <a:spcPts val="0"/>
              </a:spcAft>
              <a:buClr>
                <a:srgbClr val="000000"/>
              </a:buClr>
              <a:buSzPts val="1600"/>
              <a:buFont typeface="Arial"/>
              <a:buNone/>
            </a:pPr>
            <a:r>
              <a:rPr lang="en-US" sz="1600" b="0" i="0" u="none" strike="noStrike" cap="none" dirty="0">
                <a:solidFill>
                  <a:schemeClr val="accent1"/>
                </a:solidFill>
                <a:latin typeface="Franklin Gothic"/>
                <a:ea typeface="Franklin Gothic"/>
                <a:cs typeface="Franklin Gothic"/>
                <a:sym typeface="Franklin Gothic"/>
              </a:rPr>
              <a:t>Adaptability</a:t>
            </a:r>
            <a:endParaRPr sz="1400" b="0" i="0" u="none" strike="noStrike" cap="none" dirty="0">
              <a:solidFill>
                <a:srgbClr val="000000"/>
              </a:solidFill>
              <a:latin typeface="Arial"/>
              <a:ea typeface="Arial"/>
              <a:cs typeface="Arial"/>
              <a:sym typeface="Arial"/>
            </a:endParaRPr>
          </a:p>
        </p:txBody>
      </p:sp>
      <p:sp>
        <p:nvSpPr>
          <p:cNvPr id="1946" name="Google Shape;1946;p13"/>
          <p:cNvSpPr/>
          <p:nvPr/>
        </p:nvSpPr>
        <p:spPr>
          <a:xfrm>
            <a:off x="3945835" y="2927950"/>
            <a:ext cx="925556" cy="925556"/>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95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947" name="Google Shape;1947;p13"/>
          <p:cNvPicPr preferRelativeResize="0"/>
          <p:nvPr/>
        </p:nvPicPr>
        <p:blipFill rotWithShape="1">
          <a:blip r:embed="rId5">
            <a:alphaModFix/>
          </a:blip>
          <a:srcRect/>
          <a:stretch/>
        </p:blipFill>
        <p:spPr>
          <a:xfrm>
            <a:off x="4144618" y="3130654"/>
            <a:ext cx="520148" cy="520148"/>
          </a:xfrm>
          <a:prstGeom prst="rect">
            <a:avLst/>
          </a:prstGeom>
          <a:noFill/>
          <a:ln>
            <a:noFill/>
          </a:ln>
        </p:spPr>
      </p:pic>
      <p:grpSp>
        <p:nvGrpSpPr>
          <p:cNvPr id="1948" name="Google Shape;1948;p13"/>
          <p:cNvGrpSpPr/>
          <p:nvPr/>
        </p:nvGrpSpPr>
        <p:grpSpPr>
          <a:xfrm>
            <a:off x="3945835" y="4113005"/>
            <a:ext cx="7695300" cy="925556"/>
            <a:chOff x="3945835" y="4036050"/>
            <a:chExt cx="7695300" cy="925556"/>
          </a:xfrm>
        </p:grpSpPr>
        <p:sp>
          <p:nvSpPr>
            <p:cNvPr id="1949" name="Google Shape;1949;p13"/>
            <p:cNvSpPr/>
            <p:nvPr/>
          </p:nvSpPr>
          <p:spPr>
            <a:xfrm>
              <a:off x="6991106" y="4038189"/>
              <a:ext cx="4650029" cy="818686"/>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chemeClr val="dk2"/>
                </a:buClr>
                <a:buSzPts val="1260"/>
                <a:buFont typeface="Noto Sans Symbols"/>
                <a:buChar char="▪"/>
              </a:pPr>
              <a:r>
                <a:rPr lang="en-US" sz="1400" b="0" i="0" u="none" strike="noStrike" cap="none" dirty="0">
                  <a:solidFill>
                    <a:schemeClr val="dk1"/>
                  </a:solidFill>
                  <a:latin typeface="Calibri"/>
                  <a:ea typeface="Calibri"/>
                  <a:cs typeface="Calibri"/>
                  <a:sym typeface="Calibri"/>
                </a:rPr>
                <a:t>Leverage our scale, experience and expertise at your service  across our geographies</a:t>
              </a:r>
              <a:endParaRPr lang="en-US" dirty="0">
                <a:solidFill>
                  <a:schemeClr val="dk1"/>
                </a:solidFill>
                <a:latin typeface="Calibri"/>
                <a:ea typeface="Calibri"/>
                <a:cs typeface="Calibri"/>
                <a:sym typeface="Calibri"/>
              </a:endParaRPr>
            </a:p>
            <a:p>
              <a:pPr marL="176213" marR="0" lvl="1" indent="-176213" algn="l" rtl="0">
                <a:lnSpc>
                  <a:spcPct val="95000"/>
                </a:lnSpc>
                <a:spcBef>
                  <a:spcPts val="0"/>
                </a:spcBef>
                <a:spcAft>
                  <a:spcPts val="0"/>
                </a:spcAft>
                <a:buClr>
                  <a:schemeClr val="dk2"/>
                </a:buClr>
                <a:buSzPts val="1260"/>
                <a:buFont typeface="Noto Sans Symbols"/>
                <a:buChar char="▪"/>
              </a:pPr>
              <a:endParaRPr lang="en-US" sz="1400" b="0" i="0" u="none" strike="noStrike" cap="none" dirty="0">
                <a:solidFill>
                  <a:schemeClr val="dk1"/>
                </a:solidFill>
                <a:highlight>
                  <a:srgbClr val="FFFF00"/>
                </a:highlight>
                <a:latin typeface="Calibri"/>
                <a:ea typeface="Calibri"/>
                <a:cs typeface="Calibri"/>
                <a:sym typeface="Calibri"/>
              </a:endParaRPr>
            </a:p>
            <a:p>
              <a:pPr marL="176213" marR="0" lvl="1" indent="-176213" algn="l" rtl="0">
                <a:lnSpc>
                  <a:spcPct val="95000"/>
                </a:lnSpc>
                <a:spcBef>
                  <a:spcPts val="0"/>
                </a:spcBef>
                <a:spcAft>
                  <a:spcPts val="0"/>
                </a:spcAft>
                <a:buClr>
                  <a:schemeClr val="dk2"/>
                </a:buClr>
                <a:buSzPts val="1260"/>
                <a:buFont typeface="Noto Sans Symbols"/>
                <a:buChar char="▪"/>
              </a:pPr>
              <a:r>
                <a:rPr lang="en-US" sz="1400" b="0" i="0" u="none" strike="noStrike" cap="none" dirty="0">
                  <a:solidFill>
                    <a:schemeClr val="dk1"/>
                  </a:solidFill>
                  <a:latin typeface="Calibri"/>
                  <a:ea typeface="Calibri"/>
                  <a:cs typeface="Calibri"/>
                  <a:sym typeface="Calibri"/>
                </a:rPr>
                <a:t>Different engagement models balancing price and flexibility</a:t>
              </a:r>
              <a:endParaRPr sz="1400" b="0" i="0" u="none" strike="noStrike" cap="none" dirty="0">
                <a:solidFill>
                  <a:srgbClr val="000000"/>
                </a:solidFill>
                <a:latin typeface="Arial"/>
                <a:ea typeface="Arial"/>
                <a:cs typeface="Arial"/>
                <a:sym typeface="Arial"/>
              </a:endParaRPr>
            </a:p>
          </p:txBody>
        </p:sp>
        <p:sp>
          <p:nvSpPr>
            <p:cNvPr id="1950" name="Google Shape;1950;p13"/>
            <p:cNvSpPr/>
            <p:nvPr/>
          </p:nvSpPr>
          <p:spPr>
            <a:xfrm>
              <a:off x="5013665" y="4264918"/>
              <a:ext cx="1779405" cy="467820"/>
            </a:xfrm>
            <a:prstGeom prst="rect">
              <a:avLst/>
            </a:prstGeom>
            <a:noFill/>
            <a:ln>
              <a:noFill/>
            </a:ln>
          </p:spPr>
          <p:txBody>
            <a:bodyPr spcFirstLastPara="1" wrap="square" lIns="0" tIns="0" rIns="0" bIns="0" anchor="ctr" anchorCtr="0">
              <a:spAutoFit/>
            </a:bodyPr>
            <a:lstStyle/>
            <a:p>
              <a:pPr marL="0" marR="0" lvl="0" indent="0" algn="l" rtl="0">
                <a:lnSpc>
                  <a:spcPct val="95000"/>
                </a:lnSpc>
                <a:spcBef>
                  <a:spcPts val="0"/>
                </a:spcBef>
                <a:spcAft>
                  <a:spcPts val="0"/>
                </a:spcAft>
                <a:buClr>
                  <a:srgbClr val="000000"/>
                </a:buClr>
                <a:buSzPts val="1600"/>
                <a:buFont typeface="Arial"/>
                <a:buNone/>
              </a:pPr>
              <a:r>
                <a:rPr lang="en-US" sz="1600" b="0" i="0" u="none" strike="noStrike" cap="none">
                  <a:solidFill>
                    <a:schemeClr val="accent1"/>
                  </a:solidFill>
                  <a:latin typeface="Franklin Gothic"/>
                  <a:ea typeface="Franklin Gothic"/>
                  <a:cs typeface="Franklin Gothic"/>
                  <a:sym typeface="Franklin Gothic"/>
                </a:rPr>
                <a:t>Offering flexibility and scalability</a:t>
              </a:r>
              <a:endParaRPr sz="1400" b="0" i="0" u="none" strike="noStrike" cap="none">
                <a:solidFill>
                  <a:srgbClr val="000000"/>
                </a:solidFill>
                <a:latin typeface="Arial"/>
                <a:ea typeface="Arial"/>
                <a:cs typeface="Arial"/>
                <a:sym typeface="Arial"/>
              </a:endParaRPr>
            </a:p>
          </p:txBody>
        </p:sp>
        <p:sp>
          <p:nvSpPr>
            <p:cNvPr id="1951" name="Google Shape;1951;p13"/>
            <p:cNvSpPr/>
            <p:nvPr/>
          </p:nvSpPr>
          <p:spPr>
            <a:xfrm>
              <a:off x="3945835" y="4036050"/>
              <a:ext cx="925556" cy="925556"/>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95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952" name="Google Shape;1952;p13"/>
            <p:cNvPicPr preferRelativeResize="0"/>
            <p:nvPr/>
          </p:nvPicPr>
          <p:blipFill rotWithShape="1">
            <a:blip r:embed="rId6">
              <a:alphaModFix/>
            </a:blip>
            <a:srcRect/>
            <a:stretch/>
          </p:blipFill>
          <p:spPr>
            <a:xfrm>
              <a:off x="4163484" y="4252650"/>
              <a:ext cx="492356" cy="492356"/>
            </a:xfrm>
            <a:prstGeom prst="rect">
              <a:avLst/>
            </a:prstGeom>
            <a:noFill/>
            <a:ln>
              <a:noFill/>
            </a:ln>
          </p:spPr>
        </p:pic>
      </p:grpSp>
      <p:grpSp>
        <p:nvGrpSpPr>
          <p:cNvPr id="1953" name="Google Shape;1953;p13"/>
          <p:cNvGrpSpPr/>
          <p:nvPr/>
        </p:nvGrpSpPr>
        <p:grpSpPr>
          <a:xfrm>
            <a:off x="3945835" y="5197864"/>
            <a:ext cx="7695300" cy="1330621"/>
            <a:chOff x="3945835" y="5012807"/>
            <a:chExt cx="7695300" cy="1330621"/>
          </a:xfrm>
        </p:grpSpPr>
        <p:sp>
          <p:nvSpPr>
            <p:cNvPr id="1954" name="Google Shape;1954;p13"/>
            <p:cNvSpPr/>
            <p:nvPr/>
          </p:nvSpPr>
          <p:spPr>
            <a:xfrm>
              <a:off x="6991106" y="5012807"/>
              <a:ext cx="4650029" cy="1330621"/>
            </a:xfrm>
            <a:prstGeom prst="rect">
              <a:avLst/>
            </a:prstGeom>
            <a:noFill/>
            <a:ln>
              <a:noFill/>
            </a:ln>
          </p:spPr>
          <p:txBody>
            <a:bodyPr spcFirstLastPara="1" wrap="square" lIns="0" tIns="0" rIns="0" bIns="0" anchor="t" anchorCtr="0">
              <a:spAutoFit/>
            </a:bodyPr>
            <a:lstStyle/>
            <a:p>
              <a:pPr marL="176213" marR="0" lvl="1" indent="-176213" algn="l" rtl="0">
                <a:lnSpc>
                  <a:spcPct val="95000"/>
                </a:lnSpc>
                <a:spcBef>
                  <a:spcPts val="0"/>
                </a:spcBef>
                <a:spcAft>
                  <a:spcPts val="0"/>
                </a:spcAft>
                <a:buClr>
                  <a:schemeClr val="dk2"/>
                </a:buClr>
                <a:buSzPts val="1260"/>
                <a:buFont typeface="Noto Sans Symbols"/>
                <a:buChar char="▪"/>
              </a:pPr>
              <a:r>
                <a:rPr lang="en-US" sz="1400" b="0" i="0" u="none" strike="noStrike" cap="none" dirty="0">
                  <a:solidFill>
                    <a:schemeClr val="dk1"/>
                  </a:solidFill>
                  <a:latin typeface="Calibri"/>
                  <a:ea typeface="Calibri"/>
                  <a:cs typeface="Calibri"/>
                  <a:sym typeface="Calibri"/>
                </a:rPr>
                <a:t>Multiple advantages of our nearshore locations (Casablanca , Mexico &amp; Cairo): Reasonable cost base, although offering high quality of service (staff with critical sense, same time zone etc.)</a:t>
              </a:r>
              <a:endParaRPr sz="1400" b="0" i="0" u="none" strike="noStrike" cap="none" dirty="0">
                <a:solidFill>
                  <a:srgbClr val="000000"/>
                </a:solidFill>
                <a:latin typeface="Arial"/>
                <a:ea typeface="Arial"/>
                <a:cs typeface="Arial"/>
                <a:sym typeface="Arial"/>
              </a:endParaRPr>
            </a:p>
            <a:p>
              <a:pPr marL="176213" marR="0" lvl="1" indent="-176213" algn="l" rtl="0">
                <a:lnSpc>
                  <a:spcPct val="95000"/>
                </a:lnSpc>
                <a:spcBef>
                  <a:spcPts val="800"/>
                </a:spcBef>
                <a:spcAft>
                  <a:spcPts val="0"/>
                </a:spcAft>
                <a:buClr>
                  <a:schemeClr val="dk2"/>
                </a:buClr>
                <a:buSzPts val="1260"/>
                <a:buFont typeface="Noto Sans Symbols"/>
                <a:buChar char="▪"/>
              </a:pPr>
              <a:r>
                <a:rPr lang="en-US" sz="1400" b="0" i="0" u="none" strike="noStrike" cap="none" dirty="0">
                  <a:solidFill>
                    <a:schemeClr val="dk1"/>
                  </a:solidFill>
                  <a:latin typeface="Calibri"/>
                  <a:ea typeface="Calibri"/>
                  <a:cs typeface="Calibri"/>
                  <a:sym typeface="Calibri"/>
                </a:rPr>
                <a:t>Benefits of pooling resources between several clients: tools costs, etc.</a:t>
              </a:r>
              <a:endParaRPr sz="1400" b="0" i="0" u="none" strike="noStrike" cap="none" dirty="0">
                <a:solidFill>
                  <a:srgbClr val="000000"/>
                </a:solidFill>
                <a:latin typeface="Arial"/>
                <a:ea typeface="Arial"/>
                <a:cs typeface="Arial"/>
                <a:sym typeface="Arial"/>
              </a:endParaRPr>
            </a:p>
          </p:txBody>
        </p:sp>
        <p:sp>
          <p:nvSpPr>
            <p:cNvPr id="1955" name="Google Shape;1955;p13"/>
            <p:cNvSpPr/>
            <p:nvPr/>
          </p:nvSpPr>
          <p:spPr>
            <a:xfrm>
              <a:off x="5013665" y="5224916"/>
              <a:ext cx="1779405" cy="701731"/>
            </a:xfrm>
            <a:prstGeom prst="rect">
              <a:avLst/>
            </a:prstGeom>
            <a:noFill/>
            <a:ln>
              <a:noFill/>
            </a:ln>
          </p:spPr>
          <p:txBody>
            <a:bodyPr spcFirstLastPara="1" wrap="square" lIns="0" tIns="0" rIns="0" bIns="0" anchor="ctr" anchorCtr="0">
              <a:spAutoFit/>
            </a:bodyPr>
            <a:lstStyle/>
            <a:p>
              <a:pPr marL="0" marR="0" lvl="0" indent="0" algn="l" rtl="0">
                <a:lnSpc>
                  <a:spcPct val="95000"/>
                </a:lnSpc>
                <a:spcBef>
                  <a:spcPts val="0"/>
                </a:spcBef>
                <a:spcAft>
                  <a:spcPts val="0"/>
                </a:spcAft>
                <a:buClr>
                  <a:srgbClr val="000000"/>
                </a:buClr>
                <a:buSzPts val="1600"/>
                <a:buFont typeface="Arial"/>
                <a:buNone/>
              </a:pPr>
              <a:r>
                <a:rPr lang="en-US" sz="1600" b="0" i="0" u="none" strike="noStrike" cap="none">
                  <a:solidFill>
                    <a:schemeClr val="accent1"/>
                  </a:solidFill>
                  <a:latin typeface="Franklin Gothic"/>
                  <a:ea typeface="Franklin Gothic"/>
                  <a:cs typeface="Franklin Gothic"/>
                  <a:sym typeface="Franklin Gothic"/>
                </a:rPr>
                <a:t>Providing value added services at a competitive price</a:t>
              </a:r>
              <a:endParaRPr sz="1400" b="0" i="0" u="none" strike="noStrike" cap="none">
                <a:solidFill>
                  <a:srgbClr val="000000"/>
                </a:solidFill>
                <a:latin typeface="Arial"/>
                <a:ea typeface="Arial"/>
                <a:cs typeface="Arial"/>
                <a:sym typeface="Arial"/>
              </a:endParaRPr>
            </a:p>
          </p:txBody>
        </p:sp>
        <p:sp>
          <p:nvSpPr>
            <p:cNvPr id="1956" name="Google Shape;1956;p13"/>
            <p:cNvSpPr/>
            <p:nvPr/>
          </p:nvSpPr>
          <p:spPr>
            <a:xfrm>
              <a:off x="3945835" y="5113003"/>
              <a:ext cx="925556" cy="925556"/>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95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957" name="Google Shape;1957;p13"/>
            <p:cNvPicPr preferRelativeResize="0"/>
            <p:nvPr/>
          </p:nvPicPr>
          <p:blipFill rotWithShape="1">
            <a:blip r:embed="rId7">
              <a:alphaModFix/>
            </a:blip>
            <a:srcRect/>
            <a:stretch/>
          </p:blipFill>
          <p:spPr>
            <a:xfrm>
              <a:off x="4165600" y="5342101"/>
              <a:ext cx="467360" cy="467360"/>
            </a:xfrm>
            <a:prstGeom prst="rect">
              <a:avLst/>
            </a:prstGeom>
            <a:noFill/>
            <a:ln>
              <a:noFill/>
            </a:ln>
          </p:spPr>
        </p:pic>
      </p:grpSp>
      <p:cxnSp>
        <p:nvCxnSpPr>
          <p:cNvPr id="1958" name="Google Shape;1958;p13"/>
          <p:cNvCxnSpPr/>
          <p:nvPr/>
        </p:nvCxnSpPr>
        <p:spPr>
          <a:xfrm>
            <a:off x="5029200" y="2748102"/>
            <a:ext cx="6611938" cy="0"/>
          </a:xfrm>
          <a:prstGeom prst="straightConnector1">
            <a:avLst/>
          </a:prstGeom>
          <a:noFill/>
          <a:ln w="9525" cap="flat" cmpd="sng">
            <a:solidFill>
              <a:srgbClr val="7F7F7F"/>
            </a:solidFill>
            <a:prstDash val="solid"/>
            <a:miter lim="800000"/>
            <a:headEnd type="none" w="sm" len="sm"/>
            <a:tailEnd type="none" w="sm" len="sm"/>
          </a:ln>
        </p:spPr>
      </p:cxnSp>
      <p:cxnSp>
        <p:nvCxnSpPr>
          <p:cNvPr id="1959" name="Google Shape;1959;p13"/>
          <p:cNvCxnSpPr/>
          <p:nvPr/>
        </p:nvCxnSpPr>
        <p:spPr>
          <a:xfrm>
            <a:off x="5029200" y="4033354"/>
            <a:ext cx="6611938" cy="0"/>
          </a:xfrm>
          <a:prstGeom prst="straightConnector1">
            <a:avLst/>
          </a:prstGeom>
          <a:noFill/>
          <a:ln w="9525" cap="flat" cmpd="sng">
            <a:solidFill>
              <a:srgbClr val="7F7F7F"/>
            </a:solidFill>
            <a:prstDash val="solid"/>
            <a:miter lim="800000"/>
            <a:headEnd type="none" w="sm" len="sm"/>
            <a:tailEnd type="none" w="sm" len="sm"/>
          </a:ln>
        </p:spPr>
      </p:cxnSp>
      <p:cxnSp>
        <p:nvCxnSpPr>
          <p:cNvPr id="1960" name="Google Shape;1960;p13"/>
          <p:cNvCxnSpPr/>
          <p:nvPr/>
        </p:nvCxnSpPr>
        <p:spPr>
          <a:xfrm>
            <a:off x="5029200" y="5118212"/>
            <a:ext cx="6611938" cy="0"/>
          </a:xfrm>
          <a:prstGeom prst="straightConnector1">
            <a:avLst/>
          </a:prstGeom>
          <a:noFill/>
          <a:ln w="9525" cap="flat" cmpd="sng">
            <a:solidFill>
              <a:srgbClr val="7F7F7F"/>
            </a:solidFill>
            <a:prstDash val="solid"/>
            <a:miter lim="800000"/>
            <a:headEnd type="none" w="sm" len="sm"/>
            <a:tailEnd type="none" w="sm" len="sm"/>
          </a:ln>
        </p:spPr>
      </p:cxnSp>
      <p:cxnSp>
        <p:nvCxnSpPr>
          <p:cNvPr id="1961" name="Google Shape;1961;p13"/>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1962" name="Google Shape;1962;p13"/>
          <p:cNvSpPr txBox="1">
            <a:spLocks noGrp="1"/>
          </p:cNvSpPr>
          <p:nvPr>
            <p:ph type="title"/>
          </p:nvPr>
        </p:nvSpPr>
        <p:spPr>
          <a:xfrm>
            <a:off x="550863" y="560588"/>
            <a:ext cx="2645343" cy="886397"/>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lt1"/>
              </a:buClr>
              <a:buSzPts val="3200"/>
              <a:buFont typeface="Franklin Gothic"/>
              <a:buNone/>
            </a:pPr>
            <a:r>
              <a:rPr lang="en-US" sz="3200">
                <a:solidFill>
                  <a:schemeClr val="lt1"/>
                </a:solidFill>
              </a:rPr>
              <a:t>Why work</a:t>
            </a:r>
            <a:br>
              <a:rPr lang="en-US" sz="3200">
                <a:solidFill>
                  <a:schemeClr val="lt1"/>
                </a:solidFill>
              </a:rPr>
            </a:br>
            <a:r>
              <a:rPr lang="en-US" sz="3200">
                <a:solidFill>
                  <a:schemeClr val="lt1"/>
                </a:solidFill>
              </a:rPr>
              <a:t>with us</a:t>
            </a:r>
            <a:endParaRPr/>
          </a:p>
        </p:txBody>
      </p:sp>
      <p:grpSp>
        <p:nvGrpSpPr>
          <p:cNvPr id="1963" name="Google Shape;1963;p13"/>
          <p:cNvGrpSpPr/>
          <p:nvPr/>
        </p:nvGrpSpPr>
        <p:grpSpPr>
          <a:xfrm>
            <a:off x="10976464" y="135255"/>
            <a:ext cx="1046733" cy="468742"/>
            <a:chOff x="10976464" y="135255"/>
            <a:chExt cx="1046733" cy="468742"/>
          </a:xfrm>
        </p:grpSpPr>
        <p:sp>
          <p:nvSpPr>
            <p:cNvPr id="1964" name="Google Shape;1964;p13"/>
            <p:cNvSpPr txBox="1"/>
            <p:nvPr/>
          </p:nvSpPr>
          <p:spPr>
            <a:xfrm>
              <a:off x="10976464" y="292682"/>
              <a:ext cx="533800" cy="153888"/>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2"/>
                  </a:solidFill>
                  <a:latin typeface="Franklin Gothic"/>
                  <a:ea typeface="Franklin Gothic"/>
                  <a:cs typeface="Franklin Gothic"/>
                  <a:sym typeface="Franklin Gothic"/>
                </a:rPr>
                <a:t>Research</a:t>
              </a:r>
              <a:endParaRPr sz="1400" b="0" i="0" u="none" strike="noStrike" cap="none">
                <a:solidFill>
                  <a:srgbClr val="000000"/>
                </a:solidFill>
                <a:latin typeface="Arial"/>
                <a:ea typeface="Arial"/>
                <a:cs typeface="Arial"/>
                <a:sym typeface="Arial"/>
              </a:endParaRPr>
            </a:p>
          </p:txBody>
        </p:sp>
        <p:sp>
          <p:nvSpPr>
            <p:cNvPr id="1965" name="Google Shape;1965;p13"/>
            <p:cNvSpPr/>
            <p:nvPr/>
          </p:nvSpPr>
          <p:spPr>
            <a:xfrm>
              <a:off x="11554453"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pic>
          <p:nvPicPr>
            <p:cNvPr id="1966" name="Google Shape;1966;p13"/>
            <p:cNvPicPr preferRelativeResize="0"/>
            <p:nvPr/>
          </p:nvPicPr>
          <p:blipFill rotWithShape="1">
            <a:blip r:embed="rId8">
              <a:alphaModFix/>
            </a:blip>
            <a:srcRect/>
            <a:stretch/>
          </p:blipFill>
          <p:spPr>
            <a:xfrm>
              <a:off x="11641138" y="237175"/>
              <a:ext cx="269974" cy="269974"/>
            </a:xfrm>
            <a:prstGeom prst="rect">
              <a:avLst/>
            </a:prstGeom>
            <a:noFill/>
            <a:ln>
              <a:noFill/>
            </a:ln>
          </p:spPr>
        </p:pic>
      </p:grpSp>
    </p:spTree>
    <p:extLst>
      <p:ext uri="{BB962C8B-B14F-4D97-AF65-F5344CB8AC3E}">
        <p14:creationId xmlns:p14="http://schemas.microsoft.com/office/powerpoint/2010/main" val="32780344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2809"/>
        <p:cNvGrpSpPr/>
        <p:nvPr/>
      </p:nvGrpSpPr>
      <p:grpSpPr>
        <a:xfrm>
          <a:off x="0" y="0"/>
          <a:ext cx="0" cy="0"/>
          <a:chOff x="0" y="0"/>
          <a:chExt cx="0" cy="0"/>
        </a:xfrm>
      </p:grpSpPr>
      <p:sp>
        <p:nvSpPr>
          <p:cNvPr id="2810" name="Google Shape;2810;p78"/>
          <p:cNvSpPr txBox="1">
            <a:spLocks noGrp="1"/>
          </p:cNvSpPr>
          <p:nvPr>
            <p:ph type="title"/>
          </p:nvPr>
        </p:nvSpPr>
        <p:spPr>
          <a:xfrm>
            <a:off x="737591" y="4477767"/>
            <a:ext cx="8494899" cy="830997"/>
          </a:xfrm>
          <a:prstGeom prst="rect">
            <a:avLst/>
          </a:prstGeom>
          <a:noFill/>
          <a:ln>
            <a:noFill/>
          </a:ln>
          <a:effectLst>
            <a:outerShdw blurRad="190500" algn="tl" rotWithShape="0">
              <a:srgbClr val="000000">
                <a:alpha val="27843"/>
              </a:srgbClr>
            </a:outerShdw>
          </a:effectLst>
        </p:spPr>
        <p:txBody>
          <a:bodyPr spcFirstLastPara="1" wrap="square" lIns="0" tIns="0" rIns="0" bIns="0" anchor="ctr" anchorCtr="0">
            <a:spAutoFit/>
          </a:bodyPr>
          <a:lstStyle/>
          <a:p>
            <a:pPr marL="0" lvl="0" indent="0" algn="l" rtl="0">
              <a:lnSpc>
                <a:spcPct val="90000"/>
              </a:lnSpc>
              <a:spcBef>
                <a:spcPts val="0"/>
              </a:spcBef>
              <a:spcAft>
                <a:spcPts val="0"/>
              </a:spcAft>
              <a:buClr>
                <a:schemeClr val="lt1"/>
              </a:buClr>
              <a:buSzPts val="6000"/>
              <a:buFont typeface="Franklin Gothic"/>
              <a:buNone/>
            </a:pPr>
            <a:r>
              <a:rPr lang="en-US"/>
              <a:t>Working with Infomineo</a:t>
            </a:r>
            <a:endParaRPr/>
          </a:p>
        </p:txBody>
      </p:sp>
      <p:sp>
        <p:nvSpPr>
          <p:cNvPr id="2811" name="Google Shape;2811;p78"/>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lvl="0" indent="0" algn="r" rtl="0">
              <a:lnSpc>
                <a:spcPct val="90000"/>
              </a:lnSpc>
              <a:spcBef>
                <a:spcPts val="0"/>
              </a:spcBef>
              <a:spcAft>
                <a:spcPts val="0"/>
              </a:spcAft>
              <a:buSzPts val="1000"/>
              <a:buNone/>
            </a:pPr>
            <a:fld id="{00000000-1234-1234-1234-123412341234}" type="slidenum">
              <a:rPr lang="en-US"/>
              <a:t>51</a:t>
            </a:fld>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2815"/>
        <p:cNvGrpSpPr/>
        <p:nvPr/>
      </p:nvGrpSpPr>
      <p:grpSpPr>
        <a:xfrm>
          <a:off x="0" y="0"/>
          <a:ext cx="0" cy="0"/>
          <a:chOff x="0" y="0"/>
          <a:chExt cx="0" cy="0"/>
        </a:xfrm>
      </p:grpSpPr>
      <p:sp>
        <p:nvSpPr>
          <p:cNvPr id="2816" name="Google Shape;2816;p3"/>
          <p:cNvSpPr/>
          <p:nvPr/>
        </p:nvSpPr>
        <p:spPr>
          <a:xfrm>
            <a:off x="8161280" y="1194331"/>
            <a:ext cx="3189228" cy="5398058"/>
          </a:xfrm>
          <a:prstGeom prst="rect">
            <a:avLst/>
          </a:prstGeom>
          <a:solidFill>
            <a:srgbClr val="6D90F8"/>
          </a:solidFill>
          <a:ln>
            <a:noFill/>
          </a:ln>
        </p:spPr>
        <p:txBody>
          <a:bodyPr spcFirstLastPara="1" wrap="square" lIns="91425" tIns="45700" rIns="91425" bIns="45700" anchor="b"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1" i="1" u="none" strike="noStrike" cap="none">
                <a:solidFill>
                  <a:schemeClr val="lt1"/>
                </a:solidFill>
                <a:latin typeface="Arial"/>
                <a:ea typeface="Arial"/>
                <a:cs typeface="Arial"/>
                <a:sym typeface="Arial"/>
              </a:rPr>
              <a:t>Used by clients who can only procure based on a fixed scope</a:t>
            </a:r>
            <a:endParaRPr sz="1400" b="0" i="0" u="none" strike="noStrike" cap="none">
              <a:solidFill>
                <a:srgbClr val="000000"/>
              </a:solidFill>
              <a:latin typeface="Arial"/>
              <a:ea typeface="Arial"/>
              <a:cs typeface="Arial"/>
              <a:sym typeface="Arial"/>
            </a:endParaRPr>
          </a:p>
        </p:txBody>
      </p:sp>
      <p:sp>
        <p:nvSpPr>
          <p:cNvPr id="2817" name="Google Shape;2817;p3"/>
          <p:cNvSpPr/>
          <p:nvPr/>
        </p:nvSpPr>
        <p:spPr>
          <a:xfrm>
            <a:off x="4520591" y="1194331"/>
            <a:ext cx="3189228" cy="5398058"/>
          </a:xfrm>
          <a:prstGeom prst="rect">
            <a:avLst/>
          </a:prstGeom>
          <a:solidFill>
            <a:srgbClr val="0934B6"/>
          </a:solidFill>
          <a:ln>
            <a:noFill/>
          </a:ln>
        </p:spPr>
        <p:txBody>
          <a:bodyPr spcFirstLastPara="1" wrap="square" lIns="91425" tIns="45700" rIns="91425" bIns="45700" anchor="b"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1" i="1" u="none" strike="noStrike" cap="none">
                <a:solidFill>
                  <a:schemeClr val="lt1"/>
                </a:solidFill>
                <a:latin typeface="Arial"/>
                <a:ea typeface="Arial"/>
                <a:cs typeface="Arial"/>
                <a:sym typeface="Arial"/>
              </a:rPr>
              <a:t>Mostly used as a complement to a retainer</a:t>
            </a:r>
            <a:endParaRPr sz="1400" b="0" i="0" u="none" strike="noStrike" cap="none">
              <a:solidFill>
                <a:srgbClr val="000000"/>
              </a:solidFill>
              <a:latin typeface="Arial"/>
              <a:ea typeface="Arial"/>
              <a:cs typeface="Arial"/>
              <a:sym typeface="Arial"/>
            </a:endParaRPr>
          </a:p>
        </p:txBody>
      </p:sp>
      <p:sp>
        <p:nvSpPr>
          <p:cNvPr id="2818" name="Google Shape;2818;p3"/>
          <p:cNvSpPr/>
          <p:nvPr/>
        </p:nvSpPr>
        <p:spPr>
          <a:xfrm>
            <a:off x="817164" y="1194331"/>
            <a:ext cx="3189228" cy="5398058"/>
          </a:xfrm>
          <a:prstGeom prst="rect">
            <a:avLst/>
          </a:prstGeom>
          <a:solidFill>
            <a:srgbClr val="062379"/>
          </a:solidFill>
          <a:ln>
            <a:noFill/>
          </a:ln>
        </p:spPr>
        <p:txBody>
          <a:bodyPr spcFirstLastPara="1" wrap="square" lIns="91425" tIns="45700" rIns="91425" bIns="45700" anchor="b"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1" i="1" u="none" strike="noStrike" cap="none">
                <a:solidFill>
                  <a:schemeClr val="lt1"/>
                </a:solidFill>
                <a:latin typeface="Arial"/>
                <a:ea typeface="Arial"/>
                <a:cs typeface="Arial"/>
                <a:sym typeface="Arial"/>
              </a:rPr>
              <a:t>90% of Infomineo’s business today</a:t>
            </a:r>
            <a:endParaRPr sz="1400" b="0" i="0" u="none" strike="noStrike" cap="none">
              <a:solidFill>
                <a:srgbClr val="000000"/>
              </a:solidFill>
              <a:latin typeface="Arial"/>
              <a:ea typeface="Arial"/>
              <a:cs typeface="Arial"/>
              <a:sym typeface="Arial"/>
            </a:endParaRPr>
          </a:p>
        </p:txBody>
      </p:sp>
      <p:sp>
        <p:nvSpPr>
          <p:cNvPr id="2819" name="Google Shape;2819;p3"/>
          <p:cNvSpPr txBox="1">
            <a:spLocks noGrp="1"/>
          </p:cNvSpPr>
          <p:nvPr>
            <p:ph type="title"/>
          </p:nvPr>
        </p:nvSpPr>
        <p:spPr>
          <a:xfrm>
            <a:off x="539400"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Infomineo offers three relationship models</a:t>
            </a:r>
            <a:endParaRPr/>
          </a:p>
        </p:txBody>
      </p:sp>
      <p:sp>
        <p:nvSpPr>
          <p:cNvPr id="2820" name="Google Shape;2820;p3"/>
          <p:cNvSpPr txBox="1">
            <a:spLocks noGrp="1"/>
          </p:cNvSpPr>
          <p:nvPr>
            <p:ph type="body" idx="4"/>
          </p:nvPr>
        </p:nvSpPr>
        <p:spPr>
          <a:xfrm>
            <a:off x="4457853" y="1169511"/>
            <a:ext cx="3155232" cy="420628"/>
          </a:xfrm>
          <a:prstGeom prst="rect">
            <a:avLst/>
          </a:prstGeom>
          <a:noFill/>
          <a:ln>
            <a:noFill/>
          </a:ln>
        </p:spPr>
        <p:txBody>
          <a:bodyPr spcFirstLastPara="1" wrap="square" lIns="0" tIns="0" rIns="0" bIns="0" anchor="t" anchorCtr="0">
            <a:spAutoFit/>
          </a:bodyPr>
          <a:lstStyle/>
          <a:p>
            <a:pPr marL="457200" lvl="0" indent="-228600" algn="ctr" rtl="0">
              <a:lnSpc>
                <a:spcPct val="95000"/>
              </a:lnSpc>
              <a:spcBef>
                <a:spcPts val="1000"/>
              </a:spcBef>
              <a:spcAft>
                <a:spcPts val="0"/>
              </a:spcAft>
              <a:buSzPts val="1800"/>
              <a:buNone/>
            </a:pPr>
            <a:r>
              <a:rPr lang="en-US" sz="2000">
                <a:solidFill>
                  <a:schemeClr val="lt1"/>
                </a:solidFill>
              </a:rPr>
              <a:t>Service package</a:t>
            </a:r>
            <a:endParaRPr/>
          </a:p>
        </p:txBody>
      </p:sp>
      <p:sp>
        <p:nvSpPr>
          <p:cNvPr id="2821" name="Google Shape;2821;p3"/>
          <p:cNvSpPr txBox="1">
            <a:spLocks noGrp="1"/>
          </p:cNvSpPr>
          <p:nvPr>
            <p:ph type="body" idx="5"/>
          </p:nvPr>
        </p:nvSpPr>
        <p:spPr>
          <a:xfrm>
            <a:off x="802989" y="1654691"/>
            <a:ext cx="3160915" cy="4171398"/>
          </a:xfrm>
          <a:prstGeom prst="rect">
            <a:avLst/>
          </a:prstGeom>
          <a:noFill/>
          <a:ln>
            <a:noFill/>
          </a:ln>
        </p:spPr>
        <p:txBody>
          <a:bodyPr spcFirstLastPara="1" wrap="square" lIns="0" tIns="0" rIns="0" bIns="0" anchor="t" anchorCtr="0">
            <a:spAutoFit/>
          </a:bodyPr>
          <a:lstStyle/>
          <a:p>
            <a:pPr marL="228600" lvl="0" indent="0" algn="l" rtl="0">
              <a:lnSpc>
                <a:spcPct val="100000"/>
              </a:lnSpc>
              <a:spcBef>
                <a:spcPts val="0"/>
              </a:spcBef>
              <a:spcAft>
                <a:spcPts val="0"/>
              </a:spcAft>
              <a:buSzPts val="1400"/>
              <a:buNone/>
            </a:pPr>
            <a:r>
              <a:rPr lang="en-US" sz="1600">
                <a:solidFill>
                  <a:schemeClr val="lt1"/>
                </a:solidFill>
              </a:rPr>
              <a:t>The client subscribes to a monthly capacity (by batches of 150 hours) and uses it as per their needs</a:t>
            </a:r>
            <a:endParaRPr/>
          </a:p>
          <a:p>
            <a:pPr marL="228600" lvl="0" indent="0" algn="l" rtl="0">
              <a:lnSpc>
                <a:spcPct val="100000"/>
              </a:lnSpc>
              <a:spcBef>
                <a:spcPts val="0"/>
              </a:spcBef>
              <a:spcAft>
                <a:spcPts val="0"/>
              </a:spcAft>
              <a:buSzPts val="1400"/>
              <a:buNone/>
            </a:pPr>
            <a:endParaRPr sz="1600">
              <a:solidFill>
                <a:schemeClr val="lt1"/>
              </a:solidFill>
            </a:endParaRPr>
          </a:p>
          <a:p>
            <a:pPr marL="228600" lvl="0" indent="0" algn="l" rtl="0">
              <a:lnSpc>
                <a:spcPct val="100000"/>
              </a:lnSpc>
              <a:spcBef>
                <a:spcPts val="0"/>
              </a:spcBef>
              <a:spcAft>
                <a:spcPts val="0"/>
              </a:spcAft>
              <a:buSzPts val="1400"/>
              <a:buNone/>
            </a:pPr>
            <a:r>
              <a:rPr lang="en-US" sz="1600">
                <a:solidFill>
                  <a:schemeClr val="lt1"/>
                </a:solidFill>
              </a:rPr>
              <a:t>The client sees Infomineo as their team or an extension of their team</a:t>
            </a:r>
            <a:endParaRPr/>
          </a:p>
          <a:p>
            <a:pPr marL="228600" lvl="0" indent="0" algn="l" rtl="0">
              <a:lnSpc>
                <a:spcPct val="100000"/>
              </a:lnSpc>
              <a:spcBef>
                <a:spcPts val="0"/>
              </a:spcBef>
              <a:spcAft>
                <a:spcPts val="0"/>
              </a:spcAft>
              <a:buSzPts val="1400"/>
              <a:buNone/>
            </a:pPr>
            <a:endParaRPr sz="1600">
              <a:solidFill>
                <a:schemeClr val="lt1"/>
              </a:solidFill>
            </a:endParaRPr>
          </a:p>
          <a:p>
            <a:pPr marL="228600" lvl="0" indent="0" algn="l" rtl="0">
              <a:lnSpc>
                <a:spcPct val="100000"/>
              </a:lnSpc>
              <a:spcBef>
                <a:spcPts val="0"/>
              </a:spcBef>
              <a:spcAft>
                <a:spcPts val="0"/>
              </a:spcAft>
              <a:buSzPts val="1400"/>
              <a:buNone/>
            </a:pPr>
            <a:endParaRPr sz="1600">
              <a:solidFill>
                <a:schemeClr val="lt1"/>
              </a:solidFill>
            </a:endParaRPr>
          </a:p>
          <a:p>
            <a:pPr marL="228600" lvl="0" indent="0" algn="l" rtl="0">
              <a:lnSpc>
                <a:spcPct val="100000"/>
              </a:lnSpc>
              <a:spcBef>
                <a:spcPts val="0"/>
              </a:spcBef>
              <a:spcAft>
                <a:spcPts val="0"/>
              </a:spcAft>
              <a:buSzPts val="1400"/>
              <a:buNone/>
            </a:pPr>
            <a:r>
              <a:rPr lang="en-US" sz="1600">
                <a:solidFill>
                  <a:schemeClr val="lt1"/>
                </a:solidFill>
              </a:rPr>
              <a:t>Strong integration with</a:t>
            </a:r>
            <a:endParaRPr/>
          </a:p>
          <a:p>
            <a:pPr marL="514350" lvl="0" indent="-285750" algn="l" rtl="0">
              <a:lnSpc>
                <a:spcPct val="100000"/>
              </a:lnSpc>
              <a:spcBef>
                <a:spcPts val="0"/>
              </a:spcBef>
              <a:spcAft>
                <a:spcPts val="0"/>
              </a:spcAft>
              <a:buClr>
                <a:schemeClr val="lt1"/>
              </a:buClr>
              <a:buSzPts val="1400"/>
              <a:buFont typeface="Arial"/>
              <a:buChar char="•"/>
            </a:pPr>
            <a:r>
              <a:rPr lang="en-US" sz="1600">
                <a:solidFill>
                  <a:schemeClr val="lt1"/>
                </a:solidFill>
              </a:rPr>
              <a:t>Daily communication</a:t>
            </a:r>
            <a:endParaRPr/>
          </a:p>
          <a:p>
            <a:pPr marL="514350" lvl="0" indent="-285750" algn="l" rtl="0">
              <a:lnSpc>
                <a:spcPct val="100000"/>
              </a:lnSpc>
              <a:spcBef>
                <a:spcPts val="0"/>
              </a:spcBef>
              <a:spcAft>
                <a:spcPts val="0"/>
              </a:spcAft>
              <a:buClr>
                <a:schemeClr val="lt1"/>
              </a:buClr>
              <a:buSzPts val="1400"/>
              <a:buFont typeface="Arial"/>
              <a:buChar char="•"/>
            </a:pPr>
            <a:r>
              <a:rPr lang="en-US" sz="1600">
                <a:solidFill>
                  <a:schemeClr val="lt1"/>
                </a:solidFill>
              </a:rPr>
              <a:t>Dedicated team members</a:t>
            </a:r>
            <a:endParaRPr/>
          </a:p>
          <a:p>
            <a:pPr marL="514350" lvl="0" indent="-285750" algn="l" rtl="0">
              <a:lnSpc>
                <a:spcPct val="100000"/>
              </a:lnSpc>
              <a:spcBef>
                <a:spcPts val="0"/>
              </a:spcBef>
              <a:spcAft>
                <a:spcPts val="0"/>
              </a:spcAft>
              <a:buClr>
                <a:schemeClr val="lt1"/>
              </a:buClr>
              <a:buSzPts val="1400"/>
              <a:buFont typeface="Arial"/>
              <a:buChar char="•"/>
            </a:pPr>
            <a:r>
              <a:rPr lang="en-US" sz="1600">
                <a:solidFill>
                  <a:schemeClr val="lt1"/>
                </a:solidFill>
              </a:rPr>
              <a:t>Dedicated communication channels</a:t>
            </a:r>
            <a:endParaRPr/>
          </a:p>
          <a:p>
            <a:pPr marL="514350" lvl="0" indent="-285750" algn="l" rtl="0">
              <a:lnSpc>
                <a:spcPct val="100000"/>
              </a:lnSpc>
              <a:spcBef>
                <a:spcPts val="0"/>
              </a:spcBef>
              <a:spcAft>
                <a:spcPts val="0"/>
              </a:spcAft>
              <a:buClr>
                <a:schemeClr val="lt1"/>
              </a:buClr>
              <a:buSzPts val="1400"/>
              <a:buFont typeface="Arial"/>
              <a:buChar char="•"/>
            </a:pPr>
            <a:r>
              <a:rPr lang="en-US" sz="1600">
                <a:solidFill>
                  <a:schemeClr val="lt1"/>
                </a:solidFill>
              </a:rPr>
              <a:t>Mutual training</a:t>
            </a:r>
            <a:endParaRPr/>
          </a:p>
          <a:p>
            <a:pPr marL="228600" lvl="0" indent="0" algn="l" rtl="0">
              <a:lnSpc>
                <a:spcPct val="95000"/>
              </a:lnSpc>
              <a:spcBef>
                <a:spcPts val="1000"/>
              </a:spcBef>
              <a:spcAft>
                <a:spcPts val="0"/>
              </a:spcAft>
              <a:buSzPts val="1400"/>
              <a:buNone/>
            </a:pPr>
            <a:endParaRPr sz="1600">
              <a:solidFill>
                <a:schemeClr val="lt1"/>
              </a:solidFill>
            </a:endParaRPr>
          </a:p>
          <a:p>
            <a:pPr marL="228600" lvl="0" indent="0" algn="l" rtl="0">
              <a:lnSpc>
                <a:spcPct val="95000"/>
              </a:lnSpc>
              <a:spcBef>
                <a:spcPts val="1000"/>
              </a:spcBef>
              <a:spcAft>
                <a:spcPts val="0"/>
              </a:spcAft>
              <a:buSzPts val="1400"/>
              <a:buNone/>
            </a:pPr>
            <a:r>
              <a:rPr lang="en-US" sz="1600">
                <a:solidFill>
                  <a:schemeClr val="lt1"/>
                </a:solidFill>
              </a:rPr>
              <a:t>Works starts within hours</a:t>
            </a:r>
            <a:endParaRPr/>
          </a:p>
        </p:txBody>
      </p:sp>
      <p:sp>
        <p:nvSpPr>
          <p:cNvPr id="2822" name="Google Shape;2822;p3"/>
          <p:cNvSpPr txBox="1">
            <a:spLocks noGrp="1"/>
          </p:cNvSpPr>
          <p:nvPr>
            <p:ph type="body" idx="6"/>
          </p:nvPr>
        </p:nvSpPr>
        <p:spPr>
          <a:xfrm>
            <a:off x="791526" y="1169511"/>
            <a:ext cx="3160915" cy="420628"/>
          </a:xfrm>
          <a:prstGeom prst="rect">
            <a:avLst/>
          </a:prstGeom>
          <a:noFill/>
          <a:ln>
            <a:noFill/>
          </a:ln>
        </p:spPr>
        <p:txBody>
          <a:bodyPr spcFirstLastPara="1" wrap="square" lIns="0" tIns="0" rIns="0" bIns="0" anchor="t" anchorCtr="0">
            <a:spAutoFit/>
          </a:bodyPr>
          <a:lstStyle/>
          <a:p>
            <a:pPr marL="457200" lvl="0" indent="-228600" algn="ctr" rtl="0">
              <a:lnSpc>
                <a:spcPct val="95000"/>
              </a:lnSpc>
              <a:spcBef>
                <a:spcPts val="1000"/>
              </a:spcBef>
              <a:spcAft>
                <a:spcPts val="0"/>
              </a:spcAft>
              <a:buSzPts val="1800"/>
              <a:buNone/>
            </a:pPr>
            <a:r>
              <a:rPr lang="en-US" sz="2000">
                <a:solidFill>
                  <a:schemeClr val="lt1"/>
                </a:solidFill>
              </a:rPr>
              <a:t>Retainer</a:t>
            </a:r>
            <a:endParaRPr/>
          </a:p>
        </p:txBody>
      </p:sp>
      <p:sp>
        <p:nvSpPr>
          <p:cNvPr id="2823" name="Google Shape;2823;p3"/>
          <p:cNvSpPr txBox="1">
            <a:spLocks noGrp="1"/>
          </p:cNvSpPr>
          <p:nvPr>
            <p:ph type="body" idx="8"/>
          </p:nvPr>
        </p:nvSpPr>
        <p:spPr>
          <a:xfrm>
            <a:off x="8141243" y="1158885"/>
            <a:ext cx="3155232" cy="420628"/>
          </a:xfrm>
          <a:prstGeom prst="rect">
            <a:avLst/>
          </a:prstGeom>
          <a:noFill/>
          <a:ln>
            <a:noFill/>
          </a:ln>
        </p:spPr>
        <p:txBody>
          <a:bodyPr spcFirstLastPara="1" wrap="square" lIns="0" tIns="0" rIns="0" bIns="0" anchor="t" anchorCtr="0">
            <a:spAutoFit/>
          </a:bodyPr>
          <a:lstStyle/>
          <a:p>
            <a:pPr marL="457200" lvl="0" indent="-228600" algn="ctr" rtl="0">
              <a:lnSpc>
                <a:spcPct val="95000"/>
              </a:lnSpc>
              <a:spcBef>
                <a:spcPts val="1000"/>
              </a:spcBef>
              <a:spcAft>
                <a:spcPts val="0"/>
              </a:spcAft>
              <a:buSzPts val="1800"/>
              <a:buNone/>
            </a:pPr>
            <a:r>
              <a:rPr lang="en-US" sz="2000">
                <a:solidFill>
                  <a:schemeClr val="lt1"/>
                </a:solidFill>
              </a:rPr>
              <a:t>Project</a:t>
            </a:r>
            <a:endParaRPr/>
          </a:p>
        </p:txBody>
      </p:sp>
      <p:sp>
        <p:nvSpPr>
          <p:cNvPr id="2824" name="Google Shape;2824;p3"/>
          <p:cNvSpPr txBox="1"/>
          <p:nvPr/>
        </p:nvSpPr>
        <p:spPr>
          <a:xfrm>
            <a:off x="4479263" y="1654691"/>
            <a:ext cx="3160915" cy="4185761"/>
          </a:xfrm>
          <a:prstGeom prst="rect">
            <a:avLst/>
          </a:prstGeom>
          <a:noFill/>
          <a:ln>
            <a:noFill/>
          </a:ln>
        </p:spPr>
        <p:txBody>
          <a:bodyPr spcFirstLastPara="1" wrap="square" lIns="0" tIns="0" rIns="0" bIns="0" anchor="t" anchorCtr="0">
            <a:spAutoFit/>
          </a:bodyPr>
          <a:lstStyle/>
          <a:p>
            <a:pPr marL="228600" marR="0" lvl="0" indent="0" algn="l" rtl="0">
              <a:lnSpc>
                <a:spcPct val="100000"/>
              </a:lnSpc>
              <a:spcBef>
                <a:spcPts val="0"/>
              </a:spcBef>
              <a:spcAft>
                <a:spcPts val="0"/>
              </a:spcAft>
              <a:buClr>
                <a:schemeClr val="dk1"/>
              </a:buClr>
              <a:buSzPts val="1400"/>
              <a:buFont typeface="Arial"/>
              <a:buNone/>
            </a:pPr>
            <a:r>
              <a:rPr lang="en-US" sz="1600" b="0" i="0" u="none" strike="noStrike" cap="none">
                <a:solidFill>
                  <a:schemeClr val="lt1"/>
                </a:solidFill>
                <a:latin typeface="Calibri"/>
                <a:ea typeface="Calibri"/>
                <a:cs typeface="Calibri"/>
                <a:sym typeface="Calibri"/>
              </a:rPr>
              <a:t>The client subscribes to a package of “service points” and uses it across Infomineo services</a:t>
            </a:r>
            <a:endParaRPr sz="1400" b="0" i="0" u="none" strike="noStrike" cap="none">
              <a:solidFill>
                <a:srgbClr val="000000"/>
              </a:solidFill>
              <a:latin typeface="Arial"/>
              <a:ea typeface="Arial"/>
              <a:cs typeface="Arial"/>
              <a:sym typeface="Arial"/>
            </a:endParaRPr>
          </a:p>
          <a:p>
            <a:pPr marL="228600" marR="0" lvl="0" indent="0" algn="l" rtl="0">
              <a:lnSpc>
                <a:spcPct val="100000"/>
              </a:lnSpc>
              <a:spcBef>
                <a:spcPts val="0"/>
              </a:spcBef>
              <a:spcAft>
                <a:spcPts val="0"/>
              </a:spcAft>
              <a:buClr>
                <a:schemeClr val="dk1"/>
              </a:buClr>
              <a:buSzPts val="1400"/>
              <a:buFont typeface="Arial"/>
              <a:buNone/>
            </a:pPr>
            <a:endParaRPr sz="1600" b="0" i="0" u="none" strike="noStrike" cap="none">
              <a:solidFill>
                <a:schemeClr val="lt1"/>
              </a:solidFill>
              <a:latin typeface="Calibri"/>
              <a:ea typeface="Calibri"/>
              <a:cs typeface="Calibri"/>
              <a:sym typeface="Calibri"/>
            </a:endParaRPr>
          </a:p>
          <a:p>
            <a:pPr marL="228600" marR="0" lvl="0" indent="0" algn="l" rtl="0">
              <a:lnSpc>
                <a:spcPct val="100000"/>
              </a:lnSpc>
              <a:spcBef>
                <a:spcPts val="0"/>
              </a:spcBef>
              <a:spcAft>
                <a:spcPts val="0"/>
              </a:spcAft>
              <a:buClr>
                <a:schemeClr val="dk1"/>
              </a:buClr>
              <a:buSzPts val="1400"/>
              <a:buFont typeface="Arial"/>
              <a:buNone/>
            </a:pPr>
            <a:r>
              <a:rPr lang="en-US" sz="1600" b="0" i="0" u="none" strike="noStrike" cap="none">
                <a:solidFill>
                  <a:schemeClr val="lt1"/>
                </a:solidFill>
                <a:latin typeface="Calibri"/>
                <a:ea typeface="Calibri"/>
                <a:cs typeface="Calibri"/>
                <a:sym typeface="Calibri"/>
              </a:rPr>
              <a:t>The client complements their own capabilities or their Infomineo retainer</a:t>
            </a:r>
            <a:endParaRPr sz="1400" b="0" i="0" u="none" strike="noStrike" cap="none">
              <a:solidFill>
                <a:srgbClr val="000000"/>
              </a:solidFill>
              <a:latin typeface="Arial"/>
              <a:ea typeface="Arial"/>
              <a:cs typeface="Arial"/>
              <a:sym typeface="Arial"/>
            </a:endParaRPr>
          </a:p>
          <a:p>
            <a:pPr marL="228600" marR="0" lvl="0" indent="0" algn="l" rtl="0">
              <a:lnSpc>
                <a:spcPct val="100000"/>
              </a:lnSpc>
              <a:spcBef>
                <a:spcPts val="0"/>
              </a:spcBef>
              <a:spcAft>
                <a:spcPts val="0"/>
              </a:spcAft>
              <a:buClr>
                <a:schemeClr val="dk1"/>
              </a:buClr>
              <a:buSzPts val="1400"/>
              <a:buFont typeface="Arial"/>
              <a:buNone/>
            </a:pPr>
            <a:endParaRPr sz="1600" b="0" i="0" u="none" strike="noStrike" cap="none">
              <a:solidFill>
                <a:schemeClr val="lt1"/>
              </a:solidFill>
              <a:latin typeface="Calibri"/>
              <a:ea typeface="Calibri"/>
              <a:cs typeface="Calibri"/>
              <a:sym typeface="Calibri"/>
            </a:endParaRPr>
          </a:p>
          <a:p>
            <a:pPr marL="228600" marR="0" lvl="0" indent="0" algn="l" rtl="0">
              <a:lnSpc>
                <a:spcPct val="100000"/>
              </a:lnSpc>
              <a:spcBef>
                <a:spcPts val="0"/>
              </a:spcBef>
              <a:spcAft>
                <a:spcPts val="0"/>
              </a:spcAft>
              <a:buClr>
                <a:schemeClr val="dk1"/>
              </a:buClr>
              <a:buSzPts val="1400"/>
              <a:buFont typeface="Arial"/>
              <a:buNone/>
            </a:pPr>
            <a:r>
              <a:rPr lang="en-US" sz="1600" b="0" i="0" u="none" strike="noStrike" cap="none">
                <a:solidFill>
                  <a:schemeClr val="lt1"/>
                </a:solidFill>
                <a:latin typeface="Calibri"/>
                <a:ea typeface="Calibri"/>
                <a:cs typeface="Calibri"/>
                <a:sym typeface="Calibri"/>
              </a:rPr>
              <a:t>Medium level of integration</a:t>
            </a:r>
            <a:endParaRPr sz="1400" b="0" i="0" u="none" strike="noStrike" cap="none">
              <a:solidFill>
                <a:srgbClr val="000000"/>
              </a:solidFill>
              <a:latin typeface="Arial"/>
              <a:ea typeface="Arial"/>
              <a:cs typeface="Arial"/>
              <a:sym typeface="Arial"/>
            </a:endParaRPr>
          </a:p>
          <a:p>
            <a:pPr marL="514350" marR="0" lvl="0" indent="-285750" algn="l" rtl="0">
              <a:lnSpc>
                <a:spcPct val="100000"/>
              </a:lnSpc>
              <a:spcBef>
                <a:spcPts val="0"/>
              </a:spcBef>
              <a:spcAft>
                <a:spcPts val="0"/>
              </a:spcAft>
              <a:buClr>
                <a:schemeClr val="lt1"/>
              </a:buClr>
              <a:buSzPts val="1400"/>
              <a:buFont typeface="Arial"/>
              <a:buChar char="•"/>
            </a:pPr>
            <a:r>
              <a:rPr lang="en-US" sz="1600" b="0" i="0" u="none" strike="noStrike" cap="none">
                <a:solidFill>
                  <a:schemeClr val="lt1"/>
                </a:solidFill>
                <a:latin typeface="Calibri"/>
                <a:ea typeface="Calibri"/>
                <a:cs typeface="Calibri"/>
                <a:sym typeface="Calibri"/>
              </a:rPr>
              <a:t>Weekly/monthly reporting</a:t>
            </a:r>
            <a:endParaRPr sz="1400" b="0" i="0" u="none" strike="noStrike" cap="none">
              <a:solidFill>
                <a:srgbClr val="000000"/>
              </a:solidFill>
              <a:latin typeface="Arial"/>
              <a:ea typeface="Arial"/>
              <a:cs typeface="Arial"/>
              <a:sym typeface="Arial"/>
            </a:endParaRPr>
          </a:p>
          <a:p>
            <a:pPr marL="514350" marR="0" lvl="0" indent="-285750" algn="l" rtl="0">
              <a:lnSpc>
                <a:spcPct val="100000"/>
              </a:lnSpc>
              <a:spcBef>
                <a:spcPts val="0"/>
              </a:spcBef>
              <a:spcAft>
                <a:spcPts val="0"/>
              </a:spcAft>
              <a:buClr>
                <a:schemeClr val="lt1"/>
              </a:buClr>
              <a:buSzPts val="1400"/>
              <a:buFont typeface="Arial"/>
              <a:buChar char="•"/>
            </a:pPr>
            <a:r>
              <a:rPr lang="en-US" sz="1600" b="0" i="0" u="none" strike="noStrike" cap="none">
                <a:solidFill>
                  <a:schemeClr val="lt1"/>
                </a:solidFill>
                <a:latin typeface="Calibri"/>
                <a:ea typeface="Calibri"/>
                <a:cs typeface="Calibri"/>
                <a:sym typeface="Calibri"/>
              </a:rPr>
              <a:t>Dedicated account manager but “flying” team members</a:t>
            </a:r>
            <a:endParaRPr sz="1400" b="0" i="0" u="none" strike="noStrike" cap="none">
              <a:solidFill>
                <a:srgbClr val="000000"/>
              </a:solidFill>
              <a:latin typeface="Arial"/>
              <a:ea typeface="Arial"/>
              <a:cs typeface="Arial"/>
              <a:sym typeface="Arial"/>
            </a:endParaRPr>
          </a:p>
          <a:p>
            <a:pPr marL="514350" marR="0" lvl="0" indent="-285750" algn="l" rtl="0">
              <a:lnSpc>
                <a:spcPct val="100000"/>
              </a:lnSpc>
              <a:spcBef>
                <a:spcPts val="0"/>
              </a:spcBef>
              <a:spcAft>
                <a:spcPts val="0"/>
              </a:spcAft>
              <a:buClr>
                <a:schemeClr val="lt1"/>
              </a:buClr>
              <a:buSzPts val="1400"/>
              <a:buFont typeface="Arial"/>
              <a:buChar char="•"/>
            </a:pPr>
            <a:r>
              <a:rPr lang="en-US" sz="1600" b="0" i="0" u="none" strike="noStrike" cap="none">
                <a:solidFill>
                  <a:schemeClr val="lt1"/>
                </a:solidFill>
                <a:latin typeface="Calibri"/>
                <a:ea typeface="Calibri"/>
                <a:cs typeface="Calibri"/>
                <a:sym typeface="Calibri"/>
              </a:rPr>
              <a:t>Dedicated communication channel</a:t>
            </a:r>
            <a:endParaRPr sz="1400" b="0" i="0" u="none" strike="noStrike" cap="none">
              <a:solidFill>
                <a:srgbClr val="000000"/>
              </a:solidFill>
              <a:latin typeface="Arial"/>
              <a:ea typeface="Arial"/>
              <a:cs typeface="Arial"/>
              <a:sym typeface="Arial"/>
            </a:endParaRPr>
          </a:p>
          <a:p>
            <a:pPr marL="514350" marR="0" lvl="0" indent="-196850" algn="l" rtl="0">
              <a:lnSpc>
                <a:spcPct val="100000"/>
              </a:lnSpc>
              <a:spcBef>
                <a:spcPts val="0"/>
              </a:spcBef>
              <a:spcAft>
                <a:spcPts val="0"/>
              </a:spcAft>
              <a:buClr>
                <a:schemeClr val="lt1"/>
              </a:buClr>
              <a:buSzPts val="1400"/>
              <a:buFont typeface="Arial"/>
              <a:buNone/>
            </a:pPr>
            <a:endParaRPr sz="1600" b="0" i="0" u="none" strike="noStrike" cap="none">
              <a:solidFill>
                <a:schemeClr val="lt1"/>
              </a:solidFill>
              <a:latin typeface="Calibri"/>
              <a:ea typeface="Calibri"/>
              <a:cs typeface="Calibri"/>
              <a:sym typeface="Calibri"/>
            </a:endParaRPr>
          </a:p>
          <a:p>
            <a:pPr marL="228600" marR="0" lvl="0" indent="0" algn="l" rtl="0">
              <a:lnSpc>
                <a:spcPct val="100000"/>
              </a:lnSpc>
              <a:spcBef>
                <a:spcPts val="0"/>
              </a:spcBef>
              <a:spcAft>
                <a:spcPts val="0"/>
              </a:spcAft>
              <a:buClr>
                <a:schemeClr val="lt1"/>
              </a:buClr>
              <a:buSzPts val="1400"/>
              <a:buFont typeface="Arial"/>
              <a:buNone/>
            </a:pPr>
            <a:endParaRPr sz="1600" b="0" i="0" u="none" strike="noStrike" cap="none">
              <a:solidFill>
                <a:schemeClr val="lt1"/>
              </a:solidFill>
              <a:latin typeface="Calibri"/>
              <a:ea typeface="Calibri"/>
              <a:cs typeface="Calibri"/>
              <a:sym typeface="Calibri"/>
            </a:endParaRPr>
          </a:p>
          <a:p>
            <a:pPr marL="228600" marR="0" lvl="0" indent="0" algn="l" rtl="0">
              <a:lnSpc>
                <a:spcPct val="100000"/>
              </a:lnSpc>
              <a:spcBef>
                <a:spcPts val="0"/>
              </a:spcBef>
              <a:spcAft>
                <a:spcPts val="0"/>
              </a:spcAft>
              <a:buClr>
                <a:schemeClr val="lt1"/>
              </a:buClr>
              <a:buSzPts val="1400"/>
              <a:buFont typeface="Arial"/>
              <a:buNone/>
            </a:pPr>
            <a:r>
              <a:rPr lang="en-US" sz="1600" b="0" i="0" u="none" strike="noStrike" cap="none">
                <a:solidFill>
                  <a:schemeClr val="lt1"/>
                </a:solidFill>
                <a:latin typeface="Calibri"/>
                <a:ea typeface="Calibri"/>
                <a:cs typeface="Calibri"/>
                <a:sym typeface="Calibri"/>
              </a:rPr>
              <a:t>Work starts within days</a:t>
            </a:r>
            <a:endParaRPr sz="1400" b="0" i="0" u="none" strike="noStrike" cap="none">
              <a:solidFill>
                <a:srgbClr val="000000"/>
              </a:solidFill>
              <a:latin typeface="Arial"/>
              <a:ea typeface="Arial"/>
              <a:cs typeface="Arial"/>
              <a:sym typeface="Arial"/>
            </a:endParaRPr>
          </a:p>
        </p:txBody>
      </p:sp>
      <p:sp>
        <p:nvSpPr>
          <p:cNvPr id="2825" name="Google Shape;2825;p3"/>
          <p:cNvSpPr txBox="1"/>
          <p:nvPr/>
        </p:nvSpPr>
        <p:spPr>
          <a:xfrm>
            <a:off x="8155537" y="1654691"/>
            <a:ext cx="3160915" cy="4431983"/>
          </a:xfrm>
          <a:prstGeom prst="rect">
            <a:avLst/>
          </a:prstGeom>
          <a:noFill/>
          <a:ln>
            <a:noFill/>
          </a:ln>
        </p:spPr>
        <p:txBody>
          <a:bodyPr spcFirstLastPara="1" wrap="square" lIns="0" tIns="0" rIns="0" bIns="0" anchor="t" anchorCtr="0">
            <a:spAutoFit/>
          </a:bodyPr>
          <a:lstStyle/>
          <a:p>
            <a:pPr marL="228600" marR="0" lvl="0" indent="0" algn="l" rtl="0">
              <a:lnSpc>
                <a:spcPct val="100000"/>
              </a:lnSpc>
              <a:spcBef>
                <a:spcPts val="0"/>
              </a:spcBef>
              <a:spcAft>
                <a:spcPts val="0"/>
              </a:spcAft>
              <a:buClr>
                <a:schemeClr val="dk1"/>
              </a:buClr>
              <a:buSzPts val="1400"/>
              <a:buFont typeface="Arial"/>
              <a:buNone/>
            </a:pPr>
            <a:r>
              <a:rPr lang="en-US" sz="1600" b="0" i="0" u="none" strike="noStrike" cap="none">
                <a:solidFill>
                  <a:schemeClr val="lt1"/>
                </a:solidFill>
                <a:latin typeface="Calibri"/>
                <a:ea typeface="Calibri"/>
                <a:cs typeface="Calibri"/>
                <a:sym typeface="Calibri"/>
              </a:rPr>
              <a:t>The client shares a scope, Infomineo prepares a proposal and executes on the agreed scope</a:t>
            </a:r>
            <a:endParaRPr sz="1400" b="0" i="0" u="none" strike="noStrike" cap="none">
              <a:solidFill>
                <a:srgbClr val="000000"/>
              </a:solidFill>
              <a:latin typeface="Arial"/>
              <a:ea typeface="Arial"/>
              <a:cs typeface="Arial"/>
              <a:sym typeface="Arial"/>
            </a:endParaRPr>
          </a:p>
          <a:p>
            <a:pPr marL="228600" marR="0" lvl="0" indent="0" algn="l" rtl="0">
              <a:lnSpc>
                <a:spcPct val="100000"/>
              </a:lnSpc>
              <a:spcBef>
                <a:spcPts val="0"/>
              </a:spcBef>
              <a:spcAft>
                <a:spcPts val="0"/>
              </a:spcAft>
              <a:buClr>
                <a:schemeClr val="dk1"/>
              </a:buClr>
              <a:buSzPts val="1400"/>
              <a:buFont typeface="Arial"/>
              <a:buNone/>
            </a:pPr>
            <a:endParaRPr sz="1600" b="0" i="0" u="none" strike="noStrike" cap="none">
              <a:solidFill>
                <a:schemeClr val="lt1"/>
              </a:solidFill>
              <a:latin typeface="Calibri"/>
              <a:ea typeface="Calibri"/>
              <a:cs typeface="Calibri"/>
              <a:sym typeface="Calibri"/>
            </a:endParaRPr>
          </a:p>
          <a:p>
            <a:pPr marL="228600" marR="0" lvl="0" indent="0" algn="l" rtl="0">
              <a:lnSpc>
                <a:spcPct val="100000"/>
              </a:lnSpc>
              <a:spcBef>
                <a:spcPts val="0"/>
              </a:spcBef>
              <a:spcAft>
                <a:spcPts val="0"/>
              </a:spcAft>
              <a:buClr>
                <a:schemeClr val="dk1"/>
              </a:buClr>
              <a:buSzPts val="1400"/>
              <a:buFont typeface="Arial"/>
              <a:buNone/>
            </a:pPr>
            <a:r>
              <a:rPr lang="en-US" sz="1600" b="0" i="0" u="none" strike="noStrike" cap="none">
                <a:solidFill>
                  <a:schemeClr val="lt1"/>
                </a:solidFill>
                <a:latin typeface="Calibri"/>
                <a:ea typeface="Calibri"/>
                <a:cs typeface="Calibri"/>
                <a:sym typeface="Calibri"/>
              </a:rPr>
              <a:t>The client hires Infomineo as a “one off” support on a specific scope</a:t>
            </a:r>
            <a:endParaRPr sz="1400" b="0" i="0" u="none" strike="noStrike" cap="none">
              <a:solidFill>
                <a:srgbClr val="000000"/>
              </a:solidFill>
              <a:latin typeface="Arial"/>
              <a:ea typeface="Arial"/>
              <a:cs typeface="Arial"/>
              <a:sym typeface="Arial"/>
            </a:endParaRPr>
          </a:p>
          <a:p>
            <a:pPr marL="228600" marR="0" lvl="0" indent="0" algn="l" rtl="0">
              <a:lnSpc>
                <a:spcPct val="100000"/>
              </a:lnSpc>
              <a:spcBef>
                <a:spcPts val="0"/>
              </a:spcBef>
              <a:spcAft>
                <a:spcPts val="0"/>
              </a:spcAft>
              <a:buClr>
                <a:schemeClr val="dk1"/>
              </a:buClr>
              <a:buSzPts val="1400"/>
              <a:buFont typeface="Arial"/>
              <a:buNone/>
            </a:pPr>
            <a:endParaRPr sz="1600" b="0" i="0" u="none" strike="noStrike" cap="none">
              <a:solidFill>
                <a:schemeClr val="lt1"/>
              </a:solidFill>
              <a:latin typeface="Calibri"/>
              <a:ea typeface="Calibri"/>
              <a:cs typeface="Calibri"/>
              <a:sym typeface="Calibri"/>
            </a:endParaRPr>
          </a:p>
          <a:p>
            <a:pPr marL="228600" marR="0" lvl="0" indent="0" algn="l" rtl="0">
              <a:lnSpc>
                <a:spcPct val="100000"/>
              </a:lnSpc>
              <a:spcBef>
                <a:spcPts val="0"/>
              </a:spcBef>
              <a:spcAft>
                <a:spcPts val="0"/>
              </a:spcAft>
              <a:buClr>
                <a:schemeClr val="dk1"/>
              </a:buClr>
              <a:buSzPts val="1400"/>
              <a:buFont typeface="Arial"/>
              <a:buNone/>
            </a:pPr>
            <a:r>
              <a:rPr lang="en-US" sz="1600" b="0" i="0" u="none" strike="noStrike" cap="none">
                <a:solidFill>
                  <a:schemeClr val="lt1"/>
                </a:solidFill>
                <a:latin typeface="Calibri"/>
                <a:ea typeface="Calibri"/>
                <a:cs typeface="Calibri"/>
                <a:sym typeface="Calibri"/>
              </a:rPr>
              <a:t>Limited integration</a:t>
            </a:r>
            <a:endParaRPr sz="1400" b="0" i="0" u="none" strike="noStrike" cap="none">
              <a:solidFill>
                <a:srgbClr val="000000"/>
              </a:solidFill>
              <a:latin typeface="Arial"/>
              <a:ea typeface="Arial"/>
              <a:cs typeface="Arial"/>
              <a:sym typeface="Arial"/>
            </a:endParaRPr>
          </a:p>
          <a:p>
            <a:pPr marL="514350" marR="0" lvl="0" indent="-285750" algn="l" rtl="0">
              <a:lnSpc>
                <a:spcPct val="100000"/>
              </a:lnSpc>
              <a:spcBef>
                <a:spcPts val="0"/>
              </a:spcBef>
              <a:spcAft>
                <a:spcPts val="0"/>
              </a:spcAft>
              <a:buClr>
                <a:schemeClr val="lt1"/>
              </a:buClr>
              <a:buSzPts val="1400"/>
              <a:buFont typeface="Arial"/>
              <a:buChar char="•"/>
            </a:pPr>
            <a:r>
              <a:rPr lang="en-US" sz="1600" b="0" i="0" u="none" strike="noStrike" cap="none">
                <a:solidFill>
                  <a:schemeClr val="lt1"/>
                </a:solidFill>
                <a:latin typeface="Calibri"/>
                <a:ea typeface="Calibri"/>
                <a:cs typeface="Calibri"/>
                <a:sym typeface="Calibri"/>
              </a:rPr>
              <a:t>Kick off call and weekly updates</a:t>
            </a:r>
            <a:endParaRPr sz="1400" b="0" i="0" u="none" strike="noStrike" cap="none">
              <a:solidFill>
                <a:srgbClr val="000000"/>
              </a:solidFill>
              <a:latin typeface="Arial"/>
              <a:ea typeface="Arial"/>
              <a:cs typeface="Arial"/>
              <a:sym typeface="Arial"/>
            </a:endParaRPr>
          </a:p>
          <a:p>
            <a:pPr marL="514350" marR="0" lvl="0" indent="-285750" algn="l" rtl="0">
              <a:lnSpc>
                <a:spcPct val="100000"/>
              </a:lnSpc>
              <a:spcBef>
                <a:spcPts val="0"/>
              </a:spcBef>
              <a:spcAft>
                <a:spcPts val="0"/>
              </a:spcAft>
              <a:buClr>
                <a:schemeClr val="lt1"/>
              </a:buClr>
              <a:buSzPts val="1400"/>
              <a:buFont typeface="Arial"/>
              <a:buChar char="•"/>
            </a:pPr>
            <a:r>
              <a:rPr lang="en-US" sz="1600" b="0" i="0" u="none" strike="noStrike" cap="none">
                <a:solidFill>
                  <a:schemeClr val="lt1"/>
                </a:solidFill>
                <a:latin typeface="Calibri"/>
                <a:ea typeface="Calibri"/>
                <a:cs typeface="Calibri"/>
                <a:sym typeface="Calibri"/>
              </a:rPr>
              <a:t>Teams staffed ad hoc</a:t>
            </a:r>
            <a:endParaRPr sz="1400" b="0" i="0" u="none" strike="noStrike" cap="none">
              <a:solidFill>
                <a:srgbClr val="000000"/>
              </a:solidFill>
              <a:latin typeface="Arial"/>
              <a:ea typeface="Arial"/>
              <a:cs typeface="Arial"/>
              <a:sym typeface="Arial"/>
            </a:endParaRPr>
          </a:p>
          <a:p>
            <a:pPr marL="514350" marR="0" lvl="0" indent="-196850" algn="l" rtl="0">
              <a:lnSpc>
                <a:spcPct val="100000"/>
              </a:lnSpc>
              <a:spcBef>
                <a:spcPts val="0"/>
              </a:spcBef>
              <a:spcAft>
                <a:spcPts val="0"/>
              </a:spcAft>
              <a:buClr>
                <a:schemeClr val="lt1"/>
              </a:buClr>
              <a:buSzPts val="1400"/>
              <a:buFont typeface="Arial"/>
              <a:buNone/>
            </a:pPr>
            <a:endParaRPr sz="1600" b="0" i="0" u="none" strike="noStrike" cap="none">
              <a:solidFill>
                <a:schemeClr val="lt1"/>
              </a:solidFill>
              <a:latin typeface="Calibri"/>
              <a:ea typeface="Calibri"/>
              <a:cs typeface="Calibri"/>
              <a:sym typeface="Calibri"/>
            </a:endParaRPr>
          </a:p>
          <a:p>
            <a:pPr marL="514350" marR="0" lvl="0" indent="-196850" algn="l" rtl="0">
              <a:lnSpc>
                <a:spcPct val="100000"/>
              </a:lnSpc>
              <a:spcBef>
                <a:spcPts val="0"/>
              </a:spcBef>
              <a:spcAft>
                <a:spcPts val="0"/>
              </a:spcAft>
              <a:buClr>
                <a:schemeClr val="lt1"/>
              </a:buClr>
              <a:buSzPts val="1400"/>
              <a:buFont typeface="Arial"/>
              <a:buNone/>
            </a:pPr>
            <a:endParaRPr sz="1600" b="0" i="0" u="none" strike="noStrike" cap="none">
              <a:solidFill>
                <a:schemeClr val="lt1"/>
              </a:solidFill>
              <a:latin typeface="Calibri"/>
              <a:ea typeface="Calibri"/>
              <a:cs typeface="Calibri"/>
              <a:sym typeface="Calibri"/>
            </a:endParaRPr>
          </a:p>
          <a:p>
            <a:pPr marL="514350" marR="0" lvl="0" indent="-196850" algn="l" rtl="0">
              <a:lnSpc>
                <a:spcPct val="100000"/>
              </a:lnSpc>
              <a:spcBef>
                <a:spcPts val="0"/>
              </a:spcBef>
              <a:spcAft>
                <a:spcPts val="0"/>
              </a:spcAft>
              <a:buClr>
                <a:schemeClr val="lt1"/>
              </a:buClr>
              <a:buSzPts val="1400"/>
              <a:buFont typeface="Arial"/>
              <a:buNone/>
            </a:pPr>
            <a:endParaRPr sz="1600" b="0" i="0" u="none" strike="noStrike" cap="none">
              <a:solidFill>
                <a:schemeClr val="lt1"/>
              </a:solidFill>
              <a:latin typeface="Calibri"/>
              <a:ea typeface="Calibri"/>
              <a:cs typeface="Calibri"/>
              <a:sym typeface="Calibri"/>
            </a:endParaRPr>
          </a:p>
          <a:p>
            <a:pPr marL="514350" marR="0" lvl="0" indent="-196850" algn="l" rtl="0">
              <a:lnSpc>
                <a:spcPct val="100000"/>
              </a:lnSpc>
              <a:spcBef>
                <a:spcPts val="0"/>
              </a:spcBef>
              <a:spcAft>
                <a:spcPts val="0"/>
              </a:spcAft>
              <a:buClr>
                <a:schemeClr val="lt1"/>
              </a:buClr>
              <a:buSzPts val="1400"/>
              <a:buFont typeface="Arial"/>
              <a:buNone/>
            </a:pPr>
            <a:endParaRPr sz="1600" b="0" i="0" u="none" strike="noStrike" cap="none">
              <a:solidFill>
                <a:schemeClr val="lt1"/>
              </a:solidFill>
              <a:latin typeface="Calibri"/>
              <a:ea typeface="Calibri"/>
              <a:cs typeface="Calibri"/>
              <a:sym typeface="Calibri"/>
            </a:endParaRPr>
          </a:p>
          <a:p>
            <a:pPr marL="514350" marR="0" lvl="0" indent="-196850" algn="l" rtl="0">
              <a:lnSpc>
                <a:spcPct val="100000"/>
              </a:lnSpc>
              <a:spcBef>
                <a:spcPts val="0"/>
              </a:spcBef>
              <a:spcAft>
                <a:spcPts val="0"/>
              </a:spcAft>
              <a:buClr>
                <a:schemeClr val="lt1"/>
              </a:buClr>
              <a:buSzPts val="1400"/>
              <a:buFont typeface="Arial"/>
              <a:buNone/>
            </a:pPr>
            <a:endParaRPr sz="1600" b="0" i="0" u="none" strike="noStrike" cap="none">
              <a:solidFill>
                <a:schemeClr val="lt1"/>
              </a:solidFill>
              <a:latin typeface="Calibri"/>
              <a:ea typeface="Calibri"/>
              <a:cs typeface="Calibri"/>
              <a:sym typeface="Calibri"/>
            </a:endParaRPr>
          </a:p>
          <a:p>
            <a:pPr marL="228600" marR="0" lvl="0" indent="0" algn="l" rtl="0">
              <a:lnSpc>
                <a:spcPct val="100000"/>
              </a:lnSpc>
              <a:spcBef>
                <a:spcPts val="0"/>
              </a:spcBef>
              <a:spcAft>
                <a:spcPts val="0"/>
              </a:spcAft>
              <a:buClr>
                <a:schemeClr val="lt1"/>
              </a:buClr>
              <a:buSzPts val="1400"/>
              <a:buFont typeface="Arial"/>
              <a:buNone/>
            </a:pPr>
            <a:r>
              <a:rPr lang="en-US" sz="1600" b="0" i="0" u="none" strike="noStrike" cap="none">
                <a:solidFill>
                  <a:schemeClr val="lt1"/>
                </a:solidFill>
                <a:latin typeface="Calibri"/>
                <a:ea typeface="Calibri"/>
                <a:cs typeface="Calibri"/>
                <a:sym typeface="Calibri"/>
              </a:rPr>
              <a:t>Works starts as soon as the project team becomes available</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2829"/>
        <p:cNvGrpSpPr/>
        <p:nvPr/>
      </p:nvGrpSpPr>
      <p:grpSpPr>
        <a:xfrm>
          <a:off x="0" y="0"/>
          <a:ext cx="0" cy="0"/>
          <a:chOff x="0" y="0"/>
          <a:chExt cx="0" cy="0"/>
        </a:xfrm>
      </p:grpSpPr>
      <p:pic>
        <p:nvPicPr>
          <p:cNvPr id="2830" name="Google Shape;2830;p41"/>
          <p:cNvPicPr preferRelativeResize="0"/>
          <p:nvPr/>
        </p:nvPicPr>
        <p:blipFill rotWithShape="1">
          <a:blip r:embed="rId3">
            <a:alphaModFix/>
          </a:blip>
          <a:srcRect t="-21354"/>
          <a:stretch/>
        </p:blipFill>
        <p:spPr>
          <a:xfrm>
            <a:off x="0" y="0"/>
            <a:ext cx="4059775" cy="6858000"/>
          </a:xfrm>
          <a:prstGeom prst="rect">
            <a:avLst/>
          </a:prstGeom>
          <a:noFill/>
          <a:ln>
            <a:noFill/>
          </a:ln>
        </p:spPr>
      </p:pic>
      <p:sp>
        <p:nvSpPr>
          <p:cNvPr id="2831" name="Google Shape;2831;p41"/>
          <p:cNvSpPr/>
          <p:nvPr/>
        </p:nvSpPr>
        <p:spPr>
          <a:xfrm>
            <a:off x="-1" y="1"/>
            <a:ext cx="4059776" cy="6857999"/>
          </a:xfrm>
          <a:prstGeom prst="rect">
            <a:avLst/>
          </a:prstGeom>
          <a:gradFill>
            <a:gsLst>
              <a:gs pos="0">
                <a:srgbClr val="062379"/>
              </a:gs>
              <a:gs pos="28000">
                <a:srgbClr val="062379"/>
              </a:gs>
              <a:gs pos="55000">
                <a:srgbClr val="0F47F2">
                  <a:alpha val="68235"/>
                </a:srgbClr>
              </a:gs>
              <a:gs pos="77000">
                <a:srgbClr val="0F47F2">
                  <a:alpha val="48235"/>
                </a:srgbClr>
              </a:gs>
              <a:gs pos="100000">
                <a:srgbClr val="43E1D3"/>
              </a:gs>
            </a:gsLst>
            <a:lin ang="42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32" name="Google Shape;2832;p41"/>
          <p:cNvSpPr txBox="1">
            <a:spLocks noGrp="1"/>
          </p:cNvSpPr>
          <p:nvPr>
            <p:ph type="title"/>
          </p:nvPr>
        </p:nvSpPr>
        <p:spPr>
          <a:xfrm>
            <a:off x="539400" y="562841"/>
            <a:ext cx="3077171" cy="886397"/>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rgbClr val="43E1D3"/>
              </a:buClr>
              <a:buSzPts val="3200"/>
              <a:buFont typeface="Franklin Gothic"/>
              <a:buNone/>
            </a:pPr>
            <a:r>
              <a:rPr lang="en-US" sz="3200">
                <a:solidFill>
                  <a:srgbClr val="43E1D3"/>
                </a:solidFill>
              </a:rPr>
              <a:t>How does a </a:t>
            </a:r>
            <a:r>
              <a:rPr lang="en-US" sz="3200" u="sng">
                <a:solidFill>
                  <a:srgbClr val="43E1D3"/>
                </a:solidFill>
              </a:rPr>
              <a:t>retainer</a:t>
            </a:r>
            <a:r>
              <a:rPr lang="en-US" sz="3200">
                <a:solidFill>
                  <a:srgbClr val="43E1D3"/>
                </a:solidFill>
              </a:rPr>
              <a:t> work</a:t>
            </a:r>
            <a:endParaRPr sz="3200" baseline="30000">
              <a:solidFill>
                <a:srgbClr val="43E1D3"/>
              </a:solidFill>
            </a:endParaRPr>
          </a:p>
        </p:txBody>
      </p:sp>
      <p:sp>
        <p:nvSpPr>
          <p:cNvPr id="2833" name="Google Shape;2833;p41"/>
          <p:cNvSpPr txBox="1"/>
          <p:nvPr/>
        </p:nvSpPr>
        <p:spPr>
          <a:xfrm>
            <a:off x="5738244" y="652480"/>
            <a:ext cx="5914355" cy="877163"/>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500"/>
              <a:buFont typeface="Arial"/>
              <a:buNone/>
            </a:pPr>
            <a:r>
              <a:rPr lang="en-US" sz="1500" b="0" i="0" u="none" strike="noStrike" cap="none">
                <a:solidFill>
                  <a:schemeClr val="dk1"/>
                </a:solidFill>
                <a:latin typeface="Calibri"/>
                <a:ea typeface="Calibri"/>
                <a:cs typeface="Calibri"/>
                <a:sym typeface="Calibri"/>
              </a:rPr>
              <a:t>Infomineo retained team acts as an </a:t>
            </a:r>
            <a:r>
              <a:rPr lang="en-US" sz="1500" b="1" i="0" u="none" strike="noStrike" cap="none">
                <a:solidFill>
                  <a:srgbClr val="000000"/>
                </a:solidFill>
                <a:latin typeface="Calibri"/>
                <a:ea typeface="Calibri"/>
                <a:cs typeface="Calibri"/>
                <a:sym typeface="Calibri"/>
              </a:rPr>
              <a:t>extension to your team</a:t>
            </a:r>
            <a:r>
              <a:rPr lang="en-US" sz="1500" b="0" i="0" u="none" strike="noStrike" cap="none">
                <a:solidFill>
                  <a:schemeClr val="dk1"/>
                </a:solidFill>
                <a:latin typeface="Calibri"/>
                <a:ea typeface="Calibri"/>
                <a:cs typeface="Calibri"/>
                <a:sym typeface="Calibri"/>
              </a:rPr>
              <a:t>, offering maximum transparency, efficiency, flexibility and knowledge sharing while minimizing the “transaction cost” (no need to negotiate a contract for every request).</a:t>
            </a:r>
            <a:endParaRPr sz="1400" b="0" i="0" u="none" strike="noStrike" cap="none">
              <a:solidFill>
                <a:srgbClr val="000000"/>
              </a:solidFill>
              <a:latin typeface="Arial"/>
              <a:ea typeface="Arial"/>
              <a:cs typeface="Arial"/>
              <a:sym typeface="Arial"/>
            </a:endParaRPr>
          </a:p>
        </p:txBody>
      </p:sp>
      <p:sp>
        <p:nvSpPr>
          <p:cNvPr id="2834" name="Google Shape;2834;p41"/>
          <p:cNvSpPr txBox="1"/>
          <p:nvPr/>
        </p:nvSpPr>
        <p:spPr>
          <a:xfrm>
            <a:off x="5736772" y="1672717"/>
            <a:ext cx="6001486" cy="2617383"/>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500"/>
              <a:buFont typeface="Arial"/>
              <a:buNone/>
            </a:pPr>
            <a:r>
              <a:rPr lang="en-US" sz="1500" b="0" i="0" u="none" strike="noStrike" cap="none">
                <a:solidFill>
                  <a:schemeClr val="dk1"/>
                </a:solidFill>
                <a:latin typeface="Calibri"/>
                <a:ea typeface="Calibri"/>
                <a:cs typeface="Calibri"/>
                <a:sym typeface="Calibri"/>
              </a:rPr>
              <a:t>Concretely, Infomineo puts in place a </a:t>
            </a:r>
            <a:r>
              <a:rPr lang="en-US" sz="1500" b="1" i="0" u="none" strike="noStrike" cap="none">
                <a:solidFill>
                  <a:srgbClr val="000000"/>
                </a:solidFill>
                <a:latin typeface="Calibri"/>
                <a:ea typeface="Calibri"/>
                <a:cs typeface="Calibri"/>
                <a:sym typeface="Calibri"/>
              </a:rPr>
              <a:t>dedicated team for each client  </a:t>
            </a:r>
            <a:r>
              <a:rPr lang="en-US" sz="1500" b="0" i="0" u="none" strike="noStrike" cap="none">
                <a:solidFill>
                  <a:schemeClr val="dk1"/>
                </a:solidFill>
                <a:latin typeface="Calibri"/>
                <a:ea typeface="Calibri"/>
                <a:cs typeface="Calibri"/>
                <a:sym typeface="Calibri"/>
              </a:rPr>
              <a:t>composed of</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500"/>
              </a:spcBef>
              <a:spcAft>
                <a:spcPts val="0"/>
              </a:spcAft>
              <a:buClr>
                <a:schemeClr val="dk2"/>
              </a:buClr>
              <a:buSzPts val="1350"/>
              <a:buFont typeface="Noto Sans Symbols"/>
              <a:buChar char="▪"/>
            </a:pPr>
            <a:r>
              <a:rPr lang="en-US" sz="1500" b="0" i="0" u="none" strike="noStrike" cap="none">
                <a:solidFill>
                  <a:schemeClr val="dk1"/>
                </a:solidFill>
                <a:latin typeface="Calibri"/>
                <a:ea typeface="Calibri"/>
                <a:cs typeface="Calibri"/>
                <a:sym typeface="Calibri"/>
              </a:rPr>
              <a:t>A Manager who is the client main point of contact - He/she handles the requests, coordinates the staffing, coaches the team members, performs QA and prepares a monthly reporting</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500"/>
              </a:spcBef>
              <a:spcAft>
                <a:spcPts val="0"/>
              </a:spcAft>
              <a:buClr>
                <a:schemeClr val="dk2"/>
              </a:buClr>
              <a:buSzPts val="1350"/>
              <a:buFont typeface="Noto Sans Symbols"/>
              <a:buChar char="▪"/>
            </a:pPr>
            <a:r>
              <a:rPr lang="en-US" sz="1500" b="0" i="0" u="none" strike="noStrike" cap="none">
                <a:solidFill>
                  <a:schemeClr val="dk1"/>
                </a:solidFill>
                <a:latin typeface="Calibri"/>
                <a:ea typeface="Calibri"/>
                <a:cs typeface="Calibri"/>
                <a:sym typeface="Calibri"/>
              </a:rPr>
              <a:t>One or several </a:t>
            </a:r>
            <a:r>
              <a:rPr lang="en-US" sz="1500" b="1" i="0" u="none" strike="noStrike" cap="none">
                <a:solidFill>
                  <a:srgbClr val="000000"/>
                </a:solidFill>
                <a:latin typeface="Calibri"/>
                <a:ea typeface="Calibri"/>
                <a:cs typeface="Calibri"/>
                <a:sym typeface="Calibri"/>
              </a:rPr>
              <a:t>analysts, translators and/or designers </a:t>
            </a:r>
            <a:r>
              <a:rPr lang="en-US" sz="1500" b="0" i="0" u="none" strike="noStrike" cap="none">
                <a:solidFill>
                  <a:schemeClr val="dk1"/>
                </a:solidFill>
                <a:latin typeface="Calibri"/>
                <a:ea typeface="Calibri"/>
                <a:cs typeface="Calibri"/>
                <a:sym typeface="Calibri"/>
              </a:rPr>
              <a:t>who deliver the hours of service you have subscribed to (by batch of 150 hours) </a:t>
            </a:r>
            <a:endParaRPr sz="1400" b="0" i="0" u="none" strike="noStrike" cap="none">
              <a:solidFill>
                <a:srgbClr val="000000"/>
              </a:solidFill>
              <a:latin typeface="Arial"/>
              <a:ea typeface="Arial"/>
              <a:cs typeface="Arial"/>
              <a:sym typeface="Arial"/>
            </a:endParaRPr>
          </a:p>
          <a:p>
            <a:pPr marL="358775" marR="0" lvl="2" indent="-179387" algn="l" rtl="0">
              <a:lnSpc>
                <a:spcPct val="95000"/>
              </a:lnSpc>
              <a:spcBef>
                <a:spcPts val="300"/>
              </a:spcBef>
              <a:spcAft>
                <a:spcPts val="0"/>
              </a:spcAft>
              <a:buClr>
                <a:schemeClr val="dk2"/>
              </a:buClr>
              <a:buSzPts val="1500"/>
              <a:buFont typeface="Calibri"/>
              <a:buChar char="−"/>
            </a:pPr>
            <a:r>
              <a:rPr lang="en-US" sz="1500" b="0" i="0" u="none" strike="noStrike" cap="none">
                <a:solidFill>
                  <a:schemeClr val="dk1"/>
                </a:solidFill>
                <a:latin typeface="Calibri"/>
                <a:ea typeface="Calibri"/>
                <a:cs typeface="Calibri"/>
                <a:sym typeface="Calibri"/>
              </a:rPr>
              <a:t>These team members have access to all the resources and capabilities of Infomineo (tools, databases, experts etc.)</a:t>
            </a:r>
            <a:endParaRPr sz="1400" b="0" i="0" u="none" strike="noStrike" cap="none">
              <a:solidFill>
                <a:srgbClr val="000000"/>
              </a:solidFill>
              <a:latin typeface="Arial"/>
              <a:ea typeface="Arial"/>
              <a:cs typeface="Arial"/>
              <a:sym typeface="Arial"/>
            </a:endParaRPr>
          </a:p>
          <a:p>
            <a:pPr marL="358775" marR="0" lvl="2" indent="-179387" algn="l" rtl="0">
              <a:lnSpc>
                <a:spcPct val="95000"/>
              </a:lnSpc>
              <a:spcBef>
                <a:spcPts val="300"/>
              </a:spcBef>
              <a:spcAft>
                <a:spcPts val="0"/>
              </a:spcAft>
              <a:buClr>
                <a:schemeClr val="dk2"/>
              </a:buClr>
              <a:buSzPts val="1500"/>
              <a:buFont typeface="Calibri"/>
              <a:buChar char="−"/>
            </a:pPr>
            <a:r>
              <a:rPr lang="en-US" sz="1500" b="0" i="0" u="none" strike="noStrike" cap="none">
                <a:solidFill>
                  <a:schemeClr val="dk1"/>
                </a:solidFill>
                <a:latin typeface="Calibri"/>
                <a:ea typeface="Calibri"/>
                <a:cs typeface="Calibri"/>
                <a:sym typeface="Calibri"/>
              </a:rPr>
              <a:t>Most of the time the clients work with the same staff, but they could be rotated as needed (e.g. for specific expertise, language skills)</a:t>
            </a:r>
            <a:endParaRPr sz="1400" b="0" i="0" u="none" strike="noStrike" cap="none">
              <a:solidFill>
                <a:srgbClr val="000000"/>
              </a:solidFill>
              <a:latin typeface="Arial"/>
              <a:ea typeface="Arial"/>
              <a:cs typeface="Arial"/>
              <a:sym typeface="Arial"/>
            </a:endParaRPr>
          </a:p>
        </p:txBody>
      </p:sp>
      <p:sp>
        <p:nvSpPr>
          <p:cNvPr id="2835" name="Google Shape;2835;p41"/>
          <p:cNvSpPr txBox="1"/>
          <p:nvPr/>
        </p:nvSpPr>
        <p:spPr>
          <a:xfrm>
            <a:off x="5738244" y="4470882"/>
            <a:ext cx="5914355" cy="438582"/>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500"/>
              <a:buFont typeface="Arial"/>
              <a:buNone/>
            </a:pPr>
            <a:r>
              <a:rPr lang="en-US" sz="1500" b="0" i="0" u="none" strike="noStrike" cap="none">
                <a:solidFill>
                  <a:schemeClr val="dk1"/>
                </a:solidFill>
                <a:latin typeface="Calibri"/>
                <a:ea typeface="Calibri"/>
                <a:cs typeface="Calibri"/>
                <a:sym typeface="Calibri"/>
              </a:rPr>
              <a:t>Beyond the retained capacity the client can subscribe to a </a:t>
            </a:r>
            <a:r>
              <a:rPr lang="en-US" sz="1500" b="1" i="0" u="none" strike="noStrike" cap="none">
                <a:solidFill>
                  <a:srgbClr val="000000"/>
                </a:solidFill>
                <a:latin typeface="Calibri"/>
                <a:ea typeface="Calibri"/>
                <a:cs typeface="Calibri"/>
                <a:sym typeface="Calibri"/>
              </a:rPr>
              <a:t>service package </a:t>
            </a:r>
            <a:r>
              <a:rPr lang="en-US" sz="1500" b="0" i="0" u="none" strike="noStrike" cap="none">
                <a:solidFill>
                  <a:schemeClr val="dk1"/>
                </a:solidFill>
                <a:latin typeface="Calibri"/>
                <a:ea typeface="Calibri"/>
                <a:cs typeface="Calibri"/>
                <a:sym typeface="Calibri"/>
              </a:rPr>
              <a:t>giving them access to all our other services (see next slide)</a:t>
            </a:r>
            <a:endParaRPr sz="1400" b="0" i="0" u="none" strike="noStrike" cap="none">
              <a:solidFill>
                <a:srgbClr val="000000"/>
              </a:solidFill>
              <a:latin typeface="Arial"/>
              <a:ea typeface="Arial"/>
              <a:cs typeface="Arial"/>
              <a:sym typeface="Arial"/>
            </a:endParaRPr>
          </a:p>
        </p:txBody>
      </p:sp>
      <p:sp>
        <p:nvSpPr>
          <p:cNvPr id="2836" name="Google Shape;2836;p41"/>
          <p:cNvSpPr txBox="1"/>
          <p:nvPr/>
        </p:nvSpPr>
        <p:spPr>
          <a:xfrm>
            <a:off x="5738244" y="5405865"/>
            <a:ext cx="5914355" cy="657872"/>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500"/>
              <a:buFont typeface="Arial"/>
              <a:buNone/>
            </a:pPr>
            <a:r>
              <a:rPr lang="en-US" sz="1500" b="0" i="0" u="none" strike="noStrike" cap="none">
                <a:solidFill>
                  <a:schemeClr val="dk1"/>
                </a:solidFill>
                <a:latin typeface="Calibri"/>
                <a:ea typeface="Calibri"/>
                <a:cs typeface="Calibri"/>
                <a:sym typeface="Calibri"/>
              </a:rPr>
              <a:t>The retainers uses a one-year contract with ramp-up, ramp- down and exit clauses.</a:t>
            </a:r>
            <a:endParaRPr sz="1400" b="0" i="0" u="none" strike="noStrike" cap="none">
              <a:solidFill>
                <a:srgbClr val="000000"/>
              </a:solidFill>
              <a:latin typeface="Arial"/>
              <a:ea typeface="Arial"/>
              <a:cs typeface="Arial"/>
              <a:sym typeface="Arial"/>
            </a:endParaRPr>
          </a:p>
          <a:p>
            <a:pPr marL="0" marR="0" lvl="0" indent="0" algn="l" rtl="0">
              <a:lnSpc>
                <a:spcPct val="95000"/>
              </a:lnSpc>
              <a:spcBef>
                <a:spcPts val="0"/>
              </a:spcBef>
              <a:spcAft>
                <a:spcPts val="0"/>
              </a:spcAft>
              <a:buClr>
                <a:schemeClr val="dk1"/>
              </a:buClr>
              <a:buSzPts val="1500"/>
              <a:buFont typeface="Arial"/>
              <a:buNone/>
            </a:pPr>
            <a:r>
              <a:rPr lang="en-US" sz="1500" b="0" i="0" u="none" strike="noStrike" cap="none">
                <a:solidFill>
                  <a:schemeClr val="dk1"/>
                </a:solidFill>
                <a:latin typeface="Calibri"/>
                <a:ea typeface="Calibri"/>
                <a:cs typeface="Calibri"/>
                <a:sym typeface="Calibri"/>
              </a:rPr>
              <a:t>The service is billed at the end of each month</a:t>
            </a:r>
            <a:endParaRPr sz="1400" b="0" i="0" u="none" strike="noStrike" cap="none">
              <a:solidFill>
                <a:srgbClr val="000000"/>
              </a:solidFill>
              <a:latin typeface="Arial"/>
              <a:ea typeface="Arial"/>
              <a:cs typeface="Arial"/>
              <a:sym typeface="Arial"/>
            </a:endParaRPr>
          </a:p>
        </p:txBody>
      </p:sp>
      <p:cxnSp>
        <p:nvCxnSpPr>
          <p:cNvPr id="2837" name="Google Shape;2837;p41"/>
          <p:cNvCxnSpPr/>
          <p:nvPr/>
        </p:nvCxnSpPr>
        <p:spPr>
          <a:xfrm>
            <a:off x="539400" y="484910"/>
            <a:ext cx="540000" cy="0"/>
          </a:xfrm>
          <a:prstGeom prst="straightConnector1">
            <a:avLst/>
          </a:prstGeom>
          <a:noFill/>
          <a:ln w="38100" cap="flat" cmpd="sng">
            <a:solidFill>
              <a:srgbClr val="43E1D3"/>
            </a:solidFill>
            <a:prstDash val="solid"/>
            <a:miter lim="800000"/>
            <a:headEnd type="none" w="sm" len="sm"/>
            <a:tailEnd type="none" w="sm" len="sm"/>
          </a:ln>
        </p:spPr>
      </p:cxnSp>
      <p:sp>
        <p:nvSpPr>
          <p:cNvPr id="2838" name="Google Shape;2838;p41"/>
          <p:cNvSpPr/>
          <p:nvPr/>
        </p:nvSpPr>
        <p:spPr>
          <a:xfrm>
            <a:off x="4626168" y="666781"/>
            <a:ext cx="707832" cy="707832"/>
          </a:xfrm>
          <a:prstGeom prst="ellipse">
            <a:avLst/>
          </a:prstGeom>
          <a:solidFill>
            <a:schemeClr val="lt1"/>
          </a:solidFill>
          <a:ln w="12700" cap="flat" cmpd="sng">
            <a:solidFill>
              <a:srgbClr val="00B0F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cxnSp>
        <p:nvCxnSpPr>
          <p:cNvPr id="2839" name="Google Shape;2839;p41"/>
          <p:cNvCxnSpPr/>
          <p:nvPr/>
        </p:nvCxnSpPr>
        <p:spPr>
          <a:xfrm>
            <a:off x="5700702" y="1601180"/>
            <a:ext cx="5914355" cy="0"/>
          </a:xfrm>
          <a:prstGeom prst="straightConnector1">
            <a:avLst/>
          </a:prstGeom>
          <a:noFill/>
          <a:ln w="9525" cap="flat" cmpd="sng">
            <a:solidFill>
              <a:srgbClr val="BFBFBF"/>
            </a:solidFill>
            <a:prstDash val="dash"/>
            <a:miter lim="800000"/>
            <a:headEnd type="none" w="sm" len="sm"/>
            <a:tailEnd type="none" w="sm" len="sm"/>
          </a:ln>
        </p:spPr>
      </p:cxnSp>
      <p:cxnSp>
        <p:nvCxnSpPr>
          <p:cNvPr id="2840" name="Google Shape;2840;p41"/>
          <p:cNvCxnSpPr/>
          <p:nvPr/>
        </p:nvCxnSpPr>
        <p:spPr>
          <a:xfrm>
            <a:off x="5700702" y="4361637"/>
            <a:ext cx="5914355" cy="0"/>
          </a:xfrm>
          <a:prstGeom prst="straightConnector1">
            <a:avLst/>
          </a:prstGeom>
          <a:noFill/>
          <a:ln w="9525" cap="flat" cmpd="sng">
            <a:solidFill>
              <a:srgbClr val="BFBFBF"/>
            </a:solidFill>
            <a:prstDash val="dash"/>
            <a:miter lim="800000"/>
            <a:headEnd type="none" w="sm" len="sm"/>
            <a:tailEnd type="none" w="sm" len="sm"/>
          </a:ln>
        </p:spPr>
      </p:cxnSp>
      <p:cxnSp>
        <p:nvCxnSpPr>
          <p:cNvPr id="2841" name="Google Shape;2841;p41"/>
          <p:cNvCxnSpPr/>
          <p:nvPr/>
        </p:nvCxnSpPr>
        <p:spPr>
          <a:xfrm>
            <a:off x="5700702" y="5165057"/>
            <a:ext cx="5914355" cy="0"/>
          </a:xfrm>
          <a:prstGeom prst="straightConnector1">
            <a:avLst/>
          </a:prstGeom>
          <a:noFill/>
          <a:ln w="9525" cap="flat" cmpd="sng">
            <a:solidFill>
              <a:srgbClr val="BFBFBF"/>
            </a:solidFill>
            <a:prstDash val="dash"/>
            <a:miter lim="800000"/>
            <a:headEnd type="none" w="sm" len="sm"/>
            <a:tailEnd type="none" w="sm" len="sm"/>
          </a:ln>
        </p:spPr>
      </p:cxnSp>
      <p:sp>
        <p:nvSpPr>
          <p:cNvPr id="2842" name="Google Shape;2842;p41"/>
          <p:cNvSpPr/>
          <p:nvPr/>
        </p:nvSpPr>
        <p:spPr>
          <a:xfrm>
            <a:off x="4626168" y="1690954"/>
            <a:ext cx="707832" cy="707832"/>
          </a:xfrm>
          <a:prstGeom prst="ellipse">
            <a:avLst/>
          </a:prstGeom>
          <a:solidFill>
            <a:schemeClr val="lt1"/>
          </a:solidFill>
          <a:ln w="12700" cap="flat" cmpd="sng">
            <a:solidFill>
              <a:srgbClr val="00B0F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43" name="Google Shape;2843;p41"/>
          <p:cNvSpPr/>
          <p:nvPr/>
        </p:nvSpPr>
        <p:spPr>
          <a:xfrm>
            <a:off x="4626168" y="4414142"/>
            <a:ext cx="707832" cy="707832"/>
          </a:xfrm>
          <a:prstGeom prst="ellipse">
            <a:avLst/>
          </a:prstGeom>
          <a:solidFill>
            <a:schemeClr val="lt1"/>
          </a:solidFill>
          <a:ln w="12700" cap="flat" cmpd="sng">
            <a:solidFill>
              <a:srgbClr val="00B0F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44" name="Google Shape;2844;p41"/>
          <p:cNvSpPr/>
          <p:nvPr/>
        </p:nvSpPr>
        <p:spPr>
          <a:xfrm>
            <a:off x="4626168" y="5269249"/>
            <a:ext cx="707832" cy="707832"/>
          </a:xfrm>
          <a:prstGeom prst="ellipse">
            <a:avLst/>
          </a:prstGeom>
          <a:solidFill>
            <a:schemeClr val="lt1"/>
          </a:solidFill>
          <a:ln w="12700" cap="flat" cmpd="sng">
            <a:solidFill>
              <a:srgbClr val="00B0F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2845" name="Google Shape;2845;p41"/>
          <p:cNvPicPr preferRelativeResize="0"/>
          <p:nvPr/>
        </p:nvPicPr>
        <p:blipFill rotWithShape="1">
          <a:blip r:embed="rId4">
            <a:alphaModFix/>
          </a:blip>
          <a:srcRect/>
          <a:stretch/>
        </p:blipFill>
        <p:spPr>
          <a:xfrm>
            <a:off x="4719392" y="1783507"/>
            <a:ext cx="522726" cy="522726"/>
          </a:xfrm>
          <a:prstGeom prst="rect">
            <a:avLst/>
          </a:prstGeom>
          <a:noFill/>
          <a:ln>
            <a:noFill/>
          </a:ln>
        </p:spPr>
      </p:pic>
      <p:pic>
        <p:nvPicPr>
          <p:cNvPr id="2846" name="Google Shape;2846;p41"/>
          <p:cNvPicPr preferRelativeResize="0"/>
          <p:nvPr/>
        </p:nvPicPr>
        <p:blipFill rotWithShape="1">
          <a:blip r:embed="rId5">
            <a:alphaModFix/>
          </a:blip>
          <a:srcRect/>
          <a:stretch/>
        </p:blipFill>
        <p:spPr>
          <a:xfrm>
            <a:off x="4794333" y="787901"/>
            <a:ext cx="387032" cy="387032"/>
          </a:xfrm>
          <a:prstGeom prst="rect">
            <a:avLst/>
          </a:prstGeom>
          <a:noFill/>
          <a:ln>
            <a:noFill/>
          </a:ln>
        </p:spPr>
      </p:pic>
      <p:pic>
        <p:nvPicPr>
          <p:cNvPr id="2847" name="Google Shape;2847;p41"/>
          <p:cNvPicPr preferRelativeResize="0"/>
          <p:nvPr/>
        </p:nvPicPr>
        <p:blipFill rotWithShape="1">
          <a:blip r:embed="rId6">
            <a:alphaModFix/>
          </a:blip>
          <a:srcRect/>
          <a:stretch/>
        </p:blipFill>
        <p:spPr>
          <a:xfrm>
            <a:off x="4820381" y="5441340"/>
            <a:ext cx="374424" cy="374424"/>
          </a:xfrm>
          <a:prstGeom prst="rect">
            <a:avLst/>
          </a:prstGeom>
          <a:noFill/>
          <a:ln>
            <a:noFill/>
          </a:ln>
        </p:spPr>
      </p:pic>
      <p:pic>
        <p:nvPicPr>
          <p:cNvPr id="2848" name="Google Shape;2848;p41"/>
          <p:cNvPicPr preferRelativeResize="0"/>
          <p:nvPr/>
        </p:nvPicPr>
        <p:blipFill rotWithShape="1">
          <a:blip r:embed="rId7">
            <a:alphaModFix/>
          </a:blip>
          <a:srcRect/>
          <a:stretch/>
        </p:blipFill>
        <p:spPr>
          <a:xfrm>
            <a:off x="4760885" y="4529826"/>
            <a:ext cx="402010" cy="402008"/>
          </a:xfrm>
          <a:prstGeom prst="rect">
            <a:avLst/>
          </a:prstGeom>
          <a:noFill/>
          <a:ln>
            <a:noFill/>
          </a:ln>
        </p:spPr>
      </p:pic>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2852"/>
        <p:cNvGrpSpPr/>
        <p:nvPr/>
      </p:nvGrpSpPr>
      <p:grpSpPr>
        <a:xfrm>
          <a:off x="0" y="0"/>
          <a:ext cx="0" cy="0"/>
          <a:chOff x="0" y="0"/>
          <a:chExt cx="0" cy="0"/>
        </a:xfrm>
      </p:grpSpPr>
      <p:pic>
        <p:nvPicPr>
          <p:cNvPr id="2853" name="Google Shape;2853;p134"/>
          <p:cNvPicPr preferRelativeResize="0"/>
          <p:nvPr/>
        </p:nvPicPr>
        <p:blipFill rotWithShape="1">
          <a:blip r:embed="rId3">
            <a:alphaModFix/>
          </a:blip>
          <a:srcRect t="-21354"/>
          <a:stretch/>
        </p:blipFill>
        <p:spPr>
          <a:xfrm>
            <a:off x="0" y="0"/>
            <a:ext cx="4059775" cy="6858000"/>
          </a:xfrm>
          <a:prstGeom prst="rect">
            <a:avLst/>
          </a:prstGeom>
          <a:noFill/>
          <a:ln>
            <a:noFill/>
          </a:ln>
        </p:spPr>
      </p:pic>
      <p:sp>
        <p:nvSpPr>
          <p:cNvPr id="2854" name="Google Shape;2854;p134"/>
          <p:cNvSpPr/>
          <p:nvPr/>
        </p:nvSpPr>
        <p:spPr>
          <a:xfrm>
            <a:off x="-1" y="1"/>
            <a:ext cx="4059776" cy="6857999"/>
          </a:xfrm>
          <a:prstGeom prst="rect">
            <a:avLst/>
          </a:prstGeom>
          <a:gradFill>
            <a:gsLst>
              <a:gs pos="0">
                <a:srgbClr val="062379"/>
              </a:gs>
              <a:gs pos="28000">
                <a:srgbClr val="062379"/>
              </a:gs>
              <a:gs pos="55000">
                <a:srgbClr val="0F47F2">
                  <a:alpha val="68235"/>
                </a:srgbClr>
              </a:gs>
              <a:gs pos="77000">
                <a:srgbClr val="0F47F2">
                  <a:alpha val="48235"/>
                </a:srgbClr>
              </a:gs>
              <a:gs pos="100000">
                <a:srgbClr val="43E1D3"/>
              </a:gs>
            </a:gsLst>
            <a:lin ang="42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55" name="Google Shape;2855;p134"/>
          <p:cNvSpPr txBox="1">
            <a:spLocks noGrp="1"/>
          </p:cNvSpPr>
          <p:nvPr>
            <p:ph type="title"/>
          </p:nvPr>
        </p:nvSpPr>
        <p:spPr>
          <a:xfrm>
            <a:off x="539400" y="562841"/>
            <a:ext cx="3077171" cy="13295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rgbClr val="43E1D3"/>
              </a:buClr>
              <a:buSzPts val="3200"/>
              <a:buFont typeface="Franklin Gothic"/>
              <a:buNone/>
            </a:pPr>
            <a:r>
              <a:rPr lang="en-US" sz="3200">
                <a:solidFill>
                  <a:srgbClr val="43E1D3"/>
                </a:solidFill>
              </a:rPr>
              <a:t>How does a </a:t>
            </a:r>
            <a:r>
              <a:rPr lang="en-US" sz="3200" u="sng">
                <a:solidFill>
                  <a:srgbClr val="43E1D3"/>
                </a:solidFill>
              </a:rPr>
              <a:t>service package </a:t>
            </a:r>
            <a:r>
              <a:rPr lang="en-US" sz="3200">
                <a:solidFill>
                  <a:srgbClr val="43E1D3"/>
                </a:solidFill>
              </a:rPr>
              <a:t>work</a:t>
            </a:r>
            <a:endParaRPr sz="3200" baseline="30000">
              <a:solidFill>
                <a:srgbClr val="43E1D3"/>
              </a:solidFill>
            </a:endParaRPr>
          </a:p>
        </p:txBody>
      </p:sp>
      <p:sp>
        <p:nvSpPr>
          <p:cNvPr id="2856" name="Google Shape;2856;p134"/>
          <p:cNvSpPr txBox="1"/>
          <p:nvPr/>
        </p:nvSpPr>
        <p:spPr>
          <a:xfrm>
            <a:off x="5738244" y="652480"/>
            <a:ext cx="5914355" cy="877163"/>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500"/>
              <a:buFont typeface="Arial"/>
              <a:buNone/>
            </a:pPr>
            <a:r>
              <a:rPr lang="en-US" sz="1500" b="0" i="0" u="none" strike="noStrike" cap="none">
                <a:solidFill>
                  <a:schemeClr val="dk1"/>
                </a:solidFill>
                <a:latin typeface="Calibri"/>
                <a:ea typeface="Calibri"/>
                <a:cs typeface="Calibri"/>
                <a:sym typeface="Calibri"/>
              </a:rPr>
              <a:t>Client subscribes to a fixed amount </a:t>
            </a:r>
            <a:r>
              <a:rPr lang="en-US" sz="1500" b="1" i="0" u="none" strike="noStrike" cap="none">
                <a:solidFill>
                  <a:schemeClr val="dk1"/>
                </a:solidFill>
                <a:latin typeface="Calibri"/>
                <a:ea typeface="Calibri"/>
                <a:cs typeface="Calibri"/>
                <a:sym typeface="Calibri"/>
              </a:rPr>
              <a:t>service package </a:t>
            </a:r>
            <a:r>
              <a:rPr lang="en-US" sz="1500" b="0" i="0" u="none" strike="noStrike" cap="none">
                <a:solidFill>
                  <a:schemeClr val="dk1"/>
                </a:solidFill>
                <a:latin typeface="Calibri"/>
                <a:ea typeface="Calibri"/>
                <a:cs typeface="Calibri"/>
                <a:sym typeface="Calibri"/>
              </a:rPr>
              <a:t>which gives access to </a:t>
            </a:r>
            <a:r>
              <a:rPr lang="en-US" sz="1500" b="1" i="0" u="none" strike="noStrike" cap="none">
                <a:solidFill>
                  <a:schemeClr val="dk1"/>
                </a:solidFill>
                <a:latin typeface="Calibri"/>
                <a:ea typeface="Calibri"/>
                <a:cs typeface="Calibri"/>
                <a:sym typeface="Calibri"/>
              </a:rPr>
              <a:t>service points. </a:t>
            </a:r>
            <a:r>
              <a:rPr lang="en-US" sz="1500" b="0" i="0" u="none" strike="noStrike" cap="none">
                <a:solidFill>
                  <a:schemeClr val="dk1"/>
                </a:solidFill>
                <a:latin typeface="Calibri"/>
                <a:ea typeface="Calibri"/>
                <a:cs typeface="Calibri"/>
                <a:sym typeface="Calibri"/>
              </a:rPr>
              <a:t>Each Infomineo service (research, translation, design, expert network) costs a certain number of points (per hour, per word translated or per interview). Points are deducted from the package as per usage.</a:t>
            </a:r>
            <a:endParaRPr sz="1400" b="1" i="0" u="none" strike="noStrike" cap="none">
              <a:solidFill>
                <a:srgbClr val="000000"/>
              </a:solidFill>
              <a:latin typeface="Arial"/>
              <a:ea typeface="Arial"/>
              <a:cs typeface="Arial"/>
              <a:sym typeface="Arial"/>
            </a:endParaRPr>
          </a:p>
        </p:txBody>
      </p:sp>
      <p:sp>
        <p:nvSpPr>
          <p:cNvPr id="2857" name="Google Shape;2857;p134"/>
          <p:cNvSpPr txBox="1"/>
          <p:nvPr/>
        </p:nvSpPr>
        <p:spPr>
          <a:xfrm>
            <a:off x="5736772" y="1672717"/>
            <a:ext cx="6001486" cy="3065711"/>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500"/>
              <a:buFont typeface="Arial"/>
              <a:buNone/>
            </a:pPr>
            <a:r>
              <a:rPr lang="en-US" sz="1500" b="0" i="0" u="none" strike="noStrike" cap="none">
                <a:solidFill>
                  <a:schemeClr val="dk1"/>
                </a:solidFill>
                <a:latin typeface="Calibri"/>
                <a:ea typeface="Calibri"/>
                <a:cs typeface="Calibri"/>
                <a:sym typeface="Calibri"/>
              </a:rPr>
              <a:t>Concretely, Infomineo staffs a </a:t>
            </a:r>
            <a:r>
              <a:rPr lang="en-US" sz="1500" b="1" i="0" u="none" strike="noStrike" cap="none">
                <a:solidFill>
                  <a:srgbClr val="000000"/>
                </a:solidFill>
                <a:latin typeface="Calibri"/>
                <a:ea typeface="Calibri"/>
                <a:cs typeface="Calibri"/>
                <a:sym typeface="Calibri"/>
              </a:rPr>
              <a:t>dedicated manager for each client  </a:t>
            </a:r>
            <a:r>
              <a:rPr lang="en-US" sz="1500" b="0" i="0" u="none" strike="noStrike" cap="none">
                <a:solidFill>
                  <a:schemeClr val="dk1"/>
                </a:solidFill>
                <a:latin typeface="Calibri"/>
                <a:ea typeface="Calibri"/>
                <a:cs typeface="Calibri"/>
                <a:sym typeface="Calibri"/>
              </a:rPr>
              <a:t>as single point of contact</a:t>
            </a:r>
            <a:endParaRPr sz="1400" b="0" i="0" u="none" strike="noStrike" cap="none">
              <a:solidFill>
                <a:srgbClr val="000000"/>
              </a:solidFill>
              <a:latin typeface="Arial"/>
              <a:ea typeface="Arial"/>
              <a:cs typeface="Arial"/>
              <a:sym typeface="Arial"/>
            </a:endParaRPr>
          </a:p>
          <a:p>
            <a:pPr marL="0" marR="0" lvl="0" indent="0" algn="l" rtl="0">
              <a:lnSpc>
                <a:spcPct val="95000"/>
              </a:lnSpc>
              <a:spcBef>
                <a:spcPts val="0"/>
              </a:spcBef>
              <a:spcAft>
                <a:spcPts val="0"/>
              </a:spcAft>
              <a:buClr>
                <a:schemeClr val="dk1"/>
              </a:buClr>
              <a:buSzPts val="1500"/>
              <a:buFont typeface="Arial"/>
              <a:buNone/>
            </a:pPr>
            <a:endParaRPr sz="1400" b="0" i="0" u="none" strike="noStrike" cap="none">
              <a:solidFill>
                <a:srgbClr val="000000"/>
              </a:solidFill>
              <a:latin typeface="Arial"/>
              <a:ea typeface="Arial"/>
              <a:cs typeface="Arial"/>
              <a:sym typeface="Arial"/>
            </a:endParaRPr>
          </a:p>
          <a:p>
            <a:pPr marL="0" marR="0" lvl="1" indent="0" algn="l" rtl="0">
              <a:lnSpc>
                <a:spcPct val="95000"/>
              </a:lnSpc>
              <a:spcBef>
                <a:spcPts val="500"/>
              </a:spcBef>
              <a:spcAft>
                <a:spcPts val="0"/>
              </a:spcAft>
              <a:buClr>
                <a:srgbClr val="000000"/>
              </a:buClr>
              <a:buSzPts val="1500"/>
              <a:buFont typeface="Arial"/>
              <a:buNone/>
            </a:pPr>
            <a:r>
              <a:rPr lang="en-US" sz="1500" b="0" i="0" u="none" strike="noStrike" cap="none">
                <a:solidFill>
                  <a:schemeClr val="dk1"/>
                </a:solidFill>
                <a:latin typeface="Calibri"/>
                <a:ea typeface="Calibri"/>
                <a:cs typeface="Calibri"/>
                <a:sym typeface="Calibri"/>
              </a:rPr>
              <a:t>The manager</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500"/>
              </a:spcBef>
              <a:spcAft>
                <a:spcPts val="0"/>
              </a:spcAft>
              <a:buClr>
                <a:schemeClr val="dk2"/>
              </a:buClr>
              <a:buSzPts val="1350"/>
              <a:buFont typeface="Noto Sans Symbols"/>
              <a:buChar char="▪"/>
            </a:pPr>
            <a:r>
              <a:rPr lang="en-US" sz="1500" b="0" i="0" u="none" strike="noStrike" cap="none">
                <a:solidFill>
                  <a:schemeClr val="dk1"/>
                </a:solidFill>
                <a:latin typeface="Calibri"/>
                <a:ea typeface="Calibri"/>
                <a:cs typeface="Calibri"/>
                <a:sym typeface="Calibri"/>
              </a:rPr>
              <a:t>Receives the requests and validates the point expense with the client</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500"/>
              </a:spcBef>
              <a:spcAft>
                <a:spcPts val="0"/>
              </a:spcAft>
              <a:buClr>
                <a:schemeClr val="dk2"/>
              </a:buClr>
              <a:buSzPts val="1350"/>
              <a:buFont typeface="Noto Sans Symbols"/>
              <a:buChar char="▪"/>
            </a:pPr>
            <a:r>
              <a:rPr lang="en-US" sz="1500" b="0" i="0" u="none" strike="noStrike" cap="none">
                <a:solidFill>
                  <a:schemeClr val="dk1"/>
                </a:solidFill>
                <a:latin typeface="Calibri"/>
                <a:ea typeface="Calibri"/>
                <a:cs typeface="Calibri"/>
                <a:sym typeface="Calibri"/>
              </a:rPr>
              <a:t>Directs the requests to the right team at Infomineo</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500"/>
              </a:spcBef>
              <a:spcAft>
                <a:spcPts val="0"/>
              </a:spcAft>
              <a:buClr>
                <a:schemeClr val="dk2"/>
              </a:buClr>
              <a:buSzPts val="1350"/>
              <a:buFont typeface="Noto Sans Symbols"/>
              <a:buChar char="▪"/>
            </a:pPr>
            <a:r>
              <a:rPr lang="en-US" sz="1500" b="0" i="0" u="none" strike="noStrike" cap="none">
                <a:solidFill>
                  <a:schemeClr val="dk1"/>
                </a:solidFill>
                <a:latin typeface="Calibri"/>
                <a:ea typeface="Calibri"/>
                <a:cs typeface="Calibri"/>
                <a:sym typeface="Calibri"/>
              </a:rPr>
              <a:t>Coordinates communication, performs QA and sends the deliverable</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500"/>
              </a:spcBef>
              <a:spcAft>
                <a:spcPts val="0"/>
              </a:spcAft>
              <a:buClr>
                <a:schemeClr val="dk2"/>
              </a:buClr>
              <a:buSzPts val="1350"/>
              <a:buFont typeface="Noto Sans Symbols"/>
              <a:buChar char="▪"/>
            </a:pPr>
            <a:r>
              <a:rPr lang="en-US" sz="1500" b="0" i="0" u="none" strike="noStrike" cap="none">
                <a:solidFill>
                  <a:schemeClr val="dk1"/>
                </a:solidFill>
                <a:latin typeface="Calibri"/>
                <a:ea typeface="Calibri"/>
                <a:cs typeface="Calibri"/>
                <a:sym typeface="Calibri"/>
              </a:rPr>
              <a:t>Updates the client on a weekly/monthly basis reg. the points used and the remaining balance</a:t>
            </a:r>
            <a:endParaRPr sz="1400" b="0" i="0" u="none" strike="noStrike" cap="none">
              <a:solidFill>
                <a:srgbClr val="000000"/>
              </a:solidFill>
              <a:latin typeface="Arial"/>
              <a:ea typeface="Arial"/>
              <a:cs typeface="Arial"/>
              <a:sym typeface="Arial"/>
            </a:endParaRPr>
          </a:p>
          <a:p>
            <a:pPr marL="0" marR="0" lvl="1" indent="0" algn="l" rtl="0">
              <a:lnSpc>
                <a:spcPct val="95000"/>
              </a:lnSpc>
              <a:spcBef>
                <a:spcPts val="500"/>
              </a:spcBef>
              <a:spcAft>
                <a:spcPts val="0"/>
              </a:spcAft>
              <a:buClr>
                <a:srgbClr val="000000"/>
              </a:buClr>
              <a:buSzPts val="1500"/>
              <a:buFont typeface="Arial"/>
              <a:buNone/>
            </a:pPr>
            <a:endParaRPr sz="1500" b="0" i="0" u="none" strike="noStrike" cap="none">
              <a:solidFill>
                <a:schemeClr val="dk1"/>
              </a:solidFill>
              <a:latin typeface="Calibri"/>
              <a:ea typeface="Calibri"/>
              <a:cs typeface="Calibri"/>
              <a:sym typeface="Calibri"/>
            </a:endParaRPr>
          </a:p>
          <a:p>
            <a:pPr marL="0" marR="0" lvl="1" indent="0" algn="l" rtl="0">
              <a:lnSpc>
                <a:spcPct val="95000"/>
              </a:lnSpc>
              <a:spcBef>
                <a:spcPts val="500"/>
              </a:spcBef>
              <a:spcAft>
                <a:spcPts val="0"/>
              </a:spcAft>
              <a:buClr>
                <a:srgbClr val="000000"/>
              </a:buClr>
              <a:buSzPts val="1500"/>
              <a:buFont typeface="Arial"/>
              <a:buNone/>
            </a:pPr>
            <a:r>
              <a:rPr lang="en-US" sz="1500" b="0" i="0" u="none" strike="noStrike" cap="none">
                <a:solidFill>
                  <a:schemeClr val="dk1"/>
                </a:solidFill>
                <a:latin typeface="Calibri"/>
                <a:ea typeface="Calibri"/>
                <a:cs typeface="Calibri"/>
                <a:sym typeface="Calibri"/>
              </a:rPr>
              <a:t>Capacity offered within a predefined timeline with SLA varying with the package size</a:t>
            </a:r>
            <a:endParaRPr sz="1400" b="0" i="0" u="none" strike="noStrike" cap="none">
              <a:solidFill>
                <a:srgbClr val="000000"/>
              </a:solidFill>
              <a:latin typeface="Arial"/>
              <a:ea typeface="Arial"/>
              <a:cs typeface="Arial"/>
              <a:sym typeface="Arial"/>
            </a:endParaRPr>
          </a:p>
        </p:txBody>
      </p:sp>
      <p:sp>
        <p:nvSpPr>
          <p:cNvPr id="2858" name="Google Shape;2858;p134"/>
          <p:cNvSpPr txBox="1"/>
          <p:nvPr/>
        </p:nvSpPr>
        <p:spPr>
          <a:xfrm>
            <a:off x="5738244" y="4869866"/>
            <a:ext cx="5914355" cy="657872"/>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500"/>
              <a:buFont typeface="Arial"/>
              <a:buNone/>
            </a:pPr>
            <a:r>
              <a:rPr lang="en-US" sz="1500" b="0" i="0" u="none" strike="noStrike" cap="none">
                <a:solidFill>
                  <a:schemeClr val="dk1"/>
                </a:solidFill>
                <a:latin typeface="Calibri"/>
                <a:ea typeface="Calibri"/>
                <a:cs typeface="Calibri"/>
                <a:sym typeface="Calibri"/>
              </a:rPr>
              <a:t>Once the client uses one of Infomineo service on a regular basis the manager might propose to start a retainer to save costs and increase the SLA</a:t>
            </a:r>
            <a:endParaRPr sz="1400" b="0" i="0" u="none" strike="noStrike" cap="none">
              <a:solidFill>
                <a:srgbClr val="000000"/>
              </a:solidFill>
              <a:latin typeface="Arial"/>
              <a:ea typeface="Arial"/>
              <a:cs typeface="Arial"/>
              <a:sym typeface="Arial"/>
            </a:endParaRPr>
          </a:p>
        </p:txBody>
      </p:sp>
      <p:sp>
        <p:nvSpPr>
          <p:cNvPr id="2859" name="Google Shape;2859;p134"/>
          <p:cNvSpPr txBox="1"/>
          <p:nvPr/>
        </p:nvSpPr>
        <p:spPr>
          <a:xfrm>
            <a:off x="5738244" y="5842556"/>
            <a:ext cx="5914355" cy="438582"/>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500"/>
              <a:buFont typeface="Arial"/>
              <a:buNone/>
            </a:pPr>
            <a:r>
              <a:rPr lang="en-US" sz="1500" b="0" i="0" u="none" strike="noStrike" cap="none">
                <a:solidFill>
                  <a:schemeClr val="dk1"/>
                </a:solidFill>
                <a:latin typeface="Calibri"/>
                <a:ea typeface="Calibri"/>
                <a:cs typeface="Calibri"/>
                <a:sym typeface="Calibri"/>
              </a:rPr>
              <a:t>The points expire after a certain duration (depending on package size)</a:t>
            </a:r>
            <a:endParaRPr sz="1400" b="0" i="0" u="none" strike="noStrike" cap="none">
              <a:solidFill>
                <a:srgbClr val="000000"/>
              </a:solidFill>
              <a:latin typeface="Arial"/>
              <a:ea typeface="Arial"/>
              <a:cs typeface="Arial"/>
              <a:sym typeface="Arial"/>
            </a:endParaRPr>
          </a:p>
          <a:p>
            <a:pPr marL="0" marR="0" lvl="0" indent="0" algn="l" rtl="0">
              <a:lnSpc>
                <a:spcPct val="95000"/>
              </a:lnSpc>
              <a:spcBef>
                <a:spcPts val="0"/>
              </a:spcBef>
              <a:spcAft>
                <a:spcPts val="0"/>
              </a:spcAft>
              <a:buClr>
                <a:schemeClr val="dk1"/>
              </a:buClr>
              <a:buSzPts val="1500"/>
              <a:buFont typeface="Arial"/>
              <a:buNone/>
            </a:pPr>
            <a:r>
              <a:rPr lang="en-US" sz="1500" b="0" i="0" u="none" strike="noStrike" cap="none">
                <a:solidFill>
                  <a:schemeClr val="dk1"/>
                </a:solidFill>
                <a:latin typeface="Calibri"/>
                <a:ea typeface="Calibri"/>
                <a:cs typeface="Calibri"/>
                <a:sym typeface="Calibri"/>
              </a:rPr>
              <a:t>The package is billed upfront</a:t>
            </a:r>
            <a:endParaRPr sz="1400" b="0" i="0" u="none" strike="noStrike" cap="none">
              <a:solidFill>
                <a:srgbClr val="000000"/>
              </a:solidFill>
              <a:latin typeface="Arial"/>
              <a:ea typeface="Arial"/>
              <a:cs typeface="Arial"/>
              <a:sym typeface="Arial"/>
            </a:endParaRPr>
          </a:p>
        </p:txBody>
      </p:sp>
      <p:cxnSp>
        <p:nvCxnSpPr>
          <p:cNvPr id="2860" name="Google Shape;2860;p134"/>
          <p:cNvCxnSpPr/>
          <p:nvPr/>
        </p:nvCxnSpPr>
        <p:spPr>
          <a:xfrm>
            <a:off x="539400" y="484910"/>
            <a:ext cx="540000" cy="0"/>
          </a:xfrm>
          <a:prstGeom prst="straightConnector1">
            <a:avLst/>
          </a:prstGeom>
          <a:noFill/>
          <a:ln w="38100" cap="flat" cmpd="sng">
            <a:solidFill>
              <a:srgbClr val="43E1D3"/>
            </a:solidFill>
            <a:prstDash val="solid"/>
            <a:miter lim="800000"/>
            <a:headEnd type="none" w="sm" len="sm"/>
            <a:tailEnd type="none" w="sm" len="sm"/>
          </a:ln>
        </p:spPr>
      </p:cxnSp>
      <p:sp>
        <p:nvSpPr>
          <p:cNvPr id="2861" name="Google Shape;2861;p134"/>
          <p:cNvSpPr/>
          <p:nvPr/>
        </p:nvSpPr>
        <p:spPr>
          <a:xfrm>
            <a:off x="4626168" y="666781"/>
            <a:ext cx="707832" cy="707832"/>
          </a:xfrm>
          <a:prstGeom prst="ellipse">
            <a:avLst/>
          </a:prstGeom>
          <a:solidFill>
            <a:schemeClr val="lt1"/>
          </a:solidFill>
          <a:ln w="12700" cap="flat" cmpd="sng">
            <a:solidFill>
              <a:srgbClr val="00B0F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cxnSp>
        <p:nvCxnSpPr>
          <p:cNvPr id="2862" name="Google Shape;2862;p134"/>
          <p:cNvCxnSpPr/>
          <p:nvPr/>
        </p:nvCxnSpPr>
        <p:spPr>
          <a:xfrm>
            <a:off x="5700702" y="1601180"/>
            <a:ext cx="5914355" cy="0"/>
          </a:xfrm>
          <a:prstGeom prst="straightConnector1">
            <a:avLst/>
          </a:prstGeom>
          <a:noFill/>
          <a:ln w="9525" cap="flat" cmpd="sng">
            <a:solidFill>
              <a:srgbClr val="BFBFBF"/>
            </a:solidFill>
            <a:prstDash val="dash"/>
            <a:miter lim="800000"/>
            <a:headEnd type="none" w="sm" len="sm"/>
            <a:tailEnd type="none" w="sm" len="sm"/>
          </a:ln>
        </p:spPr>
      </p:cxnSp>
      <p:cxnSp>
        <p:nvCxnSpPr>
          <p:cNvPr id="2863" name="Google Shape;2863;p134"/>
          <p:cNvCxnSpPr/>
          <p:nvPr/>
        </p:nvCxnSpPr>
        <p:spPr>
          <a:xfrm>
            <a:off x="5700702" y="4770051"/>
            <a:ext cx="5914355" cy="0"/>
          </a:xfrm>
          <a:prstGeom prst="straightConnector1">
            <a:avLst/>
          </a:prstGeom>
          <a:noFill/>
          <a:ln w="9525" cap="flat" cmpd="sng">
            <a:solidFill>
              <a:srgbClr val="BFBFBF"/>
            </a:solidFill>
            <a:prstDash val="dash"/>
            <a:miter lim="800000"/>
            <a:headEnd type="none" w="sm" len="sm"/>
            <a:tailEnd type="none" w="sm" len="sm"/>
          </a:ln>
        </p:spPr>
      </p:cxnSp>
      <p:cxnSp>
        <p:nvCxnSpPr>
          <p:cNvPr id="2864" name="Google Shape;2864;p134"/>
          <p:cNvCxnSpPr/>
          <p:nvPr/>
        </p:nvCxnSpPr>
        <p:spPr>
          <a:xfrm>
            <a:off x="5700702" y="5601748"/>
            <a:ext cx="5914355" cy="0"/>
          </a:xfrm>
          <a:prstGeom prst="straightConnector1">
            <a:avLst/>
          </a:prstGeom>
          <a:noFill/>
          <a:ln w="9525" cap="flat" cmpd="sng">
            <a:solidFill>
              <a:srgbClr val="BFBFBF"/>
            </a:solidFill>
            <a:prstDash val="dash"/>
            <a:miter lim="800000"/>
            <a:headEnd type="none" w="sm" len="sm"/>
            <a:tailEnd type="none" w="sm" len="sm"/>
          </a:ln>
        </p:spPr>
      </p:cxnSp>
      <p:sp>
        <p:nvSpPr>
          <p:cNvPr id="2865" name="Google Shape;2865;p134"/>
          <p:cNvSpPr/>
          <p:nvPr/>
        </p:nvSpPr>
        <p:spPr>
          <a:xfrm>
            <a:off x="4626168" y="1690954"/>
            <a:ext cx="707832" cy="707832"/>
          </a:xfrm>
          <a:prstGeom prst="ellipse">
            <a:avLst/>
          </a:prstGeom>
          <a:solidFill>
            <a:schemeClr val="lt1"/>
          </a:solidFill>
          <a:ln w="12700" cap="flat" cmpd="sng">
            <a:solidFill>
              <a:srgbClr val="00B0F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66" name="Google Shape;2866;p134"/>
          <p:cNvSpPr/>
          <p:nvPr/>
        </p:nvSpPr>
        <p:spPr>
          <a:xfrm>
            <a:off x="4626168" y="4879118"/>
            <a:ext cx="707832" cy="707832"/>
          </a:xfrm>
          <a:prstGeom prst="ellipse">
            <a:avLst/>
          </a:prstGeom>
          <a:solidFill>
            <a:schemeClr val="lt1"/>
          </a:solidFill>
          <a:ln w="12700" cap="flat" cmpd="sng">
            <a:solidFill>
              <a:srgbClr val="00B0F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67" name="Google Shape;2867;p134"/>
          <p:cNvSpPr/>
          <p:nvPr/>
        </p:nvSpPr>
        <p:spPr>
          <a:xfrm>
            <a:off x="4626168" y="5705940"/>
            <a:ext cx="707832" cy="707832"/>
          </a:xfrm>
          <a:prstGeom prst="ellipse">
            <a:avLst/>
          </a:prstGeom>
          <a:solidFill>
            <a:schemeClr val="lt1"/>
          </a:solidFill>
          <a:ln w="12700" cap="flat" cmpd="sng">
            <a:solidFill>
              <a:srgbClr val="00B0F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2868" name="Google Shape;2868;p134"/>
          <p:cNvPicPr preferRelativeResize="0"/>
          <p:nvPr/>
        </p:nvPicPr>
        <p:blipFill rotWithShape="1">
          <a:blip r:embed="rId4">
            <a:alphaModFix/>
          </a:blip>
          <a:srcRect/>
          <a:stretch/>
        </p:blipFill>
        <p:spPr>
          <a:xfrm>
            <a:off x="4719392" y="1783507"/>
            <a:ext cx="522726" cy="522726"/>
          </a:xfrm>
          <a:prstGeom prst="rect">
            <a:avLst/>
          </a:prstGeom>
          <a:noFill/>
          <a:ln>
            <a:noFill/>
          </a:ln>
        </p:spPr>
      </p:pic>
      <p:pic>
        <p:nvPicPr>
          <p:cNvPr id="2869" name="Google Shape;2869;p134"/>
          <p:cNvPicPr preferRelativeResize="0"/>
          <p:nvPr/>
        </p:nvPicPr>
        <p:blipFill rotWithShape="1">
          <a:blip r:embed="rId5">
            <a:alphaModFix/>
          </a:blip>
          <a:srcRect/>
          <a:stretch/>
        </p:blipFill>
        <p:spPr>
          <a:xfrm>
            <a:off x="4794333" y="787901"/>
            <a:ext cx="387032" cy="387032"/>
          </a:xfrm>
          <a:prstGeom prst="rect">
            <a:avLst/>
          </a:prstGeom>
          <a:noFill/>
          <a:ln>
            <a:noFill/>
          </a:ln>
        </p:spPr>
      </p:pic>
      <p:pic>
        <p:nvPicPr>
          <p:cNvPr id="2870" name="Google Shape;2870;p134"/>
          <p:cNvPicPr preferRelativeResize="0"/>
          <p:nvPr/>
        </p:nvPicPr>
        <p:blipFill rotWithShape="1">
          <a:blip r:embed="rId6">
            <a:alphaModFix/>
          </a:blip>
          <a:srcRect/>
          <a:stretch/>
        </p:blipFill>
        <p:spPr>
          <a:xfrm>
            <a:off x="4820381" y="5878031"/>
            <a:ext cx="374424" cy="374424"/>
          </a:xfrm>
          <a:prstGeom prst="rect">
            <a:avLst/>
          </a:prstGeom>
          <a:noFill/>
          <a:ln>
            <a:noFill/>
          </a:ln>
        </p:spPr>
      </p:pic>
      <p:pic>
        <p:nvPicPr>
          <p:cNvPr id="2871" name="Google Shape;2871;p134"/>
          <p:cNvPicPr preferRelativeResize="0"/>
          <p:nvPr/>
        </p:nvPicPr>
        <p:blipFill rotWithShape="1">
          <a:blip r:embed="rId7">
            <a:alphaModFix/>
          </a:blip>
          <a:srcRect/>
          <a:stretch/>
        </p:blipFill>
        <p:spPr>
          <a:xfrm>
            <a:off x="4760885" y="4994802"/>
            <a:ext cx="402010" cy="402008"/>
          </a:xfrm>
          <a:prstGeom prst="rect">
            <a:avLst/>
          </a:prstGeom>
          <a:noFill/>
          <a:ln>
            <a:noFill/>
          </a:ln>
        </p:spPr>
      </p:pic>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2875"/>
        <p:cNvGrpSpPr/>
        <p:nvPr/>
      </p:nvGrpSpPr>
      <p:grpSpPr>
        <a:xfrm>
          <a:off x="0" y="0"/>
          <a:ext cx="0" cy="0"/>
          <a:chOff x="0" y="0"/>
          <a:chExt cx="0" cy="0"/>
        </a:xfrm>
      </p:grpSpPr>
      <p:pic>
        <p:nvPicPr>
          <p:cNvPr id="2876" name="Google Shape;2876;p135"/>
          <p:cNvPicPr preferRelativeResize="0"/>
          <p:nvPr/>
        </p:nvPicPr>
        <p:blipFill rotWithShape="1">
          <a:blip r:embed="rId3">
            <a:alphaModFix/>
          </a:blip>
          <a:srcRect t="-21354"/>
          <a:stretch/>
        </p:blipFill>
        <p:spPr>
          <a:xfrm>
            <a:off x="0" y="0"/>
            <a:ext cx="4059775" cy="6858000"/>
          </a:xfrm>
          <a:prstGeom prst="rect">
            <a:avLst/>
          </a:prstGeom>
          <a:noFill/>
          <a:ln>
            <a:noFill/>
          </a:ln>
        </p:spPr>
      </p:pic>
      <p:sp>
        <p:nvSpPr>
          <p:cNvPr id="2877" name="Google Shape;2877;p135"/>
          <p:cNvSpPr/>
          <p:nvPr/>
        </p:nvSpPr>
        <p:spPr>
          <a:xfrm>
            <a:off x="-1" y="1"/>
            <a:ext cx="4059776" cy="6857999"/>
          </a:xfrm>
          <a:prstGeom prst="rect">
            <a:avLst/>
          </a:prstGeom>
          <a:gradFill>
            <a:gsLst>
              <a:gs pos="0">
                <a:srgbClr val="062379"/>
              </a:gs>
              <a:gs pos="28000">
                <a:srgbClr val="062379"/>
              </a:gs>
              <a:gs pos="55000">
                <a:srgbClr val="0F47F2">
                  <a:alpha val="68235"/>
                </a:srgbClr>
              </a:gs>
              <a:gs pos="77000">
                <a:srgbClr val="0F47F2">
                  <a:alpha val="48235"/>
                </a:srgbClr>
              </a:gs>
              <a:gs pos="100000">
                <a:srgbClr val="43E1D3"/>
              </a:gs>
            </a:gsLst>
            <a:lin ang="42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78" name="Google Shape;2878;p135"/>
          <p:cNvSpPr txBox="1">
            <a:spLocks noGrp="1"/>
          </p:cNvSpPr>
          <p:nvPr>
            <p:ph type="title"/>
          </p:nvPr>
        </p:nvSpPr>
        <p:spPr>
          <a:xfrm>
            <a:off x="539400" y="562841"/>
            <a:ext cx="3077171" cy="886397"/>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rgbClr val="43E1D3"/>
              </a:buClr>
              <a:buSzPts val="3200"/>
              <a:buFont typeface="Franklin Gothic"/>
              <a:buNone/>
            </a:pPr>
            <a:r>
              <a:rPr lang="en-US" sz="3200">
                <a:solidFill>
                  <a:srgbClr val="43E1D3"/>
                </a:solidFill>
              </a:rPr>
              <a:t>How does a </a:t>
            </a:r>
            <a:r>
              <a:rPr lang="en-US" sz="3200" u="sng">
                <a:solidFill>
                  <a:srgbClr val="43E1D3"/>
                </a:solidFill>
              </a:rPr>
              <a:t>project </a:t>
            </a:r>
            <a:r>
              <a:rPr lang="en-US" sz="3200">
                <a:solidFill>
                  <a:srgbClr val="43E1D3"/>
                </a:solidFill>
              </a:rPr>
              <a:t>work</a:t>
            </a:r>
            <a:endParaRPr sz="3200" baseline="30000">
              <a:solidFill>
                <a:srgbClr val="43E1D3"/>
              </a:solidFill>
            </a:endParaRPr>
          </a:p>
        </p:txBody>
      </p:sp>
      <p:sp>
        <p:nvSpPr>
          <p:cNvPr id="2879" name="Google Shape;2879;p135"/>
          <p:cNvSpPr txBox="1"/>
          <p:nvPr/>
        </p:nvSpPr>
        <p:spPr>
          <a:xfrm>
            <a:off x="5738244" y="652480"/>
            <a:ext cx="5914355" cy="657872"/>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500"/>
              <a:buFont typeface="Arial"/>
              <a:buNone/>
            </a:pPr>
            <a:r>
              <a:rPr lang="en-US" sz="1500" b="0" i="0" u="none" strike="noStrike" cap="none">
                <a:solidFill>
                  <a:schemeClr val="dk1"/>
                </a:solidFill>
                <a:latin typeface="Calibri"/>
                <a:ea typeface="Calibri"/>
                <a:cs typeface="Calibri"/>
                <a:sym typeface="Calibri"/>
              </a:rPr>
              <a:t>Client defines a fixed scope of work. Infomineo prepares a proposal outlining the approach and expected deliverables together with a fixed price. Once contract is signed the team delivers the project.</a:t>
            </a:r>
            <a:endParaRPr sz="1400" b="1" i="0" u="none" strike="noStrike" cap="none">
              <a:solidFill>
                <a:srgbClr val="000000"/>
              </a:solidFill>
              <a:latin typeface="Arial"/>
              <a:ea typeface="Arial"/>
              <a:cs typeface="Arial"/>
              <a:sym typeface="Arial"/>
            </a:endParaRPr>
          </a:p>
        </p:txBody>
      </p:sp>
      <p:sp>
        <p:nvSpPr>
          <p:cNvPr id="2880" name="Google Shape;2880;p135"/>
          <p:cNvSpPr txBox="1"/>
          <p:nvPr/>
        </p:nvSpPr>
        <p:spPr>
          <a:xfrm>
            <a:off x="5736772" y="1672717"/>
            <a:ext cx="6001486" cy="2627129"/>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500"/>
              <a:buFont typeface="Arial"/>
              <a:buNone/>
            </a:pPr>
            <a:r>
              <a:rPr lang="en-US" sz="1500" b="0" i="0" u="none" strike="noStrike" cap="none">
                <a:solidFill>
                  <a:schemeClr val="dk1"/>
                </a:solidFill>
                <a:latin typeface="Calibri"/>
                <a:ea typeface="Calibri"/>
                <a:cs typeface="Calibri"/>
                <a:sym typeface="Calibri"/>
              </a:rPr>
              <a:t>Concretely, Infomineo staffs a team to execute on the project</a:t>
            </a:r>
            <a:endParaRPr sz="1400" b="0" i="0" u="none" strike="noStrike" cap="none">
              <a:solidFill>
                <a:srgbClr val="000000"/>
              </a:solidFill>
              <a:latin typeface="Arial"/>
              <a:ea typeface="Arial"/>
              <a:cs typeface="Arial"/>
              <a:sym typeface="Arial"/>
            </a:endParaRPr>
          </a:p>
          <a:p>
            <a:pPr marL="0" marR="0" lvl="0" indent="0" algn="l" rtl="0">
              <a:lnSpc>
                <a:spcPct val="95000"/>
              </a:lnSpc>
              <a:spcBef>
                <a:spcPts val="0"/>
              </a:spcBef>
              <a:spcAft>
                <a:spcPts val="0"/>
              </a:spcAft>
              <a:buClr>
                <a:schemeClr val="dk1"/>
              </a:buClr>
              <a:buSzPts val="1500"/>
              <a:buFont typeface="Arial"/>
              <a:buNone/>
            </a:pPr>
            <a:endParaRPr sz="1400" b="0" i="0" u="none" strike="noStrike" cap="none">
              <a:solidFill>
                <a:srgbClr val="000000"/>
              </a:solidFill>
              <a:latin typeface="Arial"/>
              <a:ea typeface="Arial"/>
              <a:cs typeface="Arial"/>
              <a:sym typeface="Arial"/>
            </a:endParaRPr>
          </a:p>
          <a:p>
            <a:pPr marL="0" marR="0" lvl="1" indent="0" algn="l" rtl="0">
              <a:lnSpc>
                <a:spcPct val="95000"/>
              </a:lnSpc>
              <a:spcBef>
                <a:spcPts val="500"/>
              </a:spcBef>
              <a:spcAft>
                <a:spcPts val="0"/>
              </a:spcAft>
              <a:buClr>
                <a:srgbClr val="000000"/>
              </a:buClr>
              <a:buSzPts val="1500"/>
              <a:buFont typeface="Arial"/>
              <a:buNone/>
            </a:pPr>
            <a:r>
              <a:rPr lang="en-US" sz="1500" b="0" i="0" u="none" strike="noStrike" cap="none">
                <a:solidFill>
                  <a:schemeClr val="dk1"/>
                </a:solidFill>
                <a:latin typeface="Calibri"/>
                <a:ea typeface="Calibri"/>
                <a:cs typeface="Calibri"/>
                <a:sym typeface="Calibri"/>
              </a:rPr>
              <a:t>The projects</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500"/>
              </a:spcBef>
              <a:spcAft>
                <a:spcPts val="0"/>
              </a:spcAft>
              <a:buClr>
                <a:schemeClr val="dk2"/>
              </a:buClr>
              <a:buSzPts val="1350"/>
              <a:buFont typeface="Noto Sans Symbols"/>
              <a:buChar char="▪"/>
            </a:pPr>
            <a:r>
              <a:rPr lang="en-US" sz="1500" b="0" i="0" u="none" strike="noStrike" cap="none">
                <a:solidFill>
                  <a:schemeClr val="dk1"/>
                </a:solidFill>
                <a:latin typeface="Calibri"/>
                <a:ea typeface="Calibri"/>
                <a:cs typeface="Calibri"/>
                <a:sym typeface="Calibri"/>
              </a:rPr>
              <a:t>Starts with a kickoff call where the expectations are defined</a:t>
            </a:r>
            <a:endParaRPr sz="1500" b="0" i="0" u="none" strike="noStrike" cap="none">
              <a:solidFill>
                <a:schemeClr val="dk1"/>
              </a:solidFill>
              <a:latin typeface="Calibri"/>
              <a:ea typeface="Calibri"/>
              <a:cs typeface="Calibri"/>
              <a:sym typeface="Calibri"/>
            </a:endParaRPr>
          </a:p>
          <a:p>
            <a:pPr marL="176213" marR="0" lvl="1" indent="-176213" algn="l" rtl="0">
              <a:lnSpc>
                <a:spcPct val="95000"/>
              </a:lnSpc>
              <a:spcBef>
                <a:spcPts val="500"/>
              </a:spcBef>
              <a:spcAft>
                <a:spcPts val="0"/>
              </a:spcAft>
              <a:buClr>
                <a:schemeClr val="dk2"/>
              </a:buClr>
              <a:buSzPts val="1350"/>
              <a:buFont typeface="Noto Sans Symbols"/>
              <a:buChar char="▪"/>
            </a:pPr>
            <a:r>
              <a:rPr lang="en-US" sz="1500" b="0" i="0" u="none" strike="noStrike" cap="none">
                <a:solidFill>
                  <a:schemeClr val="dk1"/>
                </a:solidFill>
                <a:latin typeface="Calibri"/>
                <a:ea typeface="Calibri"/>
                <a:cs typeface="Calibri"/>
                <a:sym typeface="Calibri"/>
              </a:rPr>
              <a:t>Then the team executes as per the initial workplan - If the client wants to increase the scope the budget needs to be revised</a:t>
            </a:r>
            <a:endParaRPr sz="1400" b="0" i="0" u="none" strike="noStrike" cap="none">
              <a:solidFill>
                <a:srgbClr val="000000"/>
              </a:solidFill>
              <a:latin typeface="Arial"/>
              <a:ea typeface="Arial"/>
              <a:cs typeface="Arial"/>
              <a:sym typeface="Arial"/>
            </a:endParaRPr>
          </a:p>
          <a:p>
            <a:pPr marL="176213" marR="0" lvl="1" indent="-176213" algn="l" rtl="0">
              <a:lnSpc>
                <a:spcPct val="95000"/>
              </a:lnSpc>
              <a:spcBef>
                <a:spcPts val="500"/>
              </a:spcBef>
              <a:spcAft>
                <a:spcPts val="0"/>
              </a:spcAft>
              <a:buClr>
                <a:schemeClr val="dk2"/>
              </a:buClr>
              <a:buSzPts val="1350"/>
              <a:buFont typeface="Noto Sans Symbols"/>
              <a:buChar char="▪"/>
            </a:pPr>
            <a:r>
              <a:rPr lang="en-US" sz="1500" b="0" i="0" u="none" strike="noStrike" cap="none">
                <a:solidFill>
                  <a:schemeClr val="dk1"/>
                </a:solidFill>
                <a:latin typeface="Calibri"/>
                <a:ea typeface="Calibri"/>
                <a:cs typeface="Calibri"/>
                <a:sym typeface="Calibri"/>
              </a:rPr>
              <a:t>Regular update calls are planned as per the project timeline.</a:t>
            </a:r>
            <a:endParaRPr sz="1500" b="0" i="0" u="none" strike="noStrike" cap="none">
              <a:solidFill>
                <a:schemeClr val="dk1"/>
              </a:solidFill>
              <a:latin typeface="Calibri"/>
              <a:ea typeface="Calibri"/>
              <a:cs typeface="Calibri"/>
              <a:sym typeface="Calibri"/>
            </a:endParaRPr>
          </a:p>
          <a:p>
            <a:pPr marL="176213" marR="0" lvl="1" indent="-176213" algn="l" rtl="0">
              <a:lnSpc>
                <a:spcPct val="95000"/>
              </a:lnSpc>
              <a:spcBef>
                <a:spcPts val="500"/>
              </a:spcBef>
              <a:spcAft>
                <a:spcPts val="0"/>
              </a:spcAft>
              <a:buClr>
                <a:schemeClr val="dk2"/>
              </a:buClr>
              <a:buSzPts val="1350"/>
              <a:buFont typeface="Noto Sans Symbols"/>
              <a:buChar char="▪"/>
            </a:pPr>
            <a:r>
              <a:rPr lang="en-US" sz="1500" b="0" i="0" u="none" strike="noStrike" cap="none">
                <a:solidFill>
                  <a:schemeClr val="dk1"/>
                </a:solidFill>
                <a:latin typeface="Calibri"/>
                <a:ea typeface="Calibri"/>
                <a:cs typeface="Calibri"/>
                <a:sym typeface="Calibri"/>
              </a:rPr>
              <a:t>A final handover call closes the project</a:t>
            </a:r>
            <a:endParaRPr sz="1400" b="0" i="0" u="none" strike="noStrike" cap="none">
              <a:solidFill>
                <a:srgbClr val="000000"/>
              </a:solidFill>
              <a:latin typeface="Arial"/>
              <a:ea typeface="Arial"/>
              <a:cs typeface="Arial"/>
              <a:sym typeface="Arial"/>
            </a:endParaRPr>
          </a:p>
          <a:p>
            <a:pPr marL="0" marR="0" lvl="1" indent="0" algn="l" rtl="0">
              <a:lnSpc>
                <a:spcPct val="95000"/>
              </a:lnSpc>
              <a:spcBef>
                <a:spcPts val="500"/>
              </a:spcBef>
              <a:spcAft>
                <a:spcPts val="0"/>
              </a:spcAft>
              <a:buClr>
                <a:srgbClr val="000000"/>
              </a:buClr>
              <a:buSzPts val="1500"/>
              <a:buFont typeface="Arial"/>
              <a:buNone/>
            </a:pPr>
            <a:endParaRPr sz="1500" b="0" i="0" u="none" strike="noStrike" cap="none">
              <a:solidFill>
                <a:schemeClr val="dk1"/>
              </a:solidFill>
              <a:latin typeface="Calibri"/>
              <a:ea typeface="Calibri"/>
              <a:cs typeface="Calibri"/>
              <a:sym typeface="Calibri"/>
            </a:endParaRPr>
          </a:p>
          <a:p>
            <a:pPr marL="0" marR="0" lvl="1" indent="0" algn="l" rtl="0">
              <a:lnSpc>
                <a:spcPct val="95000"/>
              </a:lnSpc>
              <a:spcBef>
                <a:spcPts val="500"/>
              </a:spcBef>
              <a:spcAft>
                <a:spcPts val="0"/>
              </a:spcAft>
              <a:buClr>
                <a:srgbClr val="000000"/>
              </a:buClr>
              <a:buSzPts val="1500"/>
              <a:buFont typeface="Arial"/>
              <a:buNone/>
            </a:pPr>
            <a:r>
              <a:rPr lang="en-US" sz="1500" b="0" i="0" u="none" strike="noStrike" cap="none">
                <a:solidFill>
                  <a:schemeClr val="dk1"/>
                </a:solidFill>
                <a:latin typeface="Calibri"/>
                <a:ea typeface="Calibri"/>
                <a:cs typeface="Calibri"/>
                <a:sym typeface="Calibri"/>
              </a:rPr>
              <a:t>Project start depends on the availability of staff.</a:t>
            </a:r>
            <a:endParaRPr sz="1500" b="0" i="0" u="none" strike="noStrike" cap="none">
              <a:solidFill>
                <a:schemeClr val="dk1"/>
              </a:solidFill>
              <a:latin typeface="Calibri"/>
              <a:ea typeface="Calibri"/>
              <a:cs typeface="Calibri"/>
              <a:sym typeface="Calibri"/>
            </a:endParaRPr>
          </a:p>
        </p:txBody>
      </p:sp>
      <p:sp>
        <p:nvSpPr>
          <p:cNvPr id="2881" name="Google Shape;2881;p135"/>
          <p:cNvSpPr txBox="1"/>
          <p:nvPr/>
        </p:nvSpPr>
        <p:spPr>
          <a:xfrm>
            <a:off x="5738244" y="4678273"/>
            <a:ext cx="5914355" cy="219291"/>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500"/>
              <a:buFont typeface="Arial"/>
              <a:buNone/>
            </a:pPr>
            <a:r>
              <a:rPr lang="en-US" sz="1500" b="0" i="0" u="none" strike="noStrike" cap="none">
                <a:solidFill>
                  <a:schemeClr val="dk1"/>
                </a:solidFill>
                <a:latin typeface="Calibri"/>
                <a:ea typeface="Calibri"/>
                <a:cs typeface="Calibri"/>
                <a:sym typeface="Calibri"/>
              </a:rPr>
              <a:t>If the client has recurring projects a retainer will be proposed</a:t>
            </a:r>
            <a:endParaRPr sz="1400" b="0" i="0" u="none" strike="noStrike" cap="none">
              <a:solidFill>
                <a:srgbClr val="000000"/>
              </a:solidFill>
              <a:latin typeface="Arial"/>
              <a:ea typeface="Arial"/>
              <a:cs typeface="Arial"/>
              <a:sym typeface="Arial"/>
            </a:endParaRPr>
          </a:p>
        </p:txBody>
      </p:sp>
      <p:sp>
        <p:nvSpPr>
          <p:cNvPr id="2882" name="Google Shape;2882;p135"/>
          <p:cNvSpPr txBox="1"/>
          <p:nvPr/>
        </p:nvSpPr>
        <p:spPr>
          <a:xfrm>
            <a:off x="5738244" y="5650963"/>
            <a:ext cx="5914355" cy="219291"/>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500"/>
              <a:buFont typeface="Arial"/>
              <a:buNone/>
            </a:pPr>
            <a:r>
              <a:rPr lang="en-US" sz="1500" b="0" i="0" u="none" strike="noStrike" cap="none">
                <a:solidFill>
                  <a:schemeClr val="dk1"/>
                </a:solidFill>
                <a:latin typeface="Calibri"/>
                <a:ea typeface="Calibri"/>
                <a:cs typeface="Calibri"/>
                <a:sym typeface="Calibri"/>
              </a:rPr>
              <a:t>The project is billed 50% upfront and 50% at completion</a:t>
            </a:r>
            <a:endParaRPr sz="1400" b="0" i="0" u="none" strike="noStrike" cap="none">
              <a:solidFill>
                <a:srgbClr val="000000"/>
              </a:solidFill>
              <a:latin typeface="Arial"/>
              <a:ea typeface="Arial"/>
              <a:cs typeface="Arial"/>
              <a:sym typeface="Arial"/>
            </a:endParaRPr>
          </a:p>
        </p:txBody>
      </p:sp>
      <p:cxnSp>
        <p:nvCxnSpPr>
          <p:cNvPr id="2883" name="Google Shape;2883;p135"/>
          <p:cNvCxnSpPr/>
          <p:nvPr/>
        </p:nvCxnSpPr>
        <p:spPr>
          <a:xfrm>
            <a:off x="539400" y="484910"/>
            <a:ext cx="540000" cy="0"/>
          </a:xfrm>
          <a:prstGeom prst="straightConnector1">
            <a:avLst/>
          </a:prstGeom>
          <a:noFill/>
          <a:ln w="38100" cap="flat" cmpd="sng">
            <a:solidFill>
              <a:srgbClr val="43E1D3"/>
            </a:solidFill>
            <a:prstDash val="solid"/>
            <a:miter lim="800000"/>
            <a:headEnd type="none" w="sm" len="sm"/>
            <a:tailEnd type="none" w="sm" len="sm"/>
          </a:ln>
        </p:spPr>
      </p:cxnSp>
      <p:sp>
        <p:nvSpPr>
          <p:cNvPr id="2884" name="Google Shape;2884;p135"/>
          <p:cNvSpPr/>
          <p:nvPr/>
        </p:nvSpPr>
        <p:spPr>
          <a:xfrm>
            <a:off x="4626168" y="666781"/>
            <a:ext cx="707832" cy="707832"/>
          </a:xfrm>
          <a:prstGeom prst="ellipse">
            <a:avLst/>
          </a:prstGeom>
          <a:solidFill>
            <a:schemeClr val="lt1"/>
          </a:solidFill>
          <a:ln w="12700" cap="flat" cmpd="sng">
            <a:solidFill>
              <a:srgbClr val="00B0F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cxnSp>
        <p:nvCxnSpPr>
          <p:cNvPr id="2885" name="Google Shape;2885;p135"/>
          <p:cNvCxnSpPr/>
          <p:nvPr/>
        </p:nvCxnSpPr>
        <p:spPr>
          <a:xfrm>
            <a:off x="5700702" y="1601180"/>
            <a:ext cx="5914355" cy="0"/>
          </a:xfrm>
          <a:prstGeom prst="straightConnector1">
            <a:avLst/>
          </a:prstGeom>
          <a:noFill/>
          <a:ln w="9525" cap="flat" cmpd="sng">
            <a:solidFill>
              <a:srgbClr val="BFBFBF"/>
            </a:solidFill>
            <a:prstDash val="dash"/>
            <a:miter lim="800000"/>
            <a:headEnd type="none" w="sm" len="sm"/>
            <a:tailEnd type="none" w="sm" len="sm"/>
          </a:ln>
        </p:spPr>
      </p:cxnSp>
      <p:cxnSp>
        <p:nvCxnSpPr>
          <p:cNvPr id="2886" name="Google Shape;2886;p135"/>
          <p:cNvCxnSpPr/>
          <p:nvPr/>
        </p:nvCxnSpPr>
        <p:spPr>
          <a:xfrm>
            <a:off x="5700702" y="4578458"/>
            <a:ext cx="5914355" cy="0"/>
          </a:xfrm>
          <a:prstGeom prst="straightConnector1">
            <a:avLst/>
          </a:prstGeom>
          <a:noFill/>
          <a:ln w="9525" cap="flat" cmpd="sng">
            <a:solidFill>
              <a:srgbClr val="BFBFBF"/>
            </a:solidFill>
            <a:prstDash val="dash"/>
            <a:miter lim="800000"/>
            <a:headEnd type="none" w="sm" len="sm"/>
            <a:tailEnd type="none" w="sm" len="sm"/>
          </a:ln>
        </p:spPr>
      </p:cxnSp>
      <p:cxnSp>
        <p:nvCxnSpPr>
          <p:cNvPr id="2887" name="Google Shape;2887;p135"/>
          <p:cNvCxnSpPr/>
          <p:nvPr/>
        </p:nvCxnSpPr>
        <p:spPr>
          <a:xfrm>
            <a:off x="5700702" y="5410155"/>
            <a:ext cx="5914355" cy="0"/>
          </a:xfrm>
          <a:prstGeom prst="straightConnector1">
            <a:avLst/>
          </a:prstGeom>
          <a:noFill/>
          <a:ln w="9525" cap="flat" cmpd="sng">
            <a:solidFill>
              <a:srgbClr val="BFBFBF"/>
            </a:solidFill>
            <a:prstDash val="dash"/>
            <a:miter lim="800000"/>
            <a:headEnd type="none" w="sm" len="sm"/>
            <a:tailEnd type="none" w="sm" len="sm"/>
          </a:ln>
        </p:spPr>
      </p:cxnSp>
      <p:sp>
        <p:nvSpPr>
          <p:cNvPr id="2888" name="Google Shape;2888;p135"/>
          <p:cNvSpPr/>
          <p:nvPr/>
        </p:nvSpPr>
        <p:spPr>
          <a:xfrm>
            <a:off x="4626168" y="1690954"/>
            <a:ext cx="707832" cy="707832"/>
          </a:xfrm>
          <a:prstGeom prst="ellipse">
            <a:avLst/>
          </a:prstGeom>
          <a:solidFill>
            <a:schemeClr val="lt1"/>
          </a:solidFill>
          <a:ln w="12700" cap="flat" cmpd="sng">
            <a:solidFill>
              <a:srgbClr val="00B0F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89" name="Google Shape;2889;p135"/>
          <p:cNvSpPr/>
          <p:nvPr/>
        </p:nvSpPr>
        <p:spPr>
          <a:xfrm>
            <a:off x="4626168" y="4687525"/>
            <a:ext cx="707832" cy="707832"/>
          </a:xfrm>
          <a:prstGeom prst="ellipse">
            <a:avLst/>
          </a:prstGeom>
          <a:solidFill>
            <a:schemeClr val="lt1"/>
          </a:solidFill>
          <a:ln w="12700" cap="flat" cmpd="sng">
            <a:solidFill>
              <a:srgbClr val="00B0F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90" name="Google Shape;2890;p135"/>
          <p:cNvSpPr/>
          <p:nvPr/>
        </p:nvSpPr>
        <p:spPr>
          <a:xfrm>
            <a:off x="4626168" y="5514347"/>
            <a:ext cx="707832" cy="707832"/>
          </a:xfrm>
          <a:prstGeom prst="ellipse">
            <a:avLst/>
          </a:prstGeom>
          <a:solidFill>
            <a:schemeClr val="lt1"/>
          </a:solidFill>
          <a:ln w="12700" cap="flat" cmpd="sng">
            <a:solidFill>
              <a:srgbClr val="00B0F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2891" name="Google Shape;2891;p135"/>
          <p:cNvPicPr preferRelativeResize="0"/>
          <p:nvPr/>
        </p:nvPicPr>
        <p:blipFill rotWithShape="1">
          <a:blip r:embed="rId4">
            <a:alphaModFix/>
          </a:blip>
          <a:srcRect/>
          <a:stretch/>
        </p:blipFill>
        <p:spPr>
          <a:xfrm>
            <a:off x="4719392" y="1783507"/>
            <a:ext cx="522726" cy="522726"/>
          </a:xfrm>
          <a:prstGeom prst="rect">
            <a:avLst/>
          </a:prstGeom>
          <a:noFill/>
          <a:ln>
            <a:noFill/>
          </a:ln>
        </p:spPr>
      </p:pic>
      <p:pic>
        <p:nvPicPr>
          <p:cNvPr id="2892" name="Google Shape;2892;p135"/>
          <p:cNvPicPr preferRelativeResize="0"/>
          <p:nvPr/>
        </p:nvPicPr>
        <p:blipFill rotWithShape="1">
          <a:blip r:embed="rId5">
            <a:alphaModFix/>
          </a:blip>
          <a:srcRect/>
          <a:stretch/>
        </p:blipFill>
        <p:spPr>
          <a:xfrm>
            <a:off x="4794333" y="787901"/>
            <a:ext cx="387032" cy="387032"/>
          </a:xfrm>
          <a:prstGeom prst="rect">
            <a:avLst/>
          </a:prstGeom>
          <a:noFill/>
          <a:ln>
            <a:noFill/>
          </a:ln>
        </p:spPr>
      </p:pic>
      <p:pic>
        <p:nvPicPr>
          <p:cNvPr id="2893" name="Google Shape;2893;p135"/>
          <p:cNvPicPr preferRelativeResize="0"/>
          <p:nvPr/>
        </p:nvPicPr>
        <p:blipFill rotWithShape="1">
          <a:blip r:embed="rId6">
            <a:alphaModFix/>
          </a:blip>
          <a:srcRect/>
          <a:stretch/>
        </p:blipFill>
        <p:spPr>
          <a:xfrm>
            <a:off x="4820381" y="5686438"/>
            <a:ext cx="374424" cy="374424"/>
          </a:xfrm>
          <a:prstGeom prst="rect">
            <a:avLst/>
          </a:prstGeom>
          <a:noFill/>
          <a:ln>
            <a:noFill/>
          </a:ln>
        </p:spPr>
      </p:pic>
      <p:pic>
        <p:nvPicPr>
          <p:cNvPr id="2894" name="Google Shape;2894;p135"/>
          <p:cNvPicPr preferRelativeResize="0"/>
          <p:nvPr/>
        </p:nvPicPr>
        <p:blipFill rotWithShape="1">
          <a:blip r:embed="rId7">
            <a:alphaModFix/>
          </a:blip>
          <a:srcRect/>
          <a:stretch/>
        </p:blipFill>
        <p:spPr>
          <a:xfrm>
            <a:off x="4760885" y="4803209"/>
            <a:ext cx="402010" cy="402008"/>
          </a:xfrm>
          <a:prstGeom prst="rect">
            <a:avLst/>
          </a:prstGeom>
          <a:noFill/>
          <a:ln>
            <a:noFill/>
          </a:ln>
        </p:spPr>
      </p:pic>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2898"/>
        <p:cNvGrpSpPr/>
        <p:nvPr/>
      </p:nvGrpSpPr>
      <p:grpSpPr>
        <a:xfrm>
          <a:off x="0" y="0"/>
          <a:ext cx="0" cy="0"/>
          <a:chOff x="0" y="0"/>
          <a:chExt cx="0" cy="0"/>
        </a:xfrm>
      </p:grpSpPr>
      <p:sp>
        <p:nvSpPr>
          <p:cNvPr id="2899" name="Google Shape;2899;p79"/>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What benefits are there in engaging Infomineo on</a:t>
            </a:r>
            <a:br>
              <a:rPr lang="en-US"/>
            </a:br>
            <a:r>
              <a:rPr lang="en-US"/>
              <a:t>a retainer basis?</a:t>
            </a:r>
            <a:endParaRPr/>
          </a:p>
        </p:txBody>
      </p:sp>
      <p:sp>
        <p:nvSpPr>
          <p:cNvPr id="2900" name="Google Shape;2900;p79"/>
          <p:cNvSpPr txBox="1"/>
          <p:nvPr/>
        </p:nvSpPr>
        <p:spPr>
          <a:xfrm>
            <a:off x="1070077" y="1727938"/>
            <a:ext cx="2399255" cy="2492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400"/>
              <a:buFont typeface="Calibri"/>
              <a:buNone/>
            </a:pPr>
            <a:r>
              <a:rPr lang="en-US" sz="1800" b="1" i="0" u="none" strike="noStrike" cap="none">
                <a:solidFill>
                  <a:schemeClr val="dk1"/>
                </a:solidFill>
                <a:latin typeface="Calibri"/>
                <a:ea typeface="Calibri"/>
                <a:cs typeface="Calibri"/>
                <a:sym typeface="Calibri"/>
              </a:rPr>
              <a:t>Quality of services</a:t>
            </a:r>
            <a:endParaRPr sz="1800" b="1" i="0" u="none" strike="noStrike" cap="none">
              <a:solidFill>
                <a:schemeClr val="dk1"/>
              </a:solidFill>
              <a:latin typeface="Calibri"/>
              <a:ea typeface="Calibri"/>
              <a:cs typeface="Calibri"/>
              <a:sym typeface="Calibri"/>
            </a:endParaRPr>
          </a:p>
        </p:txBody>
      </p:sp>
      <p:sp>
        <p:nvSpPr>
          <p:cNvPr id="2901" name="Google Shape;2901;p79"/>
          <p:cNvSpPr txBox="1"/>
          <p:nvPr/>
        </p:nvSpPr>
        <p:spPr>
          <a:xfrm>
            <a:off x="3442765" y="2378372"/>
            <a:ext cx="2395728" cy="2209836"/>
          </a:xfrm>
          <a:prstGeom prst="rect">
            <a:avLst/>
          </a:prstGeom>
          <a:noFill/>
          <a:ln>
            <a:noFill/>
          </a:ln>
        </p:spPr>
        <p:txBody>
          <a:bodyPr spcFirstLastPara="1" wrap="square" lIns="0" tIns="0" rIns="0" bIns="0" anchor="t" anchorCtr="0">
            <a:spAutoFit/>
          </a:bodyPr>
          <a:lstStyle/>
          <a:p>
            <a:pPr marL="285750" marR="0" lvl="0" indent="-285750" algn="l" rtl="0">
              <a:lnSpc>
                <a:spcPct val="90000"/>
              </a:lnSpc>
              <a:spcBef>
                <a:spcPts val="0"/>
              </a:spcBef>
              <a:spcAft>
                <a:spcPts val="0"/>
              </a:spcAft>
              <a:buClr>
                <a:schemeClr val="dk1"/>
              </a:buClr>
              <a:buSzPts val="1400"/>
              <a:buFont typeface="Arial"/>
              <a:buChar char="•"/>
            </a:pPr>
            <a:r>
              <a:rPr lang="en-US" sz="1400" b="0" i="0" u="none" strike="noStrike" cap="none">
                <a:solidFill>
                  <a:schemeClr val="dk1"/>
                </a:solidFill>
                <a:latin typeface="Calibri"/>
                <a:ea typeface="Calibri"/>
                <a:cs typeface="Calibri"/>
                <a:sym typeface="Calibri"/>
              </a:rPr>
              <a:t>Effective execution of time-consuming tasks as Infomineo focuses on </a:t>
            </a:r>
            <a:r>
              <a:rPr lang="en-US" sz="1400" b="0" i="0" u="sng" strike="noStrike" cap="none">
                <a:solidFill>
                  <a:schemeClr val="dk1"/>
                </a:solidFill>
                <a:latin typeface="Calibri"/>
                <a:ea typeface="Calibri"/>
                <a:cs typeface="Calibri"/>
                <a:sym typeface="Calibri"/>
              </a:rPr>
              <a:t>its core services</a:t>
            </a:r>
            <a:r>
              <a:rPr lang="en-US" sz="1400" b="0" i="0" u="none" strike="noStrike" cap="none">
                <a:solidFill>
                  <a:schemeClr val="dk1"/>
                </a:solidFill>
                <a:latin typeface="Calibri"/>
                <a:ea typeface="Calibri"/>
                <a:cs typeface="Calibri"/>
                <a:sym typeface="Calibri"/>
              </a:rPr>
              <a:t> 100% of the time </a:t>
            </a:r>
            <a:endParaRPr sz="1400" b="0" i="0" u="none" strike="noStrike" cap="none">
              <a:solidFill>
                <a:schemeClr val="dk1"/>
              </a:solidFill>
              <a:latin typeface="Calibri"/>
              <a:ea typeface="Calibri"/>
              <a:cs typeface="Calibri"/>
              <a:sym typeface="Calibri"/>
            </a:endParaRPr>
          </a:p>
          <a:p>
            <a:pPr marL="285750" marR="0" lvl="0" indent="-285750" algn="l" rtl="0">
              <a:lnSpc>
                <a:spcPct val="90000"/>
              </a:lnSpc>
              <a:spcBef>
                <a:spcPts val="600"/>
              </a:spcBef>
              <a:spcAft>
                <a:spcPts val="0"/>
              </a:spcAft>
              <a:buClr>
                <a:schemeClr val="dk1"/>
              </a:buClr>
              <a:buSzPts val="1400"/>
              <a:buFont typeface="Arial"/>
              <a:buChar char="•"/>
            </a:pPr>
            <a:r>
              <a:rPr lang="en-US" sz="1400" b="0" i="0" u="none" strike="noStrike" cap="none">
                <a:solidFill>
                  <a:schemeClr val="dk1"/>
                </a:solidFill>
                <a:latin typeface="Calibri"/>
                <a:ea typeface="Calibri"/>
                <a:cs typeface="Calibri"/>
                <a:sym typeface="Calibri"/>
              </a:rPr>
              <a:t>Continuous improvement by developing customized trainings and career trajectories to allow the best support possible to our clients</a:t>
            </a:r>
            <a:endParaRPr sz="1400" b="0" i="0" u="none" strike="noStrike" cap="none">
              <a:solidFill>
                <a:srgbClr val="000000"/>
              </a:solidFill>
              <a:latin typeface="Arial"/>
              <a:ea typeface="Arial"/>
              <a:cs typeface="Arial"/>
              <a:sym typeface="Arial"/>
            </a:endParaRPr>
          </a:p>
        </p:txBody>
      </p:sp>
      <p:sp>
        <p:nvSpPr>
          <p:cNvPr id="2902" name="Google Shape;2902;p79"/>
          <p:cNvSpPr txBox="1"/>
          <p:nvPr/>
        </p:nvSpPr>
        <p:spPr>
          <a:xfrm>
            <a:off x="6270273" y="5071999"/>
            <a:ext cx="2395728" cy="1317284"/>
          </a:xfrm>
          <a:prstGeom prst="rect">
            <a:avLst/>
          </a:prstGeom>
          <a:noFill/>
          <a:ln>
            <a:noFill/>
          </a:ln>
        </p:spPr>
        <p:txBody>
          <a:bodyPr spcFirstLastPara="1" wrap="square" lIns="0" tIns="0" rIns="0" bIns="0" anchor="t" anchorCtr="0">
            <a:spAutoFit/>
          </a:bodyPr>
          <a:lstStyle/>
          <a:p>
            <a:pPr marL="285750" marR="0" lvl="0" indent="-285750" algn="l" rtl="0">
              <a:lnSpc>
                <a:spcPct val="90000"/>
              </a:lnSpc>
              <a:spcBef>
                <a:spcPts val="0"/>
              </a:spcBef>
              <a:spcAft>
                <a:spcPts val="0"/>
              </a:spcAft>
              <a:buClr>
                <a:schemeClr val="dk1"/>
              </a:buClr>
              <a:buSzPts val="1400"/>
              <a:buFont typeface="Arial"/>
              <a:buChar char="•"/>
            </a:pPr>
            <a:r>
              <a:rPr lang="en-US" sz="1400" b="1" i="0" u="none" strike="noStrike" cap="none">
                <a:solidFill>
                  <a:schemeClr val="dk1"/>
                </a:solidFill>
                <a:latin typeface="Calibri"/>
                <a:ea typeface="Calibri"/>
                <a:cs typeface="Calibri"/>
                <a:sym typeface="Calibri"/>
              </a:rPr>
              <a:t>Less admin wor</a:t>
            </a:r>
            <a:r>
              <a:rPr lang="en-US" sz="1400" b="0" i="0" u="none" strike="noStrike" cap="none">
                <a:solidFill>
                  <a:schemeClr val="dk1"/>
                </a:solidFill>
                <a:latin typeface="Calibri"/>
                <a:ea typeface="Calibri"/>
                <a:cs typeface="Calibri"/>
                <a:sym typeface="Calibri"/>
              </a:rPr>
              <a:t>k (contracting, approvals, etc.)</a:t>
            </a:r>
            <a:endParaRPr sz="1400" b="0" i="0" u="none" strike="noStrike" cap="none">
              <a:solidFill>
                <a:srgbClr val="000000"/>
              </a:solidFill>
              <a:latin typeface="Arial"/>
              <a:ea typeface="Arial"/>
              <a:cs typeface="Arial"/>
              <a:sym typeface="Arial"/>
            </a:endParaRPr>
          </a:p>
          <a:p>
            <a:pPr marL="285750" marR="0" lvl="0" indent="-285750" algn="l" rtl="0">
              <a:lnSpc>
                <a:spcPct val="90000"/>
              </a:lnSpc>
              <a:spcBef>
                <a:spcPts val="600"/>
              </a:spcBef>
              <a:spcAft>
                <a:spcPts val="0"/>
              </a:spcAft>
              <a:buClr>
                <a:schemeClr val="dk1"/>
              </a:buClr>
              <a:buSzPts val="1400"/>
              <a:buFont typeface="Arial"/>
              <a:buChar char="•"/>
            </a:pPr>
            <a:r>
              <a:rPr lang="en-US" sz="1400" b="0" i="0" u="none" strike="noStrike" cap="none">
                <a:solidFill>
                  <a:schemeClr val="dk1"/>
                </a:solidFill>
                <a:latin typeface="Calibri"/>
                <a:ea typeface="Calibri"/>
                <a:cs typeface="Calibri"/>
                <a:sym typeface="Calibri"/>
              </a:rPr>
              <a:t>Ease of </a:t>
            </a:r>
            <a:r>
              <a:rPr lang="en-US" sz="1400" b="1" i="0" u="none" strike="noStrike" cap="none">
                <a:solidFill>
                  <a:schemeClr val="dk1"/>
                </a:solidFill>
                <a:latin typeface="Calibri"/>
                <a:ea typeface="Calibri"/>
                <a:cs typeface="Calibri"/>
                <a:sym typeface="Calibri"/>
              </a:rPr>
              <a:t>scaling</a:t>
            </a:r>
            <a:r>
              <a:rPr lang="en-US" sz="1400" b="0" i="0" u="none" strike="noStrike" cap="none">
                <a:solidFill>
                  <a:schemeClr val="dk1"/>
                </a:solidFill>
                <a:latin typeface="Calibri"/>
                <a:ea typeface="Calibri"/>
                <a:cs typeface="Calibri"/>
                <a:sym typeface="Calibri"/>
              </a:rPr>
              <a:t> according to business needs (saves recruiting time)</a:t>
            </a:r>
            <a:endParaRPr sz="1400" b="0" i="0" u="none" strike="noStrike" cap="none">
              <a:solidFill>
                <a:srgbClr val="000000"/>
              </a:solidFill>
              <a:latin typeface="Arial"/>
              <a:ea typeface="Arial"/>
              <a:cs typeface="Arial"/>
              <a:sym typeface="Arial"/>
            </a:endParaRPr>
          </a:p>
          <a:p>
            <a:pPr marL="285750" marR="0" lvl="0" indent="-285750" algn="l" rtl="0">
              <a:lnSpc>
                <a:spcPct val="90000"/>
              </a:lnSpc>
              <a:spcBef>
                <a:spcPts val="600"/>
              </a:spcBef>
              <a:spcAft>
                <a:spcPts val="0"/>
              </a:spcAft>
              <a:buClr>
                <a:schemeClr val="dk1"/>
              </a:buClr>
              <a:buSzPts val="1400"/>
              <a:buFont typeface="Arial"/>
              <a:buChar char="•"/>
            </a:pPr>
            <a:r>
              <a:rPr lang="en-US" sz="1400" b="0" i="0" u="none" strike="noStrike" cap="none">
                <a:solidFill>
                  <a:schemeClr val="dk1"/>
                </a:solidFill>
                <a:latin typeface="Calibri"/>
                <a:ea typeface="Calibri"/>
                <a:cs typeface="Calibri"/>
                <a:sym typeface="Calibri"/>
              </a:rPr>
              <a:t>Ensuring </a:t>
            </a:r>
            <a:r>
              <a:rPr lang="en-US" sz="1400" b="1" i="0" u="none" strike="noStrike" cap="none">
                <a:solidFill>
                  <a:schemeClr val="dk1"/>
                </a:solidFill>
                <a:latin typeface="Calibri"/>
                <a:ea typeface="Calibri"/>
                <a:cs typeface="Calibri"/>
                <a:sym typeface="Calibri"/>
              </a:rPr>
              <a:t>business continuity</a:t>
            </a:r>
            <a:endParaRPr sz="1400" b="1" i="0" u="none" strike="noStrike" cap="none">
              <a:solidFill>
                <a:srgbClr val="000000"/>
              </a:solidFill>
              <a:latin typeface="Arial"/>
              <a:ea typeface="Arial"/>
              <a:cs typeface="Arial"/>
              <a:sym typeface="Arial"/>
            </a:endParaRPr>
          </a:p>
        </p:txBody>
      </p:sp>
      <p:sp>
        <p:nvSpPr>
          <p:cNvPr id="2903" name="Google Shape;2903;p79"/>
          <p:cNvSpPr txBox="1"/>
          <p:nvPr/>
        </p:nvSpPr>
        <p:spPr>
          <a:xfrm>
            <a:off x="9097781" y="5031988"/>
            <a:ext cx="2395728" cy="116339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400"/>
              <a:buFont typeface="Calibri"/>
              <a:buNone/>
            </a:pPr>
            <a:r>
              <a:rPr lang="en-US" sz="1400" b="0" i="0" u="none" strike="noStrike" cap="none">
                <a:solidFill>
                  <a:schemeClr val="dk1"/>
                </a:solidFill>
                <a:latin typeface="Calibri"/>
                <a:ea typeface="Calibri"/>
                <a:cs typeface="Calibri"/>
                <a:sym typeface="Calibri"/>
              </a:rPr>
              <a:t>The price of Infomineo’s service is on average 30% </a:t>
            </a:r>
            <a:r>
              <a:rPr lang="en-US" sz="1400" b="1" i="0" u="none" strike="noStrike" cap="none">
                <a:solidFill>
                  <a:schemeClr val="dk1"/>
                </a:solidFill>
                <a:latin typeface="Calibri"/>
                <a:ea typeface="Calibri"/>
                <a:cs typeface="Calibri"/>
                <a:sym typeface="Calibri"/>
              </a:rPr>
              <a:t>cheaper</a:t>
            </a:r>
            <a:r>
              <a:rPr lang="en-US" sz="1400" b="0" i="0" u="none" strike="noStrike" cap="none">
                <a:solidFill>
                  <a:schemeClr val="dk1"/>
                </a:solidFill>
                <a:latin typeface="Calibri"/>
                <a:ea typeface="Calibri"/>
                <a:cs typeface="Calibri"/>
                <a:sym typeface="Calibri"/>
              </a:rPr>
              <a:t> than the cost to develop an equivalent service internally – taking into account all costs involved</a:t>
            </a:r>
            <a:endParaRPr sz="1400" b="0" i="0" u="none" strike="noStrike" cap="none">
              <a:solidFill>
                <a:srgbClr val="000000"/>
              </a:solidFill>
              <a:latin typeface="Arial"/>
              <a:ea typeface="Arial"/>
              <a:cs typeface="Arial"/>
              <a:sym typeface="Arial"/>
            </a:endParaRPr>
          </a:p>
        </p:txBody>
      </p:sp>
      <p:grpSp>
        <p:nvGrpSpPr>
          <p:cNvPr id="2904" name="Google Shape;2904;p79"/>
          <p:cNvGrpSpPr/>
          <p:nvPr/>
        </p:nvGrpSpPr>
        <p:grpSpPr>
          <a:xfrm>
            <a:off x="343578" y="1635476"/>
            <a:ext cx="640080" cy="640080"/>
            <a:chOff x="498320" y="1635476"/>
            <a:chExt cx="640080" cy="640080"/>
          </a:xfrm>
        </p:grpSpPr>
        <p:pic>
          <p:nvPicPr>
            <p:cNvPr id="2905" name="Google Shape;2905;p79"/>
            <p:cNvPicPr preferRelativeResize="0"/>
            <p:nvPr/>
          </p:nvPicPr>
          <p:blipFill rotWithShape="1">
            <a:blip r:embed="rId3">
              <a:alphaModFix/>
            </a:blip>
            <a:srcRect/>
            <a:stretch/>
          </p:blipFill>
          <p:spPr>
            <a:xfrm flipH="1">
              <a:off x="498320" y="1635476"/>
              <a:ext cx="640080" cy="640080"/>
            </a:xfrm>
            <a:prstGeom prst="rect">
              <a:avLst/>
            </a:prstGeom>
            <a:noFill/>
            <a:ln>
              <a:noFill/>
            </a:ln>
          </p:spPr>
        </p:pic>
        <p:pic>
          <p:nvPicPr>
            <p:cNvPr id="2906" name="Google Shape;2906;p79"/>
            <p:cNvPicPr preferRelativeResize="0"/>
            <p:nvPr/>
          </p:nvPicPr>
          <p:blipFill rotWithShape="1">
            <a:blip r:embed="rId4">
              <a:alphaModFix/>
            </a:blip>
            <a:srcRect/>
            <a:stretch/>
          </p:blipFill>
          <p:spPr>
            <a:xfrm>
              <a:off x="635480" y="1772636"/>
              <a:ext cx="365760" cy="365760"/>
            </a:xfrm>
            <a:prstGeom prst="rect">
              <a:avLst/>
            </a:prstGeom>
            <a:noFill/>
            <a:ln>
              <a:noFill/>
            </a:ln>
          </p:spPr>
        </p:pic>
      </p:grpSp>
      <p:grpSp>
        <p:nvGrpSpPr>
          <p:cNvPr id="2907" name="Google Shape;2907;p79"/>
          <p:cNvGrpSpPr/>
          <p:nvPr/>
        </p:nvGrpSpPr>
        <p:grpSpPr>
          <a:xfrm rot="5400000">
            <a:off x="4496629" y="4615597"/>
            <a:ext cx="288000" cy="288000"/>
            <a:chOff x="550862" y="2496468"/>
            <a:chExt cx="360000" cy="360000"/>
          </a:xfrm>
        </p:grpSpPr>
        <p:sp>
          <p:nvSpPr>
            <p:cNvPr id="2908" name="Google Shape;2908;p79"/>
            <p:cNvSpPr/>
            <p:nvPr/>
          </p:nvSpPr>
          <p:spPr>
            <a:xfrm>
              <a:off x="564471" y="2510079"/>
              <a:ext cx="332784" cy="332784"/>
            </a:xfrm>
            <a:prstGeom prst="ellipse">
              <a:avLst/>
            </a:prstGeom>
            <a:solidFill>
              <a:schemeClr val="lt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pic>
          <p:nvPicPr>
            <p:cNvPr id="2909" name="Google Shape;2909;p79"/>
            <p:cNvPicPr preferRelativeResize="0"/>
            <p:nvPr/>
          </p:nvPicPr>
          <p:blipFill rotWithShape="1">
            <a:blip r:embed="rId5">
              <a:alphaModFix/>
            </a:blip>
            <a:srcRect/>
            <a:stretch/>
          </p:blipFill>
          <p:spPr>
            <a:xfrm>
              <a:off x="550862" y="2496468"/>
              <a:ext cx="360000" cy="360000"/>
            </a:xfrm>
            <a:prstGeom prst="rect">
              <a:avLst/>
            </a:prstGeom>
            <a:noFill/>
            <a:ln>
              <a:noFill/>
            </a:ln>
          </p:spPr>
        </p:pic>
      </p:grpSp>
      <p:grpSp>
        <p:nvGrpSpPr>
          <p:cNvPr id="2910" name="Google Shape;2910;p79"/>
          <p:cNvGrpSpPr/>
          <p:nvPr/>
        </p:nvGrpSpPr>
        <p:grpSpPr>
          <a:xfrm rot="5400000">
            <a:off x="10151645" y="4615597"/>
            <a:ext cx="288000" cy="288000"/>
            <a:chOff x="550862" y="2496468"/>
            <a:chExt cx="360000" cy="360000"/>
          </a:xfrm>
        </p:grpSpPr>
        <p:sp>
          <p:nvSpPr>
            <p:cNvPr id="2911" name="Google Shape;2911;p79"/>
            <p:cNvSpPr/>
            <p:nvPr/>
          </p:nvSpPr>
          <p:spPr>
            <a:xfrm>
              <a:off x="564471" y="2510079"/>
              <a:ext cx="332784" cy="332784"/>
            </a:xfrm>
            <a:prstGeom prst="ellipse">
              <a:avLst/>
            </a:prstGeom>
            <a:solidFill>
              <a:schemeClr val="lt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pic>
          <p:nvPicPr>
            <p:cNvPr id="2912" name="Google Shape;2912;p79"/>
            <p:cNvPicPr preferRelativeResize="0"/>
            <p:nvPr/>
          </p:nvPicPr>
          <p:blipFill rotWithShape="1">
            <a:blip r:embed="rId5">
              <a:alphaModFix/>
            </a:blip>
            <a:srcRect/>
            <a:stretch/>
          </p:blipFill>
          <p:spPr>
            <a:xfrm>
              <a:off x="550862" y="2496468"/>
              <a:ext cx="360000" cy="360000"/>
            </a:xfrm>
            <a:prstGeom prst="rect">
              <a:avLst/>
            </a:prstGeom>
            <a:noFill/>
            <a:ln>
              <a:noFill/>
            </a:ln>
          </p:spPr>
        </p:pic>
      </p:grpSp>
      <p:sp>
        <p:nvSpPr>
          <p:cNvPr id="2913" name="Google Shape;2913;p79"/>
          <p:cNvSpPr txBox="1"/>
          <p:nvPr/>
        </p:nvSpPr>
        <p:spPr>
          <a:xfrm>
            <a:off x="611730" y="2378372"/>
            <a:ext cx="2399255" cy="1898981"/>
          </a:xfrm>
          <a:prstGeom prst="rect">
            <a:avLst/>
          </a:prstGeom>
          <a:noFill/>
          <a:ln>
            <a:noFill/>
          </a:ln>
        </p:spPr>
        <p:txBody>
          <a:bodyPr spcFirstLastPara="1" wrap="square" lIns="0" tIns="0" rIns="0" bIns="0" anchor="t" anchorCtr="0">
            <a:spAutoFit/>
          </a:bodyPr>
          <a:lstStyle/>
          <a:p>
            <a:pPr marL="285750" marR="0" lvl="0" indent="-285750" algn="l" rtl="0">
              <a:lnSpc>
                <a:spcPct val="90000"/>
              </a:lnSpc>
              <a:spcBef>
                <a:spcPts val="0"/>
              </a:spcBef>
              <a:spcAft>
                <a:spcPts val="0"/>
              </a:spcAft>
              <a:buClr>
                <a:schemeClr val="dk1"/>
              </a:buClr>
              <a:buSzPts val="1400"/>
              <a:buFont typeface="Arial"/>
              <a:buChar char="•"/>
            </a:pPr>
            <a:r>
              <a:rPr lang="en-US" sz="1400" b="0" i="0" u="none" strike="noStrike" cap="none">
                <a:solidFill>
                  <a:schemeClr val="dk1"/>
                </a:solidFill>
                <a:latin typeface="Calibri"/>
                <a:ea typeface="Calibri"/>
                <a:cs typeface="Calibri"/>
                <a:sym typeface="Calibri"/>
              </a:rPr>
              <a:t>Access to the largest team of research/ design/ translation </a:t>
            </a:r>
            <a:r>
              <a:rPr lang="en-US" sz="1400" b="0" i="0" u="sng" strike="noStrike" cap="none">
                <a:solidFill>
                  <a:schemeClr val="dk1"/>
                </a:solidFill>
                <a:latin typeface="Calibri"/>
                <a:ea typeface="Calibri"/>
                <a:cs typeface="Calibri"/>
                <a:sym typeface="Calibri"/>
              </a:rPr>
              <a:t>specialists</a:t>
            </a:r>
            <a:r>
              <a:rPr lang="en-US" sz="1400" b="0" i="0" u="none" strike="noStrike" cap="none">
                <a:solidFill>
                  <a:schemeClr val="dk1"/>
                </a:solidFill>
                <a:latin typeface="Calibri"/>
                <a:ea typeface="Calibri"/>
                <a:cs typeface="Calibri"/>
                <a:sym typeface="Calibri"/>
              </a:rPr>
              <a:t> in EMEA </a:t>
            </a:r>
            <a:endParaRPr sz="1400" b="0" i="0" u="none" strike="noStrike" cap="none">
              <a:solidFill>
                <a:srgbClr val="000000"/>
              </a:solidFill>
              <a:latin typeface="Arial"/>
              <a:ea typeface="Arial"/>
              <a:cs typeface="Arial"/>
              <a:sym typeface="Arial"/>
            </a:endParaRPr>
          </a:p>
          <a:p>
            <a:pPr marL="285750" marR="0" lvl="0" indent="-285750" algn="l" rtl="0">
              <a:lnSpc>
                <a:spcPct val="90000"/>
              </a:lnSpc>
              <a:spcBef>
                <a:spcPts val="600"/>
              </a:spcBef>
              <a:spcAft>
                <a:spcPts val="0"/>
              </a:spcAft>
              <a:buClr>
                <a:schemeClr val="dk1"/>
              </a:buClr>
              <a:buSzPts val="1400"/>
              <a:buFont typeface="Arial"/>
              <a:buChar char="•"/>
            </a:pPr>
            <a:r>
              <a:rPr lang="en-US" sz="1400" b="0" i="0" u="none" strike="noStrike" cap="none">
                <a:solidFill>
                  <a:schemeClr val="dk1"/>
                </a:solidFill>
                <a:latin typeface="Calibri"/>
                <a:ea typeface="Calibri"/>
                <a:cs typeface="Calibri"/>
                <a:sym typeface="Calibri"/>
              </a:rPr>
              <a:t>Customized deliverables tailored to your specific needs</a:t>
            </a:r>
            <a:endParaRPr sz="1400" b="0" i="0" u="none" strike="noStrike" cap="none">
              <a:solidFill>
                <a:srgbClr val="000000"/>
              </a:solidFill>
              <a:latin typeface="Arial"/>
              <a:ea typeface="Arial"/>
              <a:cs typeface="Arial"/>
              <a:sym typeface="Arial"/>
            </a:endParaRPr>
          </a:p>
          <a:p>
            <a:pPr marL="285750" marR="0" lvl="0" indent="-285750" algn="l" rtl="0">
              <a:lnSpc>
                <a:spcPct val="90000"/>
              </a:lnSpc>
              <a:spcBef>
                <a:spcPts val="600"/>
              </a:spcBef>
              <a:spcAft>
                <a:spcPts val="0"/>
              </a:spcAft>
              <a:buClr>
                <a:schemeClr val="dk1"/>
              </a:buClr>
              <a:buSzPts val="1400"/>
              <a:buFont typeface="Arial"/>
              <a:buChar char="•"/>
            </a:pPr>
            <a:r>
              <a:rPr lang="en-US" sz="1400" b="0" i="0" u="none" strike="noStrike" cap="none">
                <a:solidFill>
                  <a:schemeClr val="dk1"/>
                </a:solidFill>
                <a:latin typeface="Calibri"/>
                <a:ea typeface="Calibri"/>
                <a:cs typeface="Calibri"/>
                <a:sym typeface="Calibri"/>
              </a:rPr>
              <a:t>Proficient use of the best tools and sources for each service</a:t>
            </a:r>
            <a:endParaRPr sz="1400" b="0" i="0" u="none" strike="noStrike" cap="none">
              <a:solidFill>
                <a:srgbClr val="000000"/>
              </a:solidFill>
              <a:latin typeface="Arial"/>
              <a:ea typeface="Arial"/>
              <a:cs typeface="Arial"/>
              <a:sym typeface="Arial"/>
            </a:endParaRPr>
          </a:p>
        </p:txBody>
      </p:sp>
      <p:sp>
        <p:nvSpPr>
          <p:cNvPr id="2914" name="Google Shape;2914;p79"/>
          <p:cNvSpPr txBox="1"/>
          <p:nvPr/>
        </p:nvSpPr>
        <p:spPr>
          <a:xfrm>
            <a:off x="611730" y="5148943"/>
            <a:ext cx="2399255" cy="1240340"/>
          </a:xfrm>
          <a:prstGeom prst="rect">
            <a:avLst/>
          </a:prstGeom>
          <a:noFill/>
          <a:ln>
            <a:noFill/>
          </a:ln>
        </p:spPr>
        <p:txBody>
          <a:bodyPr spcFirstLastPara="1" wrap="square" lIns="0" tIns="0" rIns="0" bIns="0" anchor="t" anchorCtr="0">
            <a:spAutoFit/>
          </a:bodyPr>
          <a:lstStyle/>
          <a:p>
            <a:pPr marL="285750" marR="0" lvl="0" indent="-285750" algn="l" rtl="0">
              <a:lnSpc>
                <a:spcPct val="90000"/>
              </a:lnSpc>
              <a:spcBef>
                <a:spcPts val="0"/>
              </a:spcBef>
              <a:spcAft>
                <a:spcPts val="0"/>
              </a:spcAft>
              <a:buClr>
                <a:schemeClr val="dk1"/>
              </a:buClr>
              <a:buSzPts val="1400"/>
              <a:buFont typeface="Arial"/>
              <a:buChar char="•"/>
            </a:pPr>
            <a:r>
              <a:rPr lang="en-US" sz="1400" b="1" i="0" u="none" strike="noStrike" cap="none">
                <a:solidFill>
                  <a:schemeClr val="dk1"/>
                </a:solidFill>
                <a:latin typeface="Calibri"/>
                <a:ea typeface="Calibri"/>
                <a:cs typeface="Calibri"/>
                <a:sym typeface="Calibri"/>
              </a:rPr>
              <a:t>Consistency</a:t>
            </a:r>
            <a:r>
              <a:rPr lang="en-US" sz="1400" b="0" i="0" u="none" strike="noStrike" cap="none">
                <a:solidFill>
                  <a:schemeClr val="dk1"/>
                </a:solidFill>
                <a:latin typeface="Calibri"/>
                <a:ea typeface="Calibri"/>
                <a:cs typeface="Calibri"/>
                <a:sym typeface="Calibri"/>
              </a:rPr>
              <a:t> of delivering </a:t>
            </a:r>
            <a:r>
              <a:rPr lang="en-US" sz="1400" b="1" i="0" u="none" strike="noStrike" cap="none">
                <a:solidFill>
                  <a:schemeClr val="dk1"/>
                </a:solidFill>
                <a:latin typeface="Calibri"/>
                <a:ea typeface="Calibri"/>
                <a:cs typeface="Calibri"/>
                <a:sym typeface="Calibri"/>
              </a:rPr>
              <a:t>high quality </a:t>
            </a:r>
            <a:r>
              <a:rPr lang="en-US" sz="1400" b="0" i="0" u="none" strike="noStrike" cap="none">
                <a:solidFill>
                  <a:schemeClr val="dk1"/>
                </a:solidFill>
                <a:latin typeface="Calibri"/>
                <a:ea typeface="Calibri"/>
                <a:cs typeface="Calibri"/>
                <a:sym typeface="Calibri"/>
              </a:rPr>
              <a:t>outcome</a:t>
            </a:r>
            <a:endParaRPr sz="1400" b="0" i="0" u="none" strike="noStrike" cap="none">
              <a:solidFill>
                <a:srgbClr val="000000"/>
              </a:solidFill>
              <a:latin typeface="Arial"/>
              <a:ea typeface="Arial"/>
              <a:cs typeface="Arial"/>
              <a:sym typeface="Arial"/>
            </a:endParaRPr>
          </a:p>
          <a:p>
            <a:pPr marL="285750" marR="0" lvl="0" indent="-285750" algn="l" rtl="0">
              <a:lnSpc>
                <a:spcPct val="90000"/>
              </a:lnSpc>
              <a:spcBef>
                <a:spcPts val="600"/>
              </a:spcBef>
              <a:spcAft>
                <a:spcPts val="0"/>
              </a:spcAft>
              <a:buClr>
                <a:schemeClr val="dk1"/>
              </a:buClr>
              <a:buSzPts val="1400"/>
              <a:buFont typeface="Arial"/>
              <a:buChar char="•"/>
            </a:pPr>
            <a:r>
              <a:rPr lang="en-US" sz="1400" b="0" i="0" u="none" strike="noStrike" cap="none">
                <a:solidFill>
                  <a:schemeClr val="dk1"/>
                </a:solidFill>
                <a:latin typeface="Calibri"/>
                <a:ea typeface="Calibri"/>
                <a:cs typeface="Calibri"/>
                <a:sym typeface="Calibri"/>
              </a:rPr>
              <a:t>Better decision-making based on high-quality insights, design or translation</a:t>
            </a:r>
            <a:endParaRPr sz="1400" b="0" i="0" u="none" strike="noStrike" cap="none">
              <a:solidFill>
                <a:srgbClr val="000000"/>
              </a:solidFill>
              <a:latin typeface="Arial"/>
              <a:ea typeface="Arial"/>
              <a:cs typeface="Arial"/>
              <a:sym typeface="Arial"/>
            </a:endParaRPr>
          </a:p>
        </p:txBody>
      </p:sp>
      <p:sp>
        <p:nvSpPr>
          <p:cNvPr id="2915" name="Google Shape;2915;p79"/>
          <p:cNvSpPr txBox="1"/>
          <p:nvPr/>
        </p:nvSpPr>
        <p:spPr>
          <a:xfrm>
            <a:off x="3881269" y="1738739"/>
            <a:ext cx="2194560" cy="4985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400"/>
              <a:buFont typeface="Calibri"/>
              <a:buNone/>
            </a:pPr>
            <a:r>
              <a:rPr lang="en-US" sz="1800" b="1" i="0" u="none" strike="noStrike" cap="none">
                <a:solidFill>
                  <a:schemeClr val="dk1"/>
                </a:solidFill>
                <a:latin typeface="Calibri"/>
                <a:ea typeface="Calibri"/>
                <a:cs typeface="Calibri"/>
                <a:sym typeface="Calibri"/>
              </a:rPr>
              <a:t>Effectiveness &amp; productivity</a:t>
            </a:r>
            <a:endParaRPr sz="1800" b="1" i="0" u="none" strike="noStrike" cap="none">
              <a:solidFill>
                <a:schemeClr val="dk1"/>
              </a:solidFill>
              <a:latin typeface="Calibri"/>
              <a:ea typeface="Calibri"/>
              <a:cs typeface="Calibri"/>
              <a:sym typeface="Calibri"/>
            </a:endParaRPr>
          </a:p>
        </p:txBody>
      </p:sp>
      <p:grpSp>
        <p:nvGrpSpPr>
          <p:cNvPr id="2916" name="Google Shape;2916;p79"/>
          <p:cNvGrpSpPr/>
          <p:nvPr/>
        </p:nvGrpSpPr>
        <p:grpSpPr>
          <a:xfrm>
            <a:off x="3144099" y="1635476"/>
            <a:ext cx="640080" cy="640080"/>
            <a:chOff x="2919011" y="1660641"/>
            <a:chExt cx="640080" cy="640080"/>
          </a:xfrm>
        </p:grpSpPr>
        <p:pic>
          <p:nvPicPr>
            <p:cNvPr id="2917" name="Google Shape;2917;p79"/>
            <p:cNvPicPr preferRelativeResize="0"/>
            <p:nvPr/>
          </p:nvPicPr>
          <p:blipFill rotWithShape="1">
            <a:blip r:embed="rId3">
              <a:alphaModFix/>
            </a:blip>
            <a:srcRect/>
            <a:stretch/>
          </p:blipFill>
          <p:spPr>
            <a:xfrm flipH="1">
              <a:off x="2919011" y="1660641"/>
              <a:ext cx="640080" cy="640080"/>
            </a:xfrm>
            <a:prstGeom prst="rect">
              <a:avLst/>
            </a:prstGeom>
            <a:noFill/>
            <a:ln>
              <a:noFill/>
            </a:ln>
          </p:spPr>
        </p:pic>
        <p:pic>
          <p:nvPicPr>
            <p:cNvPr id="2918" name="Google Shape;2918;p79"/>
            <p:cNvPicPr preferRelativeResize="0"/>
            <p:nvPr/>
          </p:nvPicPr>
          <p:blipFill rotWithShape="1">
            <a:blip r:embed="rId6">
              <a:alphaModFix/>
            </a:blip>
            <a:srcRect/>
            <a:stretch/>
          </p:blipFill>
          <p:spPr>
            <a:xfrm>
              <a:off x="3056171" y="1808898"/>
              <a:ext cx="365760" cy="365760"/>
            </a:xfrm>
            <a:prstGeom prst="rect">
              <a:avLst/>
            </a:prstGeom>
            <a:noFill/>
            <a:ln>
              <a:noFill/>
            </a:ln>
          </p:spPr>
        </p:pic>
      </p:grpSp>
      <p:sp>
        <p:nvSpPr>
          <p:cNvPr id="2919" name="Google Shape;2919;p79"/>
          <p:cNvSpPr txBox="1"/>
          <p:nvPr/>
        </p:nvSpPr>
        <p:spPr>
          <a:xfrm>
            <a:off x="3439238" y="5148943"/>
            <a:ext cx="2399255" cy="1240340"/>
          </a:xfrm>
          <a:prstGeom prst="rect">
            <a:avLst/>
          </a:prstGeom>
          <a:noFill/>
          <a:ln>
            <a:noFill/>
          </a:ln>
        </p:spPr>
        <p:txBody>
          <a:bodyPr spcFirstLastPara="1" wrap="square" lIns="0" tIns="0" rIns="0" bIns="0" anchor="t" anchorCtr="0">
            <a:spAutoFit/>
          </a:bodyPr>
          <a:lstStyle/>
          <a:p>
            <a:pPr marL="285750" marR="0" lvl="0" indent="-285750" algn="l" rtl="0">
              <a:lnSpc>
                <a:spcPct val="90000"/>
              </a:lnSpc>
              <a:spcBef>
                <a:spcPts val="0"/>
              </a:spcBef>
              <a:spcAft>
                <a:spcPts val="0"/>
              </a:spcAft>
              <a:buClr>
                <a:schemeClr val="dk1"/>
              </a:buClr>
              <a:buSzPts val="1400"/>
              <a:buFont typeface="Arial"/>
              <a:buChar char="•"/>
            </a:pPr>
            <a:r>
              <a:rPr lang="en-US" sz="1400" b="1" i="0" u="none" strike="noStrike" cap="none">
                <a:solidFill>
                  <a:schemeClr val="dk1"/>
                </a:solidFill>
                <a:latin typeface="Calibri"/>
                <a:ea typeface="Calibri"/>
                <a:cs typeface="Calibri"/>
                <a:sym typeface="Calibri"/>
              </a:rPr>
              <a:t>Fast turnaround </a:t>
            </a:r>
            <a:r>
              <a:rPr lang="en-US" sz="1400" b="0" i="0" u="none" strike="noStrike" cap="none">
                <a:solidFill>
                  <a:schemeClr val="dk1"/>
                </a:solidFill>
                <a:latin typeface="Calibri"/>
                <a:ea typeface="Calibri"/>
                <a:cs typeface="Calibri"/>
                <a:sym typeface="Calibri"/>
              </a:rPr>
              <a:t>of deliverables </a:t>
            </a:r>
            <a:endParaRPr sz="1400" b="0" i="0" u="none" strike="noStrike" cap="none">
              <a:solidFill>
                <a:srgbClr val="000000"/>
              </a:solidFill>
              <a:latin typeface="Arial"/>
              <a:ea typeface="Arial"/>
              <a:cs typeface="Arial"/>
              <a:sym typeface="Arial"/>
            </a:endParaRPr>
          </a:p>
          <a:p>
            <a:pPr marL="285750" marR="0" lvl="0" indent="-285750" algn="l" rtl="0">
              <a:lnSpc>
                <a:spcPct val="90000"/>
              </a:lnSpc>
              <a:spcBef>
                <a:spcPts val="600"/>
              </a:spcBef>
              <a:spcAft>
                <a:spcPts val="0"/>
              </a:spcAft>
              <a:buClr>
                <a:schemeClr val="dk1"/>
              </a:buClr>
              <a:buSzPts val="1400"/>
              <a:buFont typeface="Arial"/>
              <a:buChar char="•"/>
            </a:pPr>
            <a:r>
              <a:rPr lang="en-US" sz="1400" b="0" i="0" u="none" strike="noStrike" cap="none">
                <a:solidFill>
                  <a:schemeClr val="dk1"/>
                </a:solidFill>
                <a:latin typeface="Calibri"/>
                <a:ea typeface="Calibri"/>
                <a:cs typeface="Calibri"/>
                <a:sym typeface="Calibri"/>
              </a:rPr>
              <a:t>Increasing your internal team’s efficiency by allowing them to focus on value-added tasks</a:t>
            </a:r>
            <a:endParaRPr sz="1400" b="0" i="0" u="none" strike="noStrike" cap="none">
              <a:solidFill>
                <a:srgbClr val="000000"/>
              </a:solidFill>
              <a:latin typeface="Arial"/>
              <a:ea typeface="Arial"/>
              <a:cs typeface="Arial"/>
              <a:sym typeface="Arial"/>
            </a:endParaRPr>
          </a:p>
        </p:txBody>
      </p:sp>
      <p:sp>
        <p:nvSpPr>
          <p:cNvPr id="2920" name="Google Shape;2920;p79"/>
          <p:cNvSpPr txBox="1"/>
          <p:nvPr/>
        </p:nvSpPr>
        <p:spPr>
          <a:xfrm>
            <a:off x="6270273" y="2378372"/>
            <a:ext cx="2395728" cy="2286780"/>
          </a:xfrm>
          <a:prstGeom prst="rect">
            <a:avLst/>
          </a:prstGeom>
          <a:noFill/>
          <a:ln>
            <a:noFill/>
          </a:ln>
        </p:spPr>
        <p:txBody>
          <a:bodyPr spcFirstLastPara="1" wrap="square" lIns="0" tIns="0" rIns="0" bIns="0" anchor="t" anchorCtr="0">
            <a:spAutoFit/>
          </a:bodyPr>
          <a:lstStyle/>
          <a:p>
            <a:pPr marL="285750" marR="0" lvl="0" indent="-285750" algn="l" rtl="0">
              <a:lnSpc>
                <a:spcPct val="90000"/>
              </a:lnSpc>
              <a:spcBef>
                <a:spcPts val="0"/>
              </a:spcBef>
              <a:spcAft>
                <a:spcPts val="0"/>
              </a:spcAft>
              <a:buClr>
                <a:schemeClr val="dk1"/>
              </a:buClr>
              <a:buSzPts val="1400"/>
              <a:buFont typeface="Arial"/>
              <a:buChar char="•"/>
            </a:pPr>
            <a:r>
              <a:rPr lang="en-US" sz="1400" b="0" i="0" u="none" strike="noStrike" cap="none">
                <a:solidFill>
                  <a:schemeClr val="dk1"/>
                </a:solidFill>
                <a:latin typeface="Calibri"/>
                <a:ea typeface="Calibri"/>
                <a:cs typeface="Calibri"/>
                <a:sym typeface="Calibri"/>
              </a:rPr>
              <a:t>Flexibility in adjusting the scope and prioritizing tasks</a:t>
            </a:r>
            <a:endParaRPr sz="1400" b="0" i="0" u="none" strike="noStrike" cap="none">
              <a:solidFill>
                <a:schemeClr val="dk1"/>
              </a:solidFill>
              <a:latin typeface="Calibri"/>
              <a:ea typeface="Calibri"/>
              <a:cs typeface="Calibri"/>
              <a:sym typeface="Calibri"/>
            </a:endParaRPr>
          </a:p>
          <a:p>
            <a:pPr marL="285750" marR="0" lvl="0" indent="-285750" algn="l" rtl="0">
              <a:lnSpc>
                <a:spcPct val="90000"/>
              </a:lnSpc>
              <a:spcBef>
                <a:spcPts val="600"/>
              </a:spcBef>
              <a:spcAft>
                <a:spcPts val="0"/>
              </a:spcAft>
              <a:buClr>
                <a:schemeClr val="dk1"/>
              </a:buClr>
              <a:buSzPts val="1400"/>
              <a:buFont typeface="Arial"/>
              <a:buChar char="•"/>
            </a:pPr>
            <a:r>
              <a:rPr lang="en-US" sz="1400" b="0" i="0" u="none" strike="noStrike" cap="none">
                <a:solidFill>
                  <a:schemeClr val="dk1"/>
                </a:solidFill>
                <a:latin typeface="Calibri"/>
                <a:ea typeface="Calibri"/>
                <a:cs typeface="Calibri"/>
                <a:sym typeface="Calibri"/>
              </a:rPr>
              <a:t>Infomineo is a </a:t>
            </a:r>
            <a:r>
              <a:rPr lang="en-US" sz="1400" b="0" i="0" u="sng" strike="noStrike" cap="none">
                <a:solidFill>
                  <a:schemeClr val="dk1"/>
                </a:solidFill>
                <a:latin typeface="Calibri"/>
                <a:ea typeface="Calibri"/>
                <a:cs typeface="Calibri"/>
                <a:sym typeface="Calibri"/>
              </a:rPr>
              <a:t>turnkey</a:t>
            </a:r>
            <a:r>
              <a:rPr lang="en-US" sz="1400" b="0" i="0" u="none" strike="noStrike" cap="none">
                <a:solidFill>
                  <a:schemeClr val="dk1"/>
                </a:solidFill>
                <a:latin typeface="Calibri"/>
                <a:ea typeface="Calibri"/>
                <a:cs typeface="Calibri"/>
                <a:sym typeface="Calibri"/>
              </a:rPr>
              <a:t> and </a:t>
            </a:r>
            <a:r>
              <a:rPr lang="en-US" sz="1400" b="0" i="0" u="sng" strike="noStrike" cap="none">
                <a:solidFill>
                  <a:schemeClr val="dk1"/>
                </a:solidFill>
                <a:latin typeface="Calibri"/>
                <a:ea typeface="Calibri"/>
                <a:cs typeface="Calibri"/>
                <a:sym typeface="Calibri"/>
              </a:rPr>
              <a:t>scalable</a:t>
            </a:r>
            <a:r>
              <a:rPr lang="en-US" sz="1400" b="0" i="0" u="none" strike="noStrike" cap="none">
                <a:solidFill>
                  <a:schemeClr val="dk1"/>
                </a:solidFill>
                <a:latin typeface="Calibri"/>
                <a:ea typeface="Calibri"/>
                <a:cs typeface="Calibri"/>
                <a:sym typeface="Calibri"/>
              </a:rPr>
              <a:t> solution – execution phase starts within days of an agreement and can scale up very quickly</a:t>
            </a:r>
            <a:endParaRPr sz="1400" b="0" i="0" u="none" strike="noStrike" cap="none">
              <a:solidFill>
                <a:srgbClr val="000000"/>
              </a:solidFill>
              <a:latin typeface="Arial"/>
              <a:ea typeface="Arial"/>
              <a:cs typeface="Arial"/>
              <a:sym typeface="Arial"/>
            </a:endParaRPr>
          </a:p>
          <a:p>
            <a:pPr marL="285750" marR="0" lvl="0" indent="-285750" algn="l" rtl="0">
              <a:lnSpc>
                <a:spcPct val="90000"/>
              </a:lnSpc>
              <a:spcBef>
                <a:spcPts val="600"/>
              </a:spcBef>
              <a:spcAft>
                <a:spcPts val="0"/>
              </a:spcAft>
              <a:buClr>
                <a:schemeClr val="dk1"/>
              </a:buClr>
              <a:buSzPts val="1400"/>
              <a:buFont typeface="Arial"/>
              <a:buChar char="•"/>
            </a:pPr>
            <a:r>
              <a:rPr lang="en-US" sz="1400" b="0" i="0" u="none" strike="noStrike" cap="none">
                <a:solidFill>
                  <a:schemeClr val="dk1"/>
                </a:solidFill>
                <a:latin typeface="Calibri"/>
                <a:ea typeface="Calibri"/>
                <a:cs typeface="Calibri"/>
                <a:sym typeface="Calibri"/>
              </a:rPr>
              <a:t>Smooth and systematic handover process for replacement and scalability purposes</a:t>
            </a:r>
            <a:endParaRPr sz="1400" b="0" i="0" u="none" strike="noStrike" cap="none">
              <a:solidFill>
                <a:srgbClr val="000000"/>
              </a:solidFill>
              <a:latin typeface="Arial"/>
              <a:ea typeface="Arial"/>
              <a:cs typeface="Arial"/>
              <a:sym typeface="Arial"/>
            </a:endParaRPr>
          </a:p>
        </p:txBody>
      </p:sp>
      <p:grpSp>
        <p:nvGrpSpPr>
          <p:cNvPr id="2921" name="Google Shape;2921;p79"/>
          <p:cNvGrpSpPr/>
          <p:nvPr/>
        </p:nvGrpSpPr>
        <p:grpSpPr>
          <a:xfrm rot="5400000">
            <a:off x="7324137" y="4615597"/>
            <a:ext cx="288000" cy="288000"/>
            <a:chOff x="550862" y="2496468"/>
            <a:chExt cx="360000" cy="360000"/>
          </a:xfrm>
        </p:grpSpPr>
        <p:sp>
          <p:nvSpPr>
            <p:cNvPr id="2922" name="Google Shape;2922;p79"/>
            <p:cNvSpPr/>
            <p:nvPr/>
          </p:nvSpPr>
          <p:spPr>
            <a:xfrm>
              <a:off x="564471" y="2510079"/>
              <a:ext cx="332784" cy="332784"/>
            </a:xfrm>
            <a:prstGeom prst="ellipse">
              <a:avLst/>
            </a:prstGeom>
            <a:solidFill>
              <a:schemeClr val="lt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pic>
          <p:nvPicPr>
            <p:cNvPr id="2923" name="Google Shape;2923;p79"/>
            <p:cNvPicPr preferRelativeResize="0"/>
            <p:nvPr/>
          </p:nvPicPr>
          <p:blipFill rotWithShape="1">
            <a:blip r:embed="rId5">
              <a:alphaModFix/>
            </a:blip>
            <a:srcRect/>
            <a:stretch/>
          </p:blipFill>
          <p:spPr>
            <a:xfrm>
              <a:off x="550862" y="2496468"/>
              <a:ext cx="360000" cy="360000"/>
            </a:xfrm>
            <a:prstGeom prst="rect">
              <a:avLst/>
            </a:prstGeom>
            <a:noFill/>
            <a:ln>
              <a:noFill/>
            </a:ln>
          </p:spPr>
        </p:pic>
      </p:grpSp>
      <p:sp>
        <p:nvSpPr>
          <p:cNvPr id="2924" name="Google Shape;2924;p79"/>
          <p:cNvSpPr txBox="1"/>
          <p:nvPr/>
        </p:nvSpPr>
        <p:spPr>
          <a:xfrm>
            <a:off x="6720593" y="1738739"/>
            <a:ext cx="2194560" cy="2492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400"/>
              <a:buFont typeface="Calibri"/>
              <a:buNone/>
            </a:pPr>
            <a:r>
              <a:rPr lang="en-US" sz="1800" b="1" i="0" u="none" strike="noStrike" cap="none">
                <a:solidFill>
                  <a:schemeClr val="dk1"/>
                </a:solidFill>
                <a:latin typeface="Calibri"/>
                <a:ea typeface="Calibri"/>
                <a:cs typeface="Calibri"/>
                <a:sym typeface="Calibri"/>
              </a:rPr>
              <a:t>Flexibility &amp; scaling</a:t>
            </a:r>
            <a:endParaRPr sz="1800" b="1" i="0" u="none" strike="noStrike" cap="none">
              <a:solidFill>
                <a:schemeClr val="dk1"/>
              </a:solidFill>
              <a:latin typeface="Calibri"/>
              <a:ea typeface="Calibri"/>
              <a:cs typeface="Calibri"/>
              <a:sym typeface="Calibri"/>
            </a:endParaRPr>
          </a:p>
        </p:txBody>
      </p:sp>
      <p:grpSp>
        <p:nvGrpSpPr>
          <p:cNvPr id="2925" name="Google Shape;2925;p79"/>
          <p:cNvGrpSpPr/>
          <p:nvPr/>
        </p:nvGrpSpPr>
        <p:grpSpPr>
          <a:xfrm>
            <a:off x="5983423" y="1635476"/>
            <a:ext cx="640080" cy="640080"/>
            <a:chOff x="5955287" y="1672359"/>
            <a:chExt cx="640080" cy="640080"/>
          </a:xfrm>
        </p:grpSpPr>
        <p:pic>
          <p:nvPicPr>
            <p:cNvPr id="2926" name="Google Shape;2926;p79"/>
            <p:cNvPicPr preferRelativeResize="0"/>
            <p:nvPr/>
          </p:nvPicPr>
          <p:blipFill rotWithShape="1">
            <a:blip r:embed="rId3">
              <a:alphaModFix/>
            </a:blip>
            <a:srcRect/>
            <a:stretch/>
          </p:blipFill>
          <p:spPr>
            <a:xfrm flipH="1">
              <a:off x="5955287" y="1672359"/>
              <a:ext cx="640080" cy="640080"/>
            </a:xfrm>
            <a:prstGeom prst="rect">
              <a:avLst/>
            </a:prstGeom>
            <a:noFill/>
            <a:ln>
              <a:noFill/>
            </a:ln>
          </p:spPr>
        </p:pic>
        <p:pic>
          <p:nvPicPr>
            <p:cNvPr id="2927" name="Google Shape;2927;p79"/>
            <p:cNvPicPr preferRelativeResize="0"/>
            <p:nvPr/>
          </p:nvPicPr>
          <p:blipFill rotWithShape="1">
            <a:blip r:embed="rId7">
              <a:alphaModFix/>
            </a:blip>
            <a:srcRect/>
            <a:stretch/>
          </p:blipFill>
          <p:spPr>
            <a:xfrm>
              <a:off x="6092447" y="1796686"/>
              <a:ext cx="365760" cy="365760"/>
            </a:xfrm>
            <a:prstGeom prst="rect">
              <a:avLst/>
            </a:prstGeom>
            <a:noFill/>
            <a:ln>
              <a:noFill/>
            </a:ln>
          </p:spPr>
        </p:pic>
      </p:grpSp>
      <p:grpSp>
        <p:nvGrpSpPr>
          <p:cNvPr id="2928" name="Google Shape;2928;p79"/>
          <p:cNvGrpSpPr/>
          <p:nvPr/>
        </p:nvGrpSpPr>
        <p:grpSpPr>
          <a:xfrm rot="5400000">
            <a:off x="1667357" y="4615597"/>
            <a:ext cx="288000" cy="288000"/>
            <a:chOff x="550862" y="2496468"/>
            <a:chExt cx="360000" cy="360000"/>
          </a:xfrm>
        </p:grpSpPr>
        <p:sp>
          <p:nvSpPr>
            <p:cNvPr id="2929" name="Google Shape;2929;p79"/>
            <p:cNvSpPr/>
            <p:nvPr/>
          </p:nvSpPr>
          <p:spPr>
            <a:xfrm>
              <a:off x="564471" y="2510079"/>
              <a:ext cx="332784" cy="332784"/>
            </a:xfrm>
            <a:prstGeom prst="ellipse">
              <a:avLst/>
            </a:prstGeom>
            <a:solidFill>
              <a:schemeClr val="lt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pic>
          <p:nvPicPr>
            <p:cNvPr id="2930" name="Google Shape;2930;p79"/>
            <p:cNvPicPr preferRelativeResize="0"/>
            <p:nvPr/>
          </p:nvPicPr>
          <p:blipFill rotWithShape="1">
            <a:blip r:embed="rId5">
              <a:alphaModFix/>
            </a:blip>
            <a:srcRect/>
            <a:stretch/>
          </p:blipFill>
          <p:spPr>
            <a:xfrm>
              <a:off x="550862" y="2496468"/>
              <a:ext cx="360000" cy="360000"/>
            </a:xfrm>
            <a:prstGeom prst="rect">
              <a:avLst/>
            </a:prstGeom>
            <a:noFill/>
            <a:ln>
              <a:noFill/>
            </a:ln>
          </p:spPr>
        </p:pic>
      </p:grpSp>
      <p:sp>
        <p:nvSpPr>
          <p:cNvPr id="2931" name="Google Shape;2931;p79"/>
          <p:cNvSpPr txBox="1"/>
          <p:nvPr/>
        </p:nvSpPr>
        <p:spPr>
          <a:xfrm>
            <a:off x="9097781" y="2378372"/>
            <a:ext cx="2395728" cy="2286780"/>
          </a:xfrm>
          <a:prstGeom prst="rect">
            <a:avLst/>
          </a:prstGeom>
          <a:noFill/>
          <a:ln>
            <a:noFill/>
          </a:ln>
        </p:spPr>
        <p:txBody>
          <a:bodyPr spcFirstLastPara="1" wrap="square" lIns="0" tIns="0" rIns="0" bIns="0" anchor="t" anchorCtr="0">
            <a:spAutoFit/>
          </a:bodyPr>
          <a:lstStyle/>
          <a:p>
            <a:pPr marL="285750" marR="0" lvl="0" indent="-285750" algn="l" rtl="0">
              <a:lnSpc>
                <a:spcPct val="90000"/>
              </a:lnSpc>
              <a:spcBef>
                <a:spcPts val="0"/>
              </a:spcBef>
              <a:spcAft>
                <a:spcPts val="0"/>
              </a:spcAft>
              <a:buClr>
                <a:schemeClr val="dk1"/>
              </a:buClr>
              <a:buSzPts val="1400"/>
              <a:buFont typeface="Arial"/>
              <a:buChar char="•"/>
            </a:pPr>
            <a:r>
              <a:rPr lang="en-US" sz="1400" b="0" i="0" u="none" strike="noStrike" cap="none">
                <a:solidFill>
                  <a:schemeClr val="dk1"/>
                </a:solidFill>
                <a:latin typeface="Calibri"/>
                <a:ea typeface="Calibri"/>
                <a:cs typeface="Calibri"/>
                <a:sym typeface="Calibri"/>
              </a:rPr>
              <a:t>Utilizing the service hours to yield the maximum output (projects, database, newsletters, ad-hoc requests)</a:t>
            </a:r>
            <a:endParaRPr sz="1400" b="0" i="0" u="none" strike="noStrike" cap="none">
              <a:solidFill>
                <a:srgbClr val="000000"/>
              </a:solidFill>
              <a:latin typeface="Arial"/>
              <a:ea typeface="Arial"/>
              <a:cs typeface="Arial"/>
              <a:sym typeface="Arial"/>
            </a:endParaRPr>
          </a:p>
          <a:p>
            <a:pPr marL="285750" marR="0" lvl="0" indent="-285750" algn="l" rtl="0">
              <a:lnSpc>
                <a:spcPct val="90000"/>
              </a:lnSpc>
              <a:spcBef>
                <a:spcPts val="600"/>
              </a:spcBef>
              <a:spcAft>
                <a:spcPts val="0"/>
              </a:spcAft>
              <a:buClr>
                <a:schemeClr val="dk1"/>
              </a:buClr>
              <a:buSzPts val="1400"/>
              <a:buFont typeface="Arial"/>
              <a:buChar char="•"/>
            </a:pPr>
            <a:r>
              <a:rPr lang="en-US" sz="1400" b="0" i="0" u="none" strike="noStrike" cap="none">
                <a:solidFill>
                  <a:schemeClr val="dk1"/>
                </a:solidFill>
                <a:latin typeface="Calibri"/>
                <a:ea typeface="Calibri"/>
                <a:cs typeface="Calibri"/>
                <a:sym typeface="Calibri"/>
              </a:rPr>
              <a:t>Retainer rates are less than the ad-hoc and project rates</a:t>
            </a:r>
            <a:endParaRPr sz="1400" b="0" i="0" u="none" strike="noStrike" cap="none">
              <a:solidFill>
                <a:srgbClr val="000000"/>
              </a:solidFill>
              <a:latin typeface="Arial"/>
              <a:ea typeface="Arial"/>
              <a:cs typeface="Arial"/>
              <a:sym typeface="Arial"/>
            </a:endParaRPr>
          </a:p>
          <a:p>
            <a:pPr marL="285750" marR="0" lvl="0" indent="-285750" algn="l" rtl="0">
              <a:lnSpc>
                <a:spcPct val="90000"/>
              </a:lnSpc>
              <a:spcBef>
                <a:spcPts val="600"/>
              </a:spcBef>
              <a:spcAft>
                <a:spcPts val="0"/>
              </a:spcAft>
              <a:buClr>
                <a:schemeClr val="dk1"/>
              </a:buClr>
              <a:buSzPts val="1400"/>
              <a:buFont typeface="Arial"/>
              <a:buChar char="•"/>
            </a:pPr>
            <a:r>
              <a:rPr lang="en-US" sz="1400" b="0" i="0" u="none" strike="noStrike" cap="none">
                <a:solidFill>
                  <a:schemeClr val="dk1"/>
                </a:solidFill>
                <a:latin typeface="Calibri"/>
                <a:ea typeface="Calibri"/>
                <a:cs typeface="Calibri"/>
                <a:sym typeface="Calibri"/>
              </a:rPr>
              <a:t>Payment takes place on a monthly basis </a:t>
            </a:r>
            <a:endParaRPr sz="1400" b="0" i="0" u="none" strike="noStrike" cap="none">
              <a:solidFill>
                <a:srgbClr val="000000"/>
              </a:solidFill>
              <a:latin typeface="Arial"/>
              <a:ea typeface="Arial"/>
              <a:cs typeface="Arial"/>
              <a:sym typeface="Arial"/>
            </a:endParaRPr>
          </a:p>
          <a:p>
            <a:pPr marL="285750" marR="0" lvl="0" indent="-196850" algn="l" rtl="0">
              <a:lnSpc>
                <a:spcPct val="90000"/>
              </a:lnSpc>
              <a:spcBef>
                <a:spcPts val="0"/>
              </a:spcBef>
              <a:spcAft>
                <a:spcPts val="0"/>
              </a:spcAft>
              <a:buClr>
                <a:schemeClr val="dk1"/>
              </a:buClr>
              <a:buSzPts val="1400"/>
              <a:buFont typeface="Arial"/>
              <a:buNone/>
            </a:pPr>
            <a:endParaRPr sz="1400" b="0" i="0" u="none" strike="noStrike" cap="none">
              <a:solidFill>
                <a:srgbClr val="000000"/>
              </a:solidFill>
              <a:latin typeface="Arial"/>
              <a:ea typeface="Arial"/>
              <a:cs typeface="Arial"/>
              <a:sym typeface="Arial"/>
            </a:endParaRPr>
          </a:p>
          <a:p>
            <a:pPr marL="285750" marR="0" lvl="0" indent="-196850" algn="l" rtl="0">
              <a:lnSpc>
                <a:spcPct val="90000"/>
              </a:lnSpc>
              <a:spcBef>
                <a:spcPts val="0"/>
              </a:spcBef>
              <a:spcAft>
                <a:spcPts val="0"/>
              </a:spcAft>
              <a:buClr>
                <a:schemeClr val="dk1"/>
              </a:buClr>
              <a:buSzPts val="1400"/>
              <a:buFont typeface="Arial"/>
              <a:buNone/>
            </a:pPr>
            <a:endParaRPr sz="1400" b="0" i="0" u="none" strike="noStrike" cap="none">
              <a:solidFill>
                <a:schemeClr val="dk1"/>
              </a:solidFill>
              <a:latin typeface="Calibri"/>
              <a:ea typeface="Calibri"/>
              <a:cs typeface="Calibri"/>
              <a:sym typeface="Calibri"/>
            </a:endParaRPr>
          </a:p>
        </p:txBody>
      </p:sp>
      <p:sp>
        <p:nvSpPr>
          <p:cNvPr id="2932" name="Google Shape;2932;p79"/>
          <p:cNvSpPr txBox="1"/>
          <p:nvPr/>
        </p:nvSpPr>
        <p:spPr>
          <a:xfrm>
            <a:off x="9574000" y="1738739"/>
            <a:ext cx="2194560" cy="2492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400"/>
              <a:buFont typeface="Calibri"/>
              <a:buNone/>
            </a:pPr>
            <a:r>
              <a:rPr lang="en-US" sz="1800" b="1" i="0" u="none" strike="noStrike" cap="none">
                <a:solidFill>
                  <a:schemeClr val="dk1"/>
                </a:solidFill>
                <a:latin typeface="Calibri"/>
                <a:ea typeface="Calibri"/>
                <a:cs typeface="Calibri"/>
                <a:sym typeface="Calibri"/>
              </a:rPr>
              <a:t>Time &amp; Money</a:t>
            </a:r>
            <a:endParaRPr sz="1800" b="1" i="0" u="none" strike="noStrike" cap="none">
              <a:solidFill>
                <a:schemeClr val="dk1"/>
              </a:solidFill>
              <a:latin typeface="Calibri"/>
              <a:ea typeface="Calibri"/>
              <a:cs typeface="Calibri"/>
              <a:sym typeface="Calibri"/>
            </a:endParaRPr>
          </a:p>
        </p:txBody>
      </p:sp>
      <p:grpSp>
        <p:nvGrpSpPr>
          <p:cNvPr id="2933" name="Google Shape;2933;p79"/>
          <p:cNvGrpSpPr/>
          <p:nvPr/>
        </p:nvGrpSpPr>
        <p:grpSpPr>
          <a:xfrm>
            <a:off x="8836830" y="1635476"/>
            <a:ext cx="640080" cy="640080"/>
            <a:chOff x="8583607" y="1838828"/>
            <a:chExt cx="640080" cy="640080"/>
          </a:xfrm>
        </p:grpSpPr>
        <p:pic>
          <p:nvPicPr>
            <p:cNvPr id="2934" name="Google Shape;2934;p79"/>
            <p:cNvPicPr preferRelativeResize="0"/>
            <p:nvPr/>
          </p:nvPicPr>
          <p:blipFill rotWithShape="1">
            <a:blip r:embed="rId3">
              <a:alphaModFix/>
            </a:blip>
            <a:srcRect/>
            <a:stretch/>
          </p:blipFill>
          <p:spPr>
            <a:xfrm flipH="1">
              <a:off x="8583607" y="1838828"/>
              <a:ext cx="640080" cy="640080"/>
            </a:xfrm>
            <a:prstGeom prst="rect">
              <a:avLst/>
            </a:prstGeom>
            <a:noFill/>
            <a:ln>
              <a:noFill/>
            </a:ln>
          </p:spPr>
        </p:pic>
        <p:pic>
          <p:nvPicPr>
            <p:cNvPr id="2935" name="Google Shape;2935;p79"/>
            <p:cNvPicPr preferRelativeResize="0"/>
            <p:nvPr/>
          </p:nvPicPr>
          <p:blipFill rotWithShape="1">
            <a:blip r:embed="rId8">
              <a:alphaModFix/>
            </a:blip>
            <a:srcRect/>
            <a:stretch/>
          </p:blipFill>
          <p:spPr>
            <a:xfrm>
              <a:off x="8720767" y="1998033"/>
              <a:ext cx="365760" cy="365760"/>
            </a:xfrm>
            <a:prstGeom prst="rect">
              <a:avLst/>
            </a:prstGeom>
            <a:noFill/>
            <a:ln>
              <a:noFill/>
            </a:ln>
          </p:spPr>
        </p:pic>
      </p:gr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2940"/>
        <p:cNvGrpSpPr/>
        <p:nvPr/>
      </p:nvGrpSpPr>
      <p:grpSpPr>
        <a:xfrm>
          <a:off x="0" y="0"/>
          <a:ext cx="0" cy="0"/>
          <a:chOff x="0" y="0"/>
          <a:chExt cx="0" cy="0"/>
        </a:xfrm>
      </p:grpSpPr>
      <p:sp>
        <p:nvSpPr>
          <p:cNvPr id="2941" name="Google Shape;2941;p42"/>
          <p:cNvSpPr/>
          <p:nvPr/>
        </p:nvSpPr>
        <p:spPr>
          <a:xfrm>
            <a:off x="1009401" y="1663176"/>
            <a:ext cx="1002800" cy="1002800"/>
          </a:xfrm>
          <a:prstGeom prst="ellipse">
            <a:avLst/>
          </a:prstGeom>
          <a:solidFill>
            <a:schemeClr val="lt1"/>
          </a:solidFill>
          <a:ln w="12700" cap="flat" cmpd="sng">
            <a:solidFill>
              <a:srgbClr val="00B0F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42" name="Google Shape;2942;p42"/>
          <p:cNvSpPr/>
          <p:nvPr/>
        </p:nvSpPr>
        <p:spPr>
          <a:xfrm>
            <a:off x="3663915" y="1663176"/>
            <a:ext cx="1002800" cy="1002800"/>
          </a:xfrm>
          <a:prstGeom prst="ellipse">
            <a:avLst/>
          </a:prstGeom>
          <a:solidFill>
            <a:schemeClr val="lt1"/>
          </a:solidFill>
          <a:ln w="12700" cap="flat" cmpd="sng">
            <a:solidFill>
              <a:srgbClr val="00B0F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43" name="Google Shape;2943;p42"/>
          <p:cNvSpPr/>
          <p:nvPr/>
        </p:nvSpPr>
        <p:spPr>
          <a:xfrm>
            <a:off x="6487047" y="1663176"/>
            <a:ext cx="1002800" cy="1002800"/>
          </a:xfrm>
          <a:prstGeom prst="ellipse">
            <a:avLst/>
          </a:prstGeom>
          <a:solidFill>
            <a:schemeClr val="lt1"/>
          </a:solidFill>
          <a:ln w="12700" cap="flat" cmpd="sng">
            <a:solidFill>
              <a:srgbClr val="00B0F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44" name="Google Shape;2944;p42"/>
          <p:cNvSpPr/>
          <p:nvPr/>
        </p:nvSpPr>
        <p:spPr>
          <a:xfrm>
            <a:off x="9654942" y="1663176"/>
            <a:ext cx="1002800" cy="1002800"/>
          </a:xfrm>
          <a:prstGeom prst="ellipse">
            <a:avLst/>
          </a:prstGeom>
          <a:solidFill>
            <a:schemeClr val="lt1"/>
          </a:solidFill>
          <a:ln w="12700" cap="flat" cmpd="sng">
            <a:solidFill>
              <a:srgbClr val="00B0F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45" name="Google Shape;2945;p42"/>
          <p:cNvSpPr txBox="1"/>
          <p:nvPr/>
        </p:nvSpPr>
        <p:spPr>
          <a:xfrm>
            <a:off x="481601" y="2832751"/>
            <a:ext cx="2058400" cy="2215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B0F0"/>
              </a:buClr>
              <a:buSzPts val="1600"/>
              <a:buFont typeface="Franklin Gothic"/>
              <a:buNone/>
            </a:pPr>
            <a:r>
              <a:rPr lang="en-US" sz="1600" b="0" i="0" u="none" strike="noStrike" cap="none">
                <a:solidFill>
                  <a:srgbClr val="00B0F0"/>
                </a:solidFill>
                <a:latin typeface="Franklin Gothic"/>
                <a:ea typeface="Franklin Gothic"/>
                <a:cs typeface="Franklin Gothic"/>
                <a:sym typeface="Franklin Gothic"/>
              </a:rPr>
              <a:t>Capabilities &amp; quality</a:t>
            </a:r>
            <a:endParaRPr sz="1400" b="0" i="0" u="none" strike="noStrike" cap="none">
              <a:solidFill>
                <a:srgbClr val="000000"/>
              </a:solidFill>
              <a:latin typeface="Arial"/>
              <a:ea typeface="Arial"/>
              <a:cs typeface="Arial"/>
              <a:sym typeface="Arial"/>
            </a:endParaRPr>
          </a:p>
        </p:txBody>
      </p:sp>
      <p:sp>
        <p:nvSpPr>
          <p:cNvPr id="2946" name="Google Shape;2946;p42"/>
          <p:cNvSpPr txBox="1"/>
          <p:nvPr/>
        </p:nvSpPr>
        <p:spPr>
          <a:xfrm>
            <a:off x="5721078" y="2832751"/>
            <a:ext cx="2534739" cy="2215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B0F0"/>
              </a:buClr>
              <a:buSzPts val="1600"/>
              <a:buFont typeface="Franklin Gothic"/>
              <a:buNone/>
            </a:pPr>
            <a:r>
              <a:rPr lang="en-US" sz="1600" b="0" i="0" u="none" strike="noStrike" cap="none">
                <a:solidFill>
                  <a:srgbClr val="00B0F0"/>
                </a:solidFill>
                <a:latin typeface="Franklin Gothic"/>
                <a:ea typeface="Franklin Gothic"/>
                <a:cs typeface="Franklin Gothic"/>
                <a:sym typeface="Franklin Gothic"/>
              </a:rPr>
              <a:t>Skills transfer</a:t>
            </a:r>
            <a:endParaRPr sz="1400" b="0" i="0" u="none" strike="noStrike" cap="none">
              <a:solidFill>
                <a:srgbClr val="000000"/>
              </a:solidFill>
              <a:latin typeface="Arial"/>
              <a:ea typeface="Arial"/>
              <a:cs typeface="Arial"/>
              <a:sym typeface="Arial"/>
            </a:endParaRPr>
          </a:p>
        </p:txBody>
      </p:sp>
      <p:sp>
        <p:nvSpPr>
          <p:cNvPr id="2947" name="Google Shape;2947;p42"/>
          <p:cNvSpPr txBox="1"/>
          <p:nvPr/>
        </p:nvSpPr>
        <p:spPr>
          <a:xfrm>
            <a:off x="3028769" y="2832751"/>
            <a:ext cx="2273093" cy="2215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B0F0"/>
              </a:buClr>
              <a:buSzPts val="1600"/>
              <a:buFont typeface="Franklin Gothic"/>
              <a:buNone/>
            </a:pPr>
            <a:r>
              <a:rPr lang="en-US" sz="1600" b="0" i="0" u="none" strike="noStrike" cap="none">
                <a:solidFill>
                  <a:srgbClr val="00B0F0"/>
                </a:solidFill>
                <a:latin typeface="Franklin Gothic"/>
                <a:ea typeface="Franklin Gothic"/>
                <a:cs typeface="Franklin Gothic"/>
                <a:sym typeface="Franklin Gothic"/>
              </a:rPr>
              <a:t>Information security</a:t>
            </a:r>
            <a:endParaRPr sz="1400" b="0" i="0" u="none" strike="noStrike" cap="none">
              <a:solidFill>
                <a:srgbClr val="000000"/>
              </a:solidFill>
              <a:latin typeface="Arial"/>
              <a:ea typeface="Arial"/>
              <a:cs typeface="Arial"/>
              <a:sym typeface="Arial"/>
            </a:endParaRPr>
          </a:p>
        </p:txBody>
      </p:sp>
      <p:sp>
        <p:nvSpPr>
          <p:cNvPr id="2948" name="Google Shape;2948;p42"/>
          <p:cNvSpPr txBox="1"/>
          <p:nvPr/>
        </p:nvSpPr>
        <p:spPr>
          <a:xfrm>
            <a:off x="8602464" y="2832751"/>
            <a:ext cx="3107756" cy="2215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B0F0"/>
              </a:buClr>
              <a:buSzPts val="1600"/>
              <a:buFont typeface="Franklin Gothic"/>
              <a:buNone/>
            </a:pPr>
            <a:r>
              <a:rPr lang="en-US" sz="1600" b="0" i="0" u="none" strike="noStrike" cap="none">
                <a:solidFill>
                  <a:srgbClr val="00B0F0"/>
                </a:solidFill>
                <a:latin typeface="Franklin Gothic"/>
                <a:ea typeface="Franklin Gothic"/>
                <a:cs typeface="Franklin Gothic"/>
                <a:sym typeface="Franklin Gothic"/>
              </a:rPr>
              <a:t>Return on investment</a:t>
            </a:r>
            <a:endParaRPr sz="1400" b="0" i="0" u="none" strike="noStrike" cap="none">
              <a:solidFill>
                <a:srgbClr val="000000"/>
              </a:solidFill>
              <a:latin typeface="Arial"/>
              <a:ea typeface="Arial"/>
              <a:cs typeface="Arial"/>
              <a:sym typeface="Arial"/>
            </a:endParaRPr>
          </a:p>
        </p:txBody>
      </p:sp>
      <p:pic>
        <p:nvPicPr>
          <p:cNvPr id="2949" name="Google Shape;2949;p42"/>
          <p:cNvPicPr preferRelativeResize="0"/>
          <p:nvPr/>
        </p:nvPicPr>
        <p:blipFill rotWithShape="1">
          <a:blip r:embed="rId3">
            <a:alphaModFix/>
          </a:blip>
          <a:srcRect/>
          <a:stretch/>
        </p:blipFill>
        <p:spPr>
          <a:xfrm>
            <a:off x="1219051" y="1906991"/>
            <a:ext cx="583500" cy="583500"/>
          </a:xfrm>
          <a:prstGeom prst="rect">
            <a:avLst/>
          </a:prstGeom>
          <a:noFill/>
          <a:ln>
            <a:noFill/>
          </a:ln>
        </p:spPr>
      </p:pic>
      <p:pic>
        <p:nvPicPr>
          <p:cNvPr id="2950" name="Google Shape;2950;p42"/>
          <p:cNvPicPr preferRelativeResize="0"/>
          <p:nvPr/>
        </p:nvPicPr>
        <p:blipFill rotWithShape="1">
          <a:blip r:embed="rId4">
            <a:alphaModFix/>
          </a:blip>
          <a:srcRect/>
          <a:stretch/>
        </p:blipFill>
        <p:spPr>
          <a:xfrm>
            <a:off x="6743881" y="1909889"/>
            <a:ext cx="489132" cy="522470"/>
          </a:xfrm>
          <a:prstGeom prst="rect">
            <a:avLst/>
          </a:prstGeom>
          <a:noFill/>
          <a:ln>
            <a:noFill/>
          </a:ln>
        </p:spPr>
      </p:pic>
      <p:pic>
        <p:nvPicPr>
          <p:cNvPr id="2951" name="Google Shape;2951;p42"/>
          <p:cNvPicPr preferRelativeResize="0"/>
          <p:nvPr/>
        </p:nvPicPr>
        <p:blipFill rotWithShape="1">
          <a:blip r:embed="rId5">
            <a:alphaModFix/>
          </a:blip>
          <a:srcRect/>
          <a:stretch/>
        </p:blipFill>
        <p:spPr>
          <a:xfrm flipH="1">
            <a:off x="3900715" y="1906862"/>
            <a:ext cx="529200" cy="529200"/>
          </a:xfrm>
          <a:prstGeom prst="rect">
            <a:avLst/>
          </a:prstGeom>
          <a:noFill/>
          <a:ln>
            <a:noFill/>
          </a:ln>
        </p:spPr>
      </p:pic>
      <p:grpSp>
        <p:nvGrpSpPr>
          <p:cNvPr id="2952" name="Google Shape;2952;p42"/>
          <p:cNvGrpSpPr/>
          <p:nvPr/>
        </p:nvGrpSpPr>
        <p:grpSpPr>
          <a:xfrm>
            <a:off x="9873284" y="1899502"/>
            <a:ext cx="566116" cy="518520"/>
            <a:chOff x="5789048" y="1217650"/>
            <a:chExt cx="478476" cy="438247"/>
          </a:xfrm>
        </p:grpSpPr>
        <p:sp>
          <p:nvSpPr>
            <p:cNvPr id="2953" name="Google Shape;2953;p42"/>
            <p:cNvSpPr/>
            <p:nvPr/>
          </p:nvSpPr>
          <p:spPr>
            <a:xfrm>
              <a:off x="5957117" y="1558257"/>
              <a:ext cx="149371" cy="64355"/>
            </a:xfrm>
            <a:custGeom>
              <a:avLst/>
              <a:gdLst/>
              <a:ahLst/>
              <a:cxnLst/>
              <a:rect l="l" t="t" r="r" b="b"/>
              <a:pathLst>
                <a:path w="149371" h="64355" extrusionOk="0">
                  <a:moveTo>
                    <a:pt x="142626" y="64355"/>
                  </a:moveTo>
                  <a:cubicBezTo>
                    <a:pt x="91065" y="64355"/>
                    <a:pt x="41237" y="45700"/>
                    <a:pt x="2320" y="11832"/>
                  </a:cubicBezTo>
                  <a:cubicBezTo>
                    <a:pt x="-490" y="9389"/>
                    <a:pt x="-794" y="5124"/>
                    <a:pt x="1662" y="2315"/>
                  </a:cubicBezTo>
                  <a:cubicBezTo>
                    <a:pt x="4104" y="-495"/>
                    <a:pt x="8369" y="-786"/>
                    <a:pt x="11179" y="1657"/>
                  </a:cubicBezTo>
                  <a:cubicBezTo>
                    <a:pt x="47641" y="33386"/>
                    <a:pt x="94317" y="50864"/>
                    <a:pt x="142626" y="50864"/>
                  </a:cubicBezTo>
                  <a:cubicBezTo>
                    <a:pt x="146359" y="50864"/>
                    <a:pt x="149371" y="53888"/>
                    <a:pt x="149371" y="57609"/>
                  </a:cubicBezTo>
                  <a:cubicBezTo>
                    <a:pt x="149371" y="61343"/>
                    <a:pt x="146359" y="64355"/>
                    <a:pt x="142626" y="64355"/>
                  </a:cubicBezTo>
                  <a:lnTo>
                    <a:pt x="142626" y="64355"/>
                  </a:ln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54" name="Google Shape;2954;p42"/>
            <p:cNvSpPr/>
            <p:nvPr/>
          </p:nvSpPr>
          <p:spPr>
            <a:xfrm>
              <a:off x="6095705" y="1587322"/>
              <a:ext cx="35652" cy="57058"/>
            </a:xfrm>
            <a:custGeom>
              <a:avLst/>
              <a:gdLst/>
              <a:ahLst/>
              <a:cxnLst/>
              <a:rect l="l" t="t" r="r" b="b"/>
              <a:pathLst>
                <a:path w="35652" h="57058" extrusionOk="0">
                  <a:moveTo>
                    <a:pt x="7176" y="57058"/>
                  </a:moveTo>
                  <a:cubicBezTo>
                    <a:pt x="6303" y="57058"/>
                    <a:pt x="5214" y="56894"/>
                    <a:pt x="4379" y="56540"/>
                  </a:cubicBezTo>
                  <a:cubicBezTo>
                    <a:pt x="1860" y="55502"/>
                    <a:pt x="0" y="53034"/>
                    <a:pt x="0" y="50300"/>
                  </a:cubicBezTo>
                  <a:lnTo>
                    <a:pt x="0" y="6750"/>
                  </a:lnTo>
                  <a:cubicBezTo>
                    <a:pt x="0" y="4017"/>
                    <a:pt x="1860" y="1561"/>
                    <a:pt x="4379" y="511"/>
                  </a:cubicBezTo>
                  <a:cubicBezTo>
                    <a:pt x="6898" y="-527"/>
                    <a:pt x="9910" y="43"/>
                    <a:pt x="11846" y="1979"/>
                  </a:cubicBezTo>
                  <a:lnTo>
                    <a:pt x="33665" y="23760"/>
                  </a:lnTo>
                  <a:cubicBezTo>
                    <a:pt x="36298" y="26393"/>
                    <a:pt x="36323" y="30670"/>
                    <a:pt x="33691" y="33303"/>
                  </a:cubicBezTo>
                  <a:lnTo>
                    <a:pt x="11935" y="55071"/>
                  </a:lnTo>
                  <a:cubicBezTo>
                    <a:pt x="10644" y="56375"/>
                    <a:pt x="8935" y="57058"/>
                    <a:pt x="7176" y="57058"/>
                  </a:cubicBezTo>
                  <a:lnTo>
                    <a:pt x="7176" y="57058"/>
                  </a:lnTo>
                  <a:close/>
                  <a:moveTo>
                    <a:pt x="14238" y="23064"/>
                  </a:moveTo>
                  <a:lnTo>
                    <a:pt x="14238" y="34012"/>
                  </a:lnTo>
                  <a:lnTo>
                    <a:pt x="19706" y="28544"/>
                  </a:lnTo>
                  <a:lnTo>
                    <a:pt x="14238" y="23064"/>
                  </a:ln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55" name="Google Shape;2955;p42"/>
            <p:cNvSpPr/>
            <p:nvPr/>
          </p:nvSpPr>
          <p:spPr>
            <a:xfrm>
              <a:off x="5885968" y="1217650"/>
              <a:ext cx="126526" cy="197920"/>
            </a:xfrm>
            <a:custGeom>
              <a:avLst/>
              <a:gdLst/>
              <a:ahLst/>
              <a:cxnLst/>
              <a:rect l="l" t="t" r="r" b="b"/>
              <a:pathLst>
                <a:path w="126526" h="197920" extrusionOk="0">
                  <a:moveTo>
                    <a:pt x="6746" y="197920"/>
                  </a:moveTo>
                  <a:cubicBezTo>
                    <a:pt x="3012" y="197920"/>
                    <a:pt x="0" y="194895"/>
                    <a:pt x="0" y="191174"/>
                  </a:cubicBezTo>
                  <a:cubicBezTo>
                    <a:pt x="0" y="151738"/>
                    <a:pt x="10897" y="113124"/>
                    <a:pt x="31501" y="79497"/>
                  </a:cubicBezTo>
                  <a:cubicBezTo>
                    <a:pt x="52118" y="45882"/>
                    <a:pt x="81581" y="18634"/>
                    <a:pt x="116715" y="738"/>
                  </a:cubicBezTo>
                  <a:cubicBezTo>
                    <a:pt x="120043" y="-958"/>
                    <a:pt x="124106" y="371"/>
                    <a:pt x="125789" y="3687"/>
                  </a:cubicBezTo>
                  <a:cubicBezTo>
                    <a:pt x="127485" y="7003"/>
                    <a:pt x="126156" y="11078"/>
                    <a:pt x="122840" y="12761"/>
                  </a:cubicBezTo>
                  <a:cubicBezTo>
                    <a:pt x="55383" y="47135"/>
                    <a:pt x="13479" y="115504"/>
                    <a:pt x="13479" y="191174"/>
                  </a:cubicBezTo>
                  <a:cubicBezTo>
                    <a:pt x="13491" y="194908"/>
                    <a:pt x="10467" y="197920"/>
                    <a:pt x="6746" y="197920"/>
                  </a:cubicBezTo>
                  <a:lnTo>
                    <a:pt x="6746" y="197920"/>
                  </a:ln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56" name="Google Shape;2956;p42"/>
            <p:cNvSpPr/>
            <p:nvPr/>
          </p:nvSpPr>
          <p:spPr>
            <a:xfrm>
              <a:off x="5864198" y="1405319"/>
              <a:ext cx="57066" cy="34741"/>
            </a:xfrm>
            <a:custGeom>
              <a:avLst/>
              <a:gdLst/>
              <a:ahLst/>
              <a:cxnLst/>
              <a:rect l="l" t="t" r="r" b="b"/>
              <a:pathLst>
                <a:path w="57066" h="34741" extrusionOk="0">
                  <a:moveTo>
                    <a:pt x="28516" y="34741"/>
                  </a:moveTo>
                  <a:cubicBezTo>
                    <a:pt x="26795" y="34741"/>
                    <a:pt x="25061" y="34083"/>
                    <a:pt x="23745" y="32767"/>
                  </a:cubicBezTo>
                  <a:lnTo>
                    <a:pt x="1976" y="11011"/>
                  </a:lnTo>
                  <a:cubicBezTo>
                    <a:pt x="53" y="9074"/>
                    <a:pt x="-530" y="6429"/>
                    <a:pt x="508" y="3911"/>
                  </a:cubicBezTo>
                  <a:cubicBezTo>
                    <a:pt x="1546" y="1380"/>
                    <a:pt x="4014" y="0"/>
                    <a:pt x="6748" y="0"/>
                  </a:cubicBezTo>
                  <a:lnTo>
                    <a:pt x="50310" y="0"/>
                  </a:lnTo>
                  <a:cubicBezTo>
                    <a:pt x="53044" y="0"/>
                    <a:pt x="55499" y="1392"/>
                    <a:pt x="56549" y="3911"/>
                  </a:cubicBezTo>
                  <a:cubicBezTo>
                    <a:pt x="57600" y="6429"/>
                    <a:pt x="57018" y="9214"/>
                    <a:pt x="55081" y="11150"/>
                  </a:cubicBezTo>
                  <a:lnTo>
                    <a:pt x="33288" y="32843"/>
                  </a:lnTo>
                  <a:cubicBezTo>
                    <a:pt x="31959" y="34146"/>
                    <a:pt x="30237" y="34741"/>
                    <a:pt x="28516" y="34741"/>
                  </a:cubicBezTo>
                  <a:lnTo>
                    <a:pt x="28516" y="34741"/>
                  </a:lnTo>
                  <a:close/>
                  <a:moveTo>
                    <a:pt x="23049" y="12327"/>
                  </a:moveTo>
                  <a:lnTo>
                    <a:pt x="28516" y="17795"/>
                  </a:lnTo>
                  <a:lnTo>
                    <a:pt x="33984" y="12327"/>
                  </a:lnTo>
                  <a:lnTo>
                    <a:pt x="23049" y="12327"/>
                  </a:ln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57" name="Google Shape;2957;p42"/>
            <p:cNvSpPr/>
            <p:nvPr/>
          </p:nvSpPr>
          <p:spPr>
            <a:xfrm>
              <a:off x="6000126" y="1309221"/>
              <a:ext cx="199245" cy="199232"/>
            </a:xfrm>
            <a:custGeom>
              <a:avLst/>
              <a:gdLst/>
              <a:ahLst/>
              <a:cxnLst/>
              <a:rect l="l" t="t" r="r" b="b"/>
              <a:pathLst>
                <a:path w="199245" h="199232" extrusionOk="0">
                  <a:moveTo>
                    <a:pt x="99616" y="199233"/>
                  </a:moveTo>
                  <a:cubicBezTo>
                    <a:pt x="44689" y="199233"/>
                    <a:pt x="0" y="154544"/>
                    <a:pt x="0" y="99604"/>
                  </a:cubicBezTo>
                  <a:cubicBezTo>
                    <a:pt x="0" y="44689"/>
                    <a:pt x="44689" y="0"/>
                    <a:pt x="99616" y="0"/>
                  </a:cubicBezTo>
                  <a:cubicBezTo>
                    <a:pt x="154556" y="0"/>
                    <a:pt x="199245" y="44676"/>
                    <a:pt x="199245" y="99604"/>
                  </a:cubicBezTo>
                  <a:cubicBezTo>
                    <a:pt x="199245" y="154544"/>
                    <a:pt x="154556" y="199233"/>
                    <a:pt x="99616" y="199233"/>
                  </a:cubicBezTo>
                  <a:lnTo>
                    <a:pt x="99616" y="199233"/>
                  </a:lnTo>
                  <a:close/>
                  <a:moveTo>
                    <a:pt x="99616" y="13504"/>
                  </a:moveTo>
                  <a:cubicBezTo>
                    <a:pt x="52131" y="13504"/>
                    <a:pt x="13491" y="52131"/>
                    <a:pt x="13491" y="99604"/>
                  </a:cubicBezTo>
                  <a:cubicBezTo>
                    <a:pt x="13491" y="147089"/>
                    <a:pt x="52131" y="185729"/>
                    <a:pt x="99616" y="185729"/>
                  </a:cubicBezTo>
                  <a:cubicBezTo>
                    <a:pt x="147102" y="185729"/>
                    <a:pt x="185741" y="147089"/>
                    <a:pt x="185741" y="99604"/>
                  </a:cubicBezTo>
                  <a:cubicBezTo>
                    <a:pt x="185754" y="52131"/>
                    <a:pt x="147115" y="13504"/>
                    <a:pt x="99616" y="13504"/>
                  </a:cubicBezTo>
                  <a:lnTo>
                    <a:pt x="99616" y="13504"/>
                  </a:ln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58" name="Google Shape;2958;p42"/>
            <p:cNvSpPr/>
            <p:nvPr/>
          </p:nvSpPr>
          <p:spPr>
            <a:xfrm>
              <a:off x="5930543" y="1242055"/>
              <a:ext cx="336981" cy="334108"/>
            </a:xfrm>
            <a:custGeom>
              <a:avLst/>
              <a:gdLst/>
              <a:ahLst/>
              <a:cxnLst/>
              <a:rect l="l" t="t" r="r" b="b"/>
              <a:pathLst>
                <a:path w="336981" h="334108" extrusionOk="0">
                  <a:moveTo>
                    <a:pt x="189892" y="334109"/>
                  </a:moveTo>
                  <a:lnTo>
                    <a:pt x="148039" y="334109"/>
                  </a:lnTo>
                  <a:cubicBezTo>
                    <a:pt x="144305" y="334109"/>
                    <a:pt x="141432" y="331173"/>
                    <a:pt x="141432" y="327439"/>
                  </a:cubicBezTo>
                  <a:lnTo>
                    <a:pt x="141432" y="298166"/>
                  </a:lnTo>
                  <a:cubicBezTo>
                    <a:pt x="137635" y="297128"/>
                    <a:pt x="131712" y="295774"/>
                    <a:pt x="127042" y="294318"/>
                  </a:cubicBezTo>
                  <a:lnTo>
                    <a:pt x="112348" y="319896"/>
                  </a:lnTo>
                  <a:cubicBezTo>
                    <a:pt x="111462" y="321453"/>
                    <a:pt x="109969" y="322592"/>
                    <a:pt x="108235" y="323060"/>
                  </a:cubicBezTo>
                  <a:cubicBezTo>
                    <a:pt x="106501" y="323528"/>
                    <a:pt x="104653" y="323288"/>
                    <a:pt x="103097" y="322389"/>
                  </a:cubicBezTo>
                  <a:lnTo>
                    <a:pt x="67368" y="301760"/>
                  </a:lnTo>
                  <a:cubicBezTo>
                    <a:pt x="65812" y="300861"/>
                    <a:pt x="64685" y="299381"/>
                    <a:pt x="64217" y="297659"/>
                  </a:cubicBezTo>
                  <a:cubicBezTo>
                    <a:pt x="63761" y="295925"/>
                    <a:pt x="64002" y="294090"/>
                    <a:pt x="64901" y="292534"/>
                  </a:cubicBezTo>
                  <a:lnTo>
                    <a:pt x="79734" y="266918"/>
                  </a:lnTo>
                  <a:cubicBezTo>
                    <a:pt x="76164" y="263640"/>
                    <a:pt x="72355" y="259843"/>
                    <a:pt x="69052" y="256248"/>
                  </a:cubicBezTo>
                  <a:lnTo>
                    <a:pt x="43486" y="271031"/>
                  </a:lnTo>
                  <a:cubicBezTo>
                    <a:pt x="41930" y="271929"/>
                    <a:pt x="40095" y="272170"/>
                    <a:pt x="38361" y="271714"/>
                  </a:cubicBezTo>
                  <a:cubicBezTo>
                    <a:pt x="36627" y="271246"/>
                    <a:pt x="35159" y="270120"/>
                    <a:pt x="34260" y="268563"/>
                  </a:cubicBezTo>
                  <a:lnTo>
                    <a:pt x="13593" y="232771"/>
                  </a:lnTo>
                  <a:cubicBezTo>
                    <a:pt x="11745" y="229557"/>
                    <a:pt x="12833" y="225443"/>
                    <a:pt x="16035" y="223570"/>
                  </a:cubicBezTo>
                  <a:lnTo>
                    <a:pt x="41664" y="208548"/>
                  </a:lnTo>
                  <a:cubicBezTo>
                    <a:pt x="40246" y="204131"/>
                    <a:pt x="38804" y="198372"/>
                    <a:pt x="37690" y="193626"/>
                  </a:cubicBezTo>
                  <a:lnTo>
                    <a:pt x="7644" y="193626"/>
                  </a:lnTo>
                  <a:cubicBezTo>
                    <a:pt x="3911" y="193626"/>
                    <a:pt x="0" y="190778"/>
                    <a:pt x="0" y="187045"/>
                  </a:cubicBezTo>
                  <a:lnTo>
                    <a:pt x="0" y="146545"/>
                  </a:lnTo>
                  <a:cubicBezTo>
                    <a:pt x="0" y="142812"/>
                    <a:pt x="3911" y="140470"/>
                    <a:pt x="7644" y="140470"/>
                  </a:cubicBezTo>
                  <a:lnTo>
                    <a:pt x="37690" y="140470"/>
                  </a:lnTo>
                  <a:cubicBezTo>
                    <a:pt x="38804" y="133826"/>
                    <a:pt x="40246" y="129725"/>
                    <a:pt x="41664" y="125321"/>
                  </a:cubicBezTo>
                  <a:lnTo>
                    <a:pt x="16061" y="110285"/>
                  </a:lnTo>
                  <a:cubicBezTo>
                    <a:pt x="12846" y="108412"/>
                    <a:pt x="11745" y="104211"/>
                    <a:pt x="13605" y="100996"/>
                  </a:cubicBezTo>
                  <a:lnTo>
                    <a:pt x="34273" y="65128"/>
                  </a:lnTo>
                  <a:cubicBezTo>
                    <a:pt x="35171" y="63572"/>
                    <a:pt x="36639" y="62420"/>
                    <a:pt x="38361" y="61964"/>
                  </a:cubicBezTo>
                  <a:cubicBezTo>
                    <a:pt x="40095" y="61496"/>
                    <a:pt x="41930" y="61737"/>
                    <a:pt x="43486" y="62622"/>
                  </a:cubicBezTo>
                  <a:lnTo>
                    <a:pt x="69052" y="77367"/>
                  </a:lnTo>
                  <a:cubicBezTo>
                    <a:pt x="72342" y="73798"/>
                    <a:pt x="76152" y="69988"/>
                    <a:pt x="79771" y="66672"/>
                  </a:cubicBezTo>
                  <a:lnTo>
                    <a:pt x="64964" y="41056"/>
                  </a:lnTo>
                  <a:cubicBezTo>
                    <a:pt x="64065" y="39500"/>
                    <a:pt x="63825" y="37665"/>
                    <a:pt x="64280" y="35931"/>
                  </a:cubicBezTo>
                  <a:cubicBezTo>
                    <a:pt x="64749" y="34197"/>
                    <a:pt x="65875" y="32729"/>
                    <a:pt x="67432" y="31830"/>
                  </a:cubicBezTo>
                  <a:lnTo>
                    <a:pt x="103223" y="11201"/>
                  </a:lnTo>
                  <a:cubicBezTo>
                    <a:pt x="104780" y="10302"/>
                    <a:pt x="106640" y="10062"/>
                    <a:pt x="108362" y="10530"/>
                  </a:cubicBezTo>
                  <a:cubicBezTo>
                    <a:pt x="110096" y="11011"/>
                    <a:pt x="111564" y="12150"/>
                    <a:pt x="112462" y="13707"/>
                  </a:cubicBezTo>
                  <a:lnTo>
                    <a:pt x="127067" y="39247"/>
                  </a:lnTo>
                  <a:cubicBezTo>
                    <a:pt x="131788" y="37779"/>
                    <a:pt x="137635" y="36424"/>
                    <a:pt x="141432" y="35399"/>
                  </a:cubicBezTo>
                  <a:lnTo>
                    <a:pt x="141432" y="6164"/>
                  </a:lnTo>
                  <a:cubicBezTo>
                    <a:pt x="141432" y="2430"/>
                    <a:pt x="144305" y="0"/>
                    <a:pt x="148039" y="0"/>
                  </a:cubicBezTo>
                  <a:lnTo>
                    <a:pt x="189892" y="0"/>
                  </a:lnTo>
                  <a:cubicBezTo>
                    <a:pt x="193626" y="0"/>
                    <a:pt x="197448" y="2430"/>
                    <a:pt x="197448" y="6164"/>
                  </a:cubicBezTo>
                  <a:lnTo>
                    <a:pt x="197448" y="35424"/>
                  </a:lnTo>
                  <a:cubicBezTo>
                    <a:pt x="201245" y="36462"/>
                    <a:pt x="206889" y="37842"/>
                    <a:pt x="211598" y="39272"/>
                  </a:cubicBezTo>
                  <a:lnTo>
                    <a:pt x="226215" y="13669"/>
                  </a:lnTo>
                  <a:cubicBezTo>
                    <a:pt x="228076" y="10441"/>
                    <a:pt x="232100" y="9340"/>
                    <a:pt x="235328" y="11201"/>
                  </a:cubicBezTo>
                  <a:lnTo>
                    <a:pt x="271018" y="31830"/>
                  </a:lnTo>
                  <a:cubicBezTo>
                    <a:pt x="274245" y="33691"/>
                    <a:pt x="275334" y="37816"/>
                    <a:pt x="273461" y="41044"/>
                  </a:cubicBezTo>
                  <a:lnTo>
                    <a:pt x="258678" y="66647"/>
                  </a:lnTo>
                  <a:cubicBezTo>
                    <a:pt x="262298" y="69976"/>
                    <a:pt x="266095" y="73773"/>
                    <a:pt x="269360" y="77316"/>
                  </a:cubicBezTo>
                  <a:lnTo>
                    <a:pt x="294951" y="62547"/>
                  </a:lnTo>
                  <a:cubicBezTo>
                    <a:pt x="296495" y="61648"/>
                    <a:pt x="298343" y="61407"/>
                    <a:pt x="300076" y="61876"/>
                  </a:cubicBezTo>
                  <a:cubicBezTo>
                    <a:pt x="301810" y="62344"/>
                    <a:pt x="303278" y="63470"/>
                    <a:pt x="304164" y="65014"/>
                  </a:cubicBezTo>
                  <a:lnTo>
                    <a:pt x="324806" y="100793"/>
                  </a:lnTo>
                  <a:cubicBezTo>
                    <a:pt x="326654" y="104008"/>
                    <a:pt x="325578" y="108121"/>
                    <a:pt x="322364" y="109994"/>
                  </a:cubicBezTo>
                  <a:lnTo>
                    <a:pt x="296761" y="125296"/>
                  </a:lnTo>
                  <a:cubicBezTo>
                    <a:pt x="298355" y="130269"/>
                    <a:pt x="299722" y="135712"/>
                    <a:pt x="300747" y="140458"/>
                  </a:cubicBezTo>
                  <a:lnTo>
                    <a:pt x="330299" y="140458"/>
                  </a:lnTo>
                  <a:cubicBezTo>
                    <a:pt x="334033" y="140458"/>
                    <a:pt x="336982" y="142799"/>
                    <a:pt x="336982" y="146533"/>
                  </a:cubicBezTo>
                  <a:lnTo>
                    <a:pt x="336982" y="187032"/>
                  </a:lnTo>
                  <a:cubicBezTo>
                    <a:pt x="336982" y="190766"/>
                    <a:pt x="334020" y="193613"/>
                    <a:pt x="330299" y="193613"/>
                  </a:cubicBezTo>
                  <a:lnTo>
                    <a:pt x="300709" y="193613"/>
                  </a:lnTo>
                  <a:cubicBezTo>
                    <a:pt x="299709" y="198359"/>
                    <a:pt x="298343" y="203523"/>
                    <a:pt x="296748" y="208510"/>
                  </a:cubicBezTo>
                  <a:lnTo>
                    <a:pt x="322338" y="223393"/>
                  </a:lnTo>
                  <a:cubicBezTo>
                    <a:pt x="325553" y="225254"/>
                    <a:pt x="326654" y="229392"/>
                    <a:pt x="324806" y="232619"/>
                  </a:cubicBezTo>
                  <a:lnTo>
                    <a:pt x="304164" y="268462"/>
                  </a:lnTo>
                  <a:cubicBezTo>
                    <a:pt x="303266" y="270018"/>
                    <a:pt x="301798" y="271157"/>
                    <a:pt x="300064" y="271613"/>
                  </a:cubicBezTo>
                  <a:cubicBezTo>
                    <a:pt x="298330" y="272081"/>
                    <a:pt x="296495" y="271841"/>
                    <a:pt x="294938" y="270955"/>
                  </a:cubicBezTo>
                  <a:lnTo>
                    <a:pt x="269335" y="256198"/>
                  </a:lnTo>
                  <a:cubicBezTo>
                    <a:pt x="266044" y="259780"/>
                    <a:pt x="262247" y="263589"/>
                    <a:pt x="258653" y="266892"/>
                  </a:cubicBezTo>
                  <a:lnTo>
                    <a:pt x="273423" y="292521"/>
                  </a:lnTo>
                  <a:cubicBezTo>
                    <a:pt x="275283" y="295748"/>
                    <a:pt x="274169" y="299874"/>
                    <a:pt x="270955" y="301735"/>
                  </a:cubicBezTo>
                  <a:lnTo>
                    <a:pt x="235214" y="322364"/>
                  </a:lnTo>
                  <a:cubicBezTo>
                    <a:pt x="231987" y="324237"/>
                    <a:pt x="227861" y="323123"/>
                    <a:pt x="226000" y="319896"/>
                  </a:cubicBezTo>
                  <a:lnTo>
                    <a:pt x="211610" y="294280"/>
                  </a:lnTo>
                  <a:cubicBezTo>
                    <a:pt x="206927" y="295723"/>
                    <a:pt x="201245" y="297102"/>
                    <a:pt x="197448" y="298153"/>
                  </a:cubicBezTo>
                  <a:lnTo>
                    <a:pt x="197448" y="327426"/>
                  </a:lnTo>
                  <a:cubicBezTo>
                    <a:pt x="197435" y="331173"/>
                    <a:pt x="193613" y="334109"/>
                    <a:pt x="189892" y="334109"/>
                  </a:cubicBezTo>
                  <a:lnTo>
                    <a:pt x="189892" y="334109"/>
                  </a:lnTo>
                  <a:close/>
                  <a:moveTo>
                    <a:pt x="154721" y="320820"/>
                  </a:moveTo>
                  <a:lnTo>
                    <a:pt x="183197" y="320820"/>
                  </a:lnTo>
                  <a:lnTo>
                    <a:pt x="183197" y="292711"/>
                  </a:lnTo>
                  <a:cubicBezTo>
                    <a:pt x="183197" y="289471"/>
                    <a:pt x="185463" y="286686"/>
                    <a:pt x="188639" y="286079"/>
                  </a:cubicBezTo>
                  <a:cubicBezTo>
                    <a:pt x="194993" y="284864"/>
                    <a:pt x="205320" y="282257"/>
                    <a:pt x="211977" y="279827"/>
                  </a:cubicBezTo>
                  <a:cubicBezTo>
                    <a:pt x="215053" y="278700"/>
                    <a:pt x="218495" y="279953"/>
                    <a:pt x="220140" y="282788"/>
                  </a:cubicBezTo>
                  <a:lnTo>
                    <a:pt x="234315" y="307329"/>
                  </a:lnTo>
                  <a:lnTo>
                    <a:pt x="258362" y="293445"/>
                  </a:lnTo>
                  <a:lnTo>
                    <a:pt x="244200" y="268879"/>
                  </a:lnTo>
                  <a:cubicBezTo>
                    <a:pt x="242567" y="266044"/>
                    <a:pt x="243200" y="262437"/>
                    <a:pt x="245706" y="260336"/>
                  </a:cubicBezTo>
                  <a:cubicBezTo>
                    <a:pt x="251097" y="255818"/>
                    <a:pt x="258261" y="248642"/>
                    <a:pt x="262741" y="243289"/>
                  </a:cubicBezTo>
                  <a:cubicBezTo>
                    <a:pt x="264842" y="240783"/>
                    <a:pt x="268449" y="240137"/>
                    <a:pt x="271284" y="241770"/>
                  </a:cubicBezTo>
                  <a:lnTo>
                    <a:pt x="295824" y="255907"/>
                  </a:lnTo>
                  <a:lnTo>
                    <a:pt x="309733" y="231746"/>
                  </a:lnTo>
                  <a:lnTo>
                    <a:pt x="285193" y="217508"/>
                  </a:lnTo>
                  <a:cubicBezTo>
                    <a:pt x="282371" y="215875"/>
                    <a:pt x="281130" y="212458"/>
                    <a:pt x="282231" y="209383"/>
                  </a:cubicBezTo>
                  <a:cubicBezTo>
                    <a:pt x="284408" y="203321"/>
                    <a:pt x="287180" y="193550"/>
                    <a:pt x="288433" y="185539"/>
                  </a:cubicBezTo>
                  <a:cubicBezTo>
                    <a:pt x="288952" y="182248"/>
                    <a:pt x="291774" y="179375"/>
                    <a:pt x="295103" y="179375"/>
                  </a:cubicBezTo>
                  <a:lnTo>
                    <a:pt x="323680" y="179375"/>
                  </a:lnTo>
                  <a:lnTo>
                    <a:pt x="323680" y="152797"/>
                  </a:lnTo>
                  <a:lnTo>
                    <a:pt x="295141" y="152797"/>
                  </a:lnTo>
                  <a:cubicBezTo>
                    <a:pt x="291825" y="152797"/>
                    <a:pt x="289002" y="150633"/>
                    <a:pt x="288483" y="147368"/>
                  </a:cubicBezTo>
                  <a:cubicBezTo>
                    <a:pt x="287180" y="139255"/>
                    <a:pt x="284408" y="130080"/>
                    <a:pt x="282244" y="124081"/>
                  </a:cubicBezTo>
                  <a:cubicBezTo>
                    <a:pt x="281143" y="121018"/>
                    <a:pt x="282383" y="117664"/>
                    <a:pt x="285193" y="116019"/>
                  </a:cubicBezTo>
                  <a:lnTo>
                    <a:pt x="309758" y="101692"/>
                  </a:lnTo>
                  <a:lnTo>
                    <a:pt x="295837" y="77582"/>
                  </a:lnTo>
                  <a:lnTo>
                    <a:pt x="271296" y="91757"/>
                  </a:lnTo>
                  <a:cubicBezTo>
                    <a:pt x="268449" y="93402"/>
                    <a:pt x="264829" y="92757"/>
                    <a:pt x="262728" y="90225"/>
                  </a:cubicBezTo>
                  <a:cubicBezTo>
                    <a:pt x="258375" y="84986"/>
                    <a:pt x="251211" y="77822"/>
                    <a:pt x="245706" y="73203"/>
                  </a:cubicBezTo>
                  <a:cubicBezTo>
                    <a:pt x="243200" y="71102"/>
                    <a:pt x="242554" y="67495"/>
                    <a:pt x="244187" y="64660"/>
                  </a:cubicBezTo>
                  <a:lnTo>
                    <a:pt x="258349" y="40120"/>
                  </a:lnTo>
                  <a:lnTo>
                    <a:pt x="234303" y="26236"/>
                  </a:lnTo>
                  <a:lnTo>
                    <a:pt x="220115" y="50751"/>
                  </a:lnTo>
                  <a:cubicBezTo>
                    <a:pt x="218482" y="53573"/>
                    <a:pt x="215053" y="54826"/>
                    <a:pt x="211990" y="53725"/>
                  </a:cubicBezTo>
                  <a:cubicBezTo>
                    <a:pt x="205257" y="51295"/>
                    <a:pt x="194955" y="48713"/>
                    <a:pt x="188639" y="47498"/>
                  </a:cubicBezTo>
                  <a:cubicBezTo>
                    <a:pt x="185463" y="46891"/>
                    <a:pt x="183197" y="44107"/>
                    <a:pt x="183197" y="40867"/>
                  </a:cubicBezTo>
                  <a:lnTo>
                    <a:pt x="183197" y="13276"/>
                  </a:lnTo>
                  <a:lnTo>
                    <a:pt x="154721" y="13276"/>
                  </a:lnTo>
                  <a:lnTo>
                    <a:pt x="154721" y="40841"/>
                  </a:lnTo>
                  <a:cubicBezTo>
                    <a:pt x="154721" y="44081"/>
                    <a:pt x="152456" y="46866"/>
                    <a:pt x="149279" y="47473"/>
                  </a:cubicBezTo>
                  <a:cubicBezTo>
                    <a:pt x="143318" y="48625"/>
                    <a:pt x="133193" y="51207"/>
                    <a:pt x="126143" y="53738"/>
                  </a:cubicBezTo>
                  <a:cubicBezTo>
                    <a:pt x="123055" y="54852"/>
                    <a:pt x="119626" y="53573"/>
                    <a:pt x="118006" y="50726"/>
                  </a:cubicBezTo>
                  <a:lnTo>
                    <a:pt x="104084" y="26274"/>
                  </a:lnTo>
                  <a:lnTo>
                    <a:pt x="80037" y="40145"/>
                  </a:lnTo>
                  <a:lnTo>
                    <a:pt x="94225" y="64685"/>
                  </a:lnTo>
                  <a:cubicBezTo>
                    <a:pt x="95870" y="67520"/>
                    <a:pt x="95237" y="71127"/>
                    <a:pt x="92719" y="73241"/>
                  </a:cubicBezTo>
                  <a:cubicBezTo>
                    <a:pt x="87277" y="77797"/>
                    <a:pt x="80101" y="84973"/>
                    <a:pt x="75633" y="90289"/>
                  </a:cubicBezTo>
                  <a:cubicBezTo>
                    <a:pt x="73532" y="92807"/>
                    <a:pt x="69925" y="93440"/>
                    <a:pt x="67090" y="91795"/>
                  </a:cubicBezTo>
                  <a:lnTo>
                    <a:pt x="42588" y="77658"/>
                  </a:lnTo>
                  <a:lnTo>
                    <a:pt x="28653" y="101818"/>
                  </a:lnTo>
                  <a:lnTo>
                    <a:pt x="53219" y="116069"/>
                  </a:lnTo>
                  <a:cubicBezTo>
                    <a:pt x="56054" y="117715"/>
                    <a:pt x="57294" y="121157"/>
                    <a:pt x="56168" y="124232"/>
                  </a:cubicBezTo>
                  <a:cubicBezTo>
                    <a:pt x="54042" y="130054"/>
                    <a:pt x="51283" y="139015"/>
                    <a:pt x="49954" y="147355"/>
                  </a:cubicBezTo>
                  <a:cubicBezTo>
                    <a:pt x="49435" y="150633"/>
                    <a:pt x="46600" y="152797"/>
                    <a:pt x="43284" y="152797"/>
                  </a:cubicBezTo>
                  <a:lnTo>
                    <a:pt x="14251" y="152797"/>
                  </a:lnTo>
                  <a:lnTo>
                    <a:pt x="14251" y="179375"/>
                  </a:lnTo>
                  <a:lnTo>
                    <a:pt x="43284" y="179375"/>
                  </a:lnTo>
                  <a:cubicBezTo>
                    <a:pt x="46600" y="179375"/>
                    <a:pt x="49435" y="182235"/>
                    <a:pt x="49954" y="185513"/>
                  </a:cubicBezTo>
                  <a:cubicBezTo>
                    <a:pt x="51283" y="193841"/>
                    <a:pt x="54042" y="203270"/>
                    <a:pt x="56168" y="209117"/>
                  </a:cubicBezTo>
                  <a:cubicBezTo>
                    <a:pt x="57294" y="212193"/>
                    <a:pt x="56054" y="215736"/>
                    <a:pt x="53232" y="217382"/>
                  </a:cubicBezTo>
                  <a:lnTo>
                    <a:pt x="28653" y="231772"/>
                  </a:lnTo>
                  <a:lnTo>
                    <a:pt x="42575" y="255919"/>
                  </a:lnTo>
                  <a:lnTo>
                    <a:pt x="67065" y="241770"/>
                  </a:lnTo>
                  <a:cubicBezTo>
                    <a:pt x="69900" y="240137"/>
                    <a:pt x="73494" y="240770"/>
                    <a:pt x="75608" y="243276"/>
                  </a:cubicBezTo>
                  <a:cubicBezTo>
                    <a:pt x="80176" y="248680"/>
                    <a:pt x="87352" y="255856"/>
                    <a:pt x="92681" y="260336"/>
                  </a:cubicBezTo>
                  <a:cubicBezTo>
                    <a:pt x="95199" y="262437"/>
                    <a:pt x="95832" y="266057"/>
                    <a:pt x="94187" y="268892"/>
                  </a:cubicBezTo>
                  <a:lnTo>
                    <a:pt x="79974" y="293445"/>
                  </a:lnTo>
                  <a:lnTo>
                    <a:pt x="103983" y="307303"/>
                  </a:lnTo>
                  <a:lnTo>
                    <a:pt x="118018" y="282788"/>
                  </a:lnTo>
                  <a:cubicBezTo>
                    <a:pt x="119651" y="279941"/>
                    <a:pt x="123106" y="278675"/>
                    <a:pt x="126194" y="279802"/>
                  </a:cubicBezTo>
                  <a:cubicBezTo>
                    <a:pt x="133003" y="282295"/>
                    <a:pt x="143153" y="284889"/>
                    <a:pt x="149279" y="286054"/>
                  </a:cubicBezTo>
                  <a:cubicBezTo>
                    <a:pt x="152456" y="286661"/>
                    <a:pt x="154721" y="289445"/>
                    <a:pt x="154721" y="292685"/>
                  </a:cubicBezTo>
                  <a:lnTo>
                    <a:pt x="154721" y="320820"/>
                  </a:ln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59" name="Google Shape;2959;p42"/>
            <p:cNvSpPr/>
            <p:nvPr/>
          </p:nvSpPr>
          <p:spPr>
            <a:xfrm>
              <a:off x="5850373" y="1483116"/>
              <a:ext cx="46834" cy="97186"/>
            </a:xfrm>
            <a:custGeom>
              <a:avLst/>
              <a:gdLst/>
              <a:ahLst/>
              <a:cxnLst/>
              <a:rect l="l" t="t" r="r" b="b"/>
              <a:pathLst>
                <a:path w="46834" h="97186" extrusionOk="0">
                  <a:moveTo>
                    <a:pt x="23015" y="97186"/>
                  </a:moveTo>
                  <a:cubicBezTo>
                    <a:pt x="19282" y="97186"/>
                    <a:pt x="16257" y="94162"/>
                    <a:pt x="16257" y="90441"/>
                  </a:cubicBezTo>
                  <a:lnTo>
                    <a:pt x="16257" y="81923"/>
                  </a:lnTo>
                  <a:cubicBezTo>
                    <a:pt x="12017" y="81354"/>
                    <a:pt x="7739" y="80037"/>
                    <a:pt x="3677" y="77962"/>
                  </a:cubicBezTo>
                  <a:cubicBezTo>
                    <a:pt x="361" y="76266"/>
                    <a:pt x="-955" y="72203"/>
                    <a:pt x="740" y="68875"/>
                  </a:cubicBezTo>
                  <a:cubicBezTo>
                    <a:pt x="2436" y="65559"/>
                    <a:pt x="6512" y="64242"/>
                    <a:pt x="9828" y="65938"/>
                  </a:cubicBezTo>
                  <a:cubicBezTo>
                    <a:pt x="18775" y="70520"/>
                    <a:pt x="26572" y="68849"/>
                    <a:pt x="30533" y="66040"/>
                  </a:cubicBezTo>
                  <a:cubicBezTo>
                    <a:pt x="32431" y="64685"/>
                    <a:pt x="33507" y="63015"/>
                    <a:pt x="33317" y="61686"/>
                  </a:cubicBezTo>
                  <a:cubicBezTo>
                    <a:pt x="33064" y="59876"/>
                    <a:pt x="30381" y="56915"/>
                    <a:pt x="23648" y="54523"/>
                  </a:cubicBezTo>
                  <a:cubicBezTo>
                    <a:pt x="5727" y="48144"/>
                    <a:pt x="614" y="37551"/>
                    <a:pt x="1804" y="29780"/>
                  </a:cubicBezTo>
                  <a:cubicBezTo>
                    <a:pt x="2841" y="22958"/>
                    <a:pt x="8284" y="17858"/>
                    <a:pt x="16270" y="15795"/>
                  </a:cubicBezTo>
                  <a:lnTo>
                    <a:pt x="16270" y="6746"/>
                  </a:lnTo>
                  <a:cubicBezTo>
                    <a:pt x="16270" y="3012"/>
                    <a:pt x="19294" y="0"/>
                    <a:pt x="23028" y="0"/>
                  </a:cubicBezTo>
                  <a:cubicBezTo>
                    <a:pt x="26761" y="0"/>
                    <a:pt x="29774" y="3025"/>
                    <a:pt x="29774" y="6746"/>
                  </a:cubicBezTo>
                  <a:lnTo>
                    <a:pt x="29774" y="15137"/>
                  </a:lnTo>
                  <a:cubicBezTo>
                    <a:pt x="33026" y="15516"/>
                    <a:pt x="36393" y="16263"/>
                    <a:pt x="39873" y="17339"/>
                  </a:cubicBezTo>
                  <a:cubicBezTo>
                    <a:pt x="43430" y="18453"/>
                    <a:pt x="45429" y="22224"/>
                    <a:pt x="44315" y="25793"/>
                  </a:cubicBezTo>
                  <a:cubicBezTo>
                    <a:pt x="43202" y="29350"/>
                    <a:pt x="39430" y="31337"/>
                    <a:pt x="35861" y="30235"/>
                  </a:cubicBezTo>
                  <a:cubicBezTo>
                    <a:pt x="31406" y="28843"/>
                    <a:pt x="27293" y="28198"/>
                    <a:pt x="23635" y="28324"/>
                  </a:cubicBezTo>
                  <a:cubicBezTo>
                    <a:pt x="23446" y="28350"/>
                    <a:pt x="23243" y="28350"/>
                    <a:pt x="23041" y="28350"/>
                  </a:cubicBezTo>
                  <a:cubicBezTo>
                    <a:pt x="17965" y="28666"/>
                    <a:pt x="15320" y="30577"/>
                    <a:pt x="15130" y="31830"/>
                  </a:cubicBezTo>
                  <a:cubicBezTo>
                    <a:pt x="14877" y="33488"/>
                    <a:pt x="17725" y="38108"/>
                    <a:pt x="28154" y="41816"/>
                  </a:cubicBezTo>
                  <a:cubicBezTo>
                    <a:pt x="42809" y="47005"/>
                    <a:pt x="46049" y="55333"/>
                    <a:pt x="46682" y="59825"/>
                  </a:cubicBezTo>
                  <a:cubicBezTo>
                    <a:pt x="47581" y="66267"/>
                    <a:pt x="44467" y="72697"/>
                    <a:pt x="38354" y="77050"/>
                  </a:cubicBezTo>
                  <a:cubicBezTo>
                    <a:pt x="35785" y="78886"/>
                    <a:pt x="32874" y="80240"/>
                    <a:pt x="29761" y="81100"/>
                  </a:cubicBezTo>
                  <a:lnTo>
                    <a:pt x="29761" y="90453"/>
                  </a:lnTo>
                  <a:cubicBezTo>
                    <a:pt x="29761" y="94162"/>
                    <a:pt x="26736" y="97186"/>
                    <a:pt x="23015" y="97186"/>
                  </a:cubicBezTo>
                  <a:lnTo>
                    <a:pt x="23015" y="97186"/>
                  </a:ln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60" name="Google Shape;2960;p42"/>
            <p:cNvSpPr/>
            <p:nvPr/>
          </p:nvSpPr>
          <p:spPr>
            <a:xfrm>
              <a:off x="5789048" y="1447059"/>
              <a:ext cx="169452" cy="169414"/>
            </a:xfrm>
            <a:custGeom>
              <a:avLst/>
              <a:gdLst/>
              <a:ahLst/>
              <a:cxnLst/>
              <a:rect l="l" t="t" r="r" b="b"/>
              <a:pathLst>
                <a:path w="169452" h="169414" extrusionOk="0">
                  <a:moveTo>
                    <a:pt x="84733" y="169415"/>
                  </a:moveTo>
                  <a:cubicBezTo>
                    <a:pt x="38006" y="169415"/>
                    <a:pt x="0" y="131421"/>
                    <a:pt x="0" y="84720"/>
                  </a:cubicBezTo>
                  <a:cubicBezTo>
                    <a:pt x="0" y="38006"/>
                    <a:pt x="38006" y="0"/>
                    <a:pt x="84733" y="0"/>
                  </a:cubicBezTo>
                  <a:cubicBezTo>
                    <a:pt x="131446" y="0"/>
                    <a:pt x="169453" y="38006"/>
                    <a:pt x="169453" y="84720"/>
                  </a:cubicBezTo>
                  <a:cubicBezTo>
                    <a:pt x="169453" y="131421"/>
                    <a:pt x="131446" y="169415"/>
                    <a:pt x="84733" y="169415"/>
                  </a:cubicBezTo>
                  <a:lnTo>
                    <a:pt x="84733" y="169415"/>
                  </a:lnTo>
                  <a:close/>
                  <a:moveTo>
                    <a:pt x="84733" y="13504"/>
                  </a:moveTo>
                  <a:cubicBezTo>
                    <a:pt x="45461" y="13504"/>
                    <a:pt x="13504" y="45461"/>
                    <a:pt x="13504" y="84720"/>
                  </a:cubicBezTo>
                  <a:cubicBezTo>
                    <a:pt x="13504" y="123979"/>
                    <a:pt x="45461" y="155911"/>
                    <a:pt x="84733" y="155911"/>
                  </a:cubicBezTo>
                  <a:cubicBezTo>
                    <a:pt x="124005" y="155911"/>
                    <a:pt x="155949" y="123979"/>
                    <a:pt x="155949" y="84720"/>
                  </a:cubicBezTo>
                  <a:cubicBezTo>
                    <a:pt x="155949" y="45461"/>
                    <a:pt x="124005" y="13504"/>
                    <a:pt x="84733" y="13504"/>
                  </a:cubicBezTo>
                  <a:lnTo>
                    <a:pt x="84733" y="13504"/>
                  </a:ln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61" name="Google Shape;2961;p42"/>
            <p:cNvSpPr/>
            <p:nvPr/>
          </p:nvSpPr>
          <p:spPr>
            <a:xfrm>
              <a:off x="6071424" y="1348088"/>
              <a:ext cx="56669" cy="121511"/>
            </a:xfrm>
            <a:custGeom>
              <a:avLst/>
              <a:gdLst/>
              <a:ahLst/>
              <a:cxnLst/>
              <a:rect l="l" t="t" r="r" b="b"/>
              <a:pathLst>
                <a:path w="56669" h="121511" extrusionOk="0">
                  <a:moveTo>
                    <a:pt x="28761" y="121511"/>
                  </a:moveTo>
                  <a:cubicBezTo>
                    <a:pt x="25028" y="121511"/>
                    <a:pt x="22015" y="118487"/>
                    <a:pt x="22015" y="114766"/>
                  </a:cubicBezTo>
                  <a:lnTo>
                    <a:pt x="22015" y="102122"/>
                  </a:lnTo>
                  <a:cubicBezTo>
                    <a:pt x="15877" y="101667"/>
                    <a:pt x="9600" y="99920"/>
                    <a:pt x="3677" y="96895"/>
                  </a:cubicBezTo>
                  <a:cubicBezTo>
                    <a:pt x="361" y="95199"/>
                    <a:pt x="-955" y="91124"/>
                    <a:pt x="740" y="87808"/>
                  </a:cubicBezTo>
                  <a:cubicBezTo>
                    <a:pt x="2436" y="84492"/>
                    <a:pt x="6512" y="83176"/>
                    <a:pt x="9828" y="84872"/>
                  </a:cubicBezTo>
                  <a:cubicBezTo>
                    <a:pt x="22205" y="91213"/>
                    <a:pt x="33115" y="88833"/>
                    <a:pt x="38684" y="84872"/>
                  </a:cubicBezTo>
                  <a:cubicBezTo>
                    <a:pt x="41797" y="82657"/>
                    <a:pt x="43455" y="79835"/>
                    <a:pt x="43113" y="77342"/>
                  </a:cubicBezTo>
                  <a:cubicBezTo>
                    <a:pt x="42556" y="73405"/>
                    <a:pt x="37380" y="69330"/>
                    <a:pt x="29255" y="66445"/>
                  </a:cubicBezTo>
                  <a:cubicBezTo>
                    <a:pt x="7195" y="58611"/>
                    <a:pt x="867" y="45878"/>
                    <a:pt x="2285" y="36576"/>
                  </a:cubicBezTo>
                  <a:cubicBezTo>
                    <a:pt x="3613" y="27894"/>
                    <a:pt x="11131" y="21566"/>
                    <a:pt x="22015" y="19554"/>
                  </a:cubicBezTo>
                  <a:lnTo>
                    <a:pt x="22015" y="6746"/>
                  </a:lnTo>
                  <a:cubicBezTo>
                    <a:pt x="22015" y="3025"/>
                    <a:pt x="25040" y="0"/>
                    <a:pt x="28774" y="0"/>
                  </a:cubicBezTo>
                  <a:cubicBezTo>
                    <a:pt x="32507" y="0"/>
                    <a:pt x="35519" y="3025"/>
                    <a:pt x="35519" y="6746"/>
                  </a:cubicBezTo>
                  <a:lnTo>
                    <a:pt x="35519" y="19174"/>
                  </a:lnTo>
                  <a:cubicBezTo>
                    <a:pt x="39873" y="19630"/>
                    <a:pt x="44417" y="20604"/>
                    <a:pt x="49087" y="22085"/>
                  </a:cubicBezTo>
                  <a:cubicBezTo>
                    <a:pt x="52643" y="23211"/>
                    <a:pt x="54605" y="27008"/>
                    <a:pt x="53479" y="30565"/>
                  </a:cubicBezTo>
                  <a:cubicBezTo>
                    <a:pt x="52352" y="34121"/>
                    <a:pt x="48555" y="36083"/>
                    <a:pt x="44999" y="34956"/>
                  </a:cubicBezTo>
                  <a:cubicBezTo>
                    <a:pt x="39354" y="33159"/>
                    <a:pt x="34064" y="32298"/>
                    <a:pt x="29267" y="32374"/>
                  </a:cubicBezTo>
                  <a:cubicBezTo>
                    <a:pt x="29065" y="32387"/>
                    <a:pt x="28850" y="32387"/>
                    <a:pt x="28635" y="32387"/>
                  </a:cubicBezTo>
                  <a:cubicBezTo>
                    <a:pt x="28597" y="32387"/>
                    <a:pt x="28571" y="32387"/>
                    <a:pt x="28533" y="32387"/>
                  </a:cubicBezTo>
                  <a:cubicBezTo>
                    <a:pt x="20282" y="32691"/>
                    <a:pt x="16067" y="35829"/>
                    <a:pt x="15649" y="38601"/>
                  </a:cubicBezTo>
                  <a:cubicBezTo>
                    <a:pt x="15143" y="41904"/>
                    <a:pt x="19560" y="48637"/>
                    <a:pt x="33786" y="53700"/>
                  </a:cubicBezTo>
                  <a:cubicBezTo>
                    <a:pt x="51795" y="60091"/>
                    <a:pt x="55744" y="70064"/>
                    <a:pt x="56491" y="75443"/>
                  </a:cubicBezTo>
                  <a:cubicBezTo>
                    <a:pt x="57554" y="83024"/>
                    <a:pt x="53820" y="90643"/>
                    <a:pt x="46518" y="95832"/>
                  </a:cubicBezTo>
                  <a:cubicBezTo>
                    <a:pt x="43240" y="98161"/>
                    <a:pt x="39506" y="99857"/>
                    <a:pt x="35519" y="100907"/>
                  </a:cubicBezTo>
                  <a:lnTo>
                    <a:pt x="35519" y="114715"/>
                  </a:lnTo>
                  <a:cubicBezTo>
                    <a:pt x="35507" y="118487"/>
                    <a:pt x="32482" y="121511"/>
                    <a:pt x="28761" y="121511"/>
                  </a:cubicBezTo>
                  <a:lnTo>
                    <a:pt x="28761" y="121511"/>
                  </a:ln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62" name="Google Shape;2962;p42"/>
            <p:cNvSpPr/>
            <p:nvPr/>
          </p:nvSpPr>
          <p:spPr>
            <a:xfrm>
              <a:off x="5790035" y="1341950"/>
              <a:ext cx="47473" cy="47473"/>
            </a:xfrm>
            <a:custGeom>
              <a:avLst/>
              <a:gdLst/>
              <a:ahLst/>
              <a:cxnLst/>
              <a:rect l="l" t="t" r="r" b="b"/>
              <a:pathLst>
                <a:path w="47473" h="47473" extrusionOk="0">
                  <a:moveTo>
                    <a:pt x="23743" y="47473"/>
                  </a:moveTo>
                  <a:cubicBezTo>
                    <a:pt x="10656" y="47473"/>
                    <a:pt x="0" y="36817"/>
                    <a:pt x="0" y="23730"/>
                  </a:cubicBezTo>
                  <a:cubicBezTo>
                    <a:pt x="0" y="10644"/>
                    <a:pt x="10656" y="0"/>
                    <a:pt x="23743" y="0"/>
                  </a:cubicBezTo>
                  <a:cubicBezTo>
                    <a:pt x="36829" y="0"/>
                    <a:pt x="47473" y="10644"/>
                    <a:pt x="47473" y="23730"/>
                  </a:cubicBezTo>
                  <a:cubicBezTo>
                    <a:pt x="47473" y="36817"/>
                    <a:pt x="36829" y="47473"/>
                    <a:pt x="23743" y="47473"/>
                  </a:cubicBezTo>
                  <a:lnTo>
                    <a:pt x="23743" y="47473"/>
                  </a:lnTo>
                  <a:close/>
                  <a:moveTo>
                    <a:pt x="23743" y="13491"/>
                  </a:moveTo>
                  <a:cubicBezTo>
                    <a:pt x="18098" y="13491"/>
                    <a:pt x="13491" y="18086"/>
                    <a:pt x="13491" y="23718"/>
                  </a:cubicBezTo>
                  <a:cubicBezTo>
                    <a:pt x="13491" y="29362"/>
                    <a:pt x="18086" y="33956"/>
                    <a:pt x="23743" y="33956"/>
                  </a:cubicBezTo>
                  <a:cubicBezTo>
                    <a:pt x="29375" y="33956"/>
                    <a:pt x="33969" y="29362"/>
                    <a:pt x="33969" y="23718"/>
                  </a:cubicBezTo>
                  <a:cubicBezTo>
                    <a:pt x="33982" y="18086"/>
                    <a:pt x="29387" y="13491"/>
                    <a:pt x="23743" y="13491"/>
                  </a:cubicBezTo>
                  <a:lnTo>
                    <a:pt x="23743" y="13491"/>
                  </a:ln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63" name="Google Shape;2963;p42"/>
            <p:cNvSpPr/>
            <p:nvPr/>
          </p:nvSpPr>
          <p:spPr>
            <a:xfrm>
              <a:off x="5854480" y="1241460"/>
              <a:ext cx="48599" cy="47245"/>
            </a:xfrm>
            <a:custGeom>
              <a:avLst/>
              <a:gdLst/>
              <a:ahLst/>
              <a:cxnLst/>
              <a:rect l="l" t="t" r="r" b="b"/>
              <a:pathLst>
                <a:path w="48599" h="47245" extrusionOk="0">
                  <a:moveTo>
                    <a:pt x="24300" y="47245"/>
                  </a:moveTo>
                  <a:cubicBezTo>
                    <a:pt x="20566" y="47245"/>
                    <a:pt x="17554" y="44220"/>
                    <a:pt x="17554" y="40500"/>
                  </a:cubicBezTo>
                  <a:lnTo>
                    <a:pt x="17554" y="29691"/>
                  </a:lnTo>
                  <a:lnTo>
                    <a:pt x="6746" y="29691"/>
                  </a:lnTo>
                  <a:cubicBezTo>
                    <a:pt x="3012" y="29691"/>
                    <a:pt x="0" y="26666"/>
                    <a:pt x="0" y="22946"/>
                  </a:cubicBezTo>
                  <a:cubicBezTo>
                    <a:pt x="0" y="19225"/>
                    <a:pt x="3025" y="16187"/>
                    <a:pt x="6746" y="16187"/>
                  </a:cubicBezTo>
                  <a:lnTo>
                    <a:pt x="17554" y="16187"/>
                  </a:lnTo>
                  <a:lnTo>
                    <a:pt x="17554" y="6746"/>
                  </a:lnTo>
                  <a:cubicBezTo>
                    <a:pt x="17554" y="3012"/>
                    <a:pt x="20579" y="0"/>
                    <a:pt x="24300" y="0"/>
                  </a:cubicBezTo>
                  <a:cubicBezTo>
                    <a:pt x="28021" y="0"/>
                    <a:pt x="31045" y="3025"/>
                    <a:pt x="31045" y="6746"/>
                  </a:cubicBezTo>
                  <a:lnTo>
                    <a:pt x="31045" y="16187"/>
                  </a:lnTo>
                  <a:lnTo>
                    <a:pt x="41854" y="16187"/>
                  </a:lnTo>
                  <a:cubicBezTo>
                    <a:pt x="45575" y="16187"/>
                    <a:pt x="48599" y="19212"/>
                    <a:pt x="48599" y="22946"/>
                  </a:cubicBezTo>
                  <a:cubicBezTo>
                    <a:pt x="48599" y="26679"/>
                    <a:pt x="45587" y="29691"/>
                    <a:pt x="41854" y="29691"/>
                  </a:cubicBezTo>
                  <a:lnTo>
                    <a:pt x="31045" y="29691"/>
                  </a:lnTo>
                  <a:lnTo>
                    <a:pt x="31045" y="40500"/>
                  </a:lnTo>
                  <a:cubicBezTo>
                    <a:pt x="31058" y="44220"/>
                    <a:pt x="28033" y="47245"/>
                    <a:pt x="24300" y="47245"/>
                  </a:cubicBezTo>
                  <a:lnTo>
                    <a:pt x="24300" y="47245"/>
                  </a:ln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64" name="Google Shape;2964;p42"/>
            <p:cNvSpPr/>
            <p:nvPr/>
          </p:nvSpPr>
          <p:spPr>
            <a:xfrm>
              <a:off x="5930867" y="1604560"/>
              <a:ext cx="47520" cy="47465"/>
            </a:xfrm>
            <a:custGeom>
              <a:avLst/>
              <a:gdLst/>
              <a:ahLst/>
              <a:cxnLst/>
              <a:rect l="l" t="t" r="r" b="b"/>
              <a:pathLst>
                <a:path w="47520" h="47465" extrusionOk="0">
                  <a:moveTo>
                    <a:pt x="40770" y="47465"/>
                  </a:moveTo>
                  <a:cubicBezTo>
                    <a:pt x="39049" y="47465"/>
                    <a:pt x="37315" y="46807"/>
                    <a:pt x="35999" y="45491"/>
                  </a:cubicBezTo>
                  <a:lnTo>
                    <a:pt x="23760" y="33265"/>
                  </a:lnTo>
                  <a:lnTo>
                    <a:pt x="11522" y="45491"/>
                  </a:lnTo>
                  <a:cubicBezTo>
                    <a:pt x="8889" y="48123"/>
                    <a:pt x="4612" y="48123"/>
                    <a:pt x="1979" y="45491"/>
                  </a:cubicBezTo>
                  <a:cubicBezTo>
                    <a:pt x="-653" y="42846"/>
                    <a:pt x="-653" y="38581"/>
                    <a:pt x="1979" y="35948"/>
                  </a:cubicBezTo>
                  <a:lnTo>
                    <a:pt x="14205" y="23735"/>
                  </a:lnTo>
                  <a:lnTo>
                    <a:pt x="1979" y="11522"/>
                  </a:lnTo>
                  <a:cubicBezTo>
                    <a:pt x="-653" y="8889"/>
                    <a:pt x="-666" y="4612"/>
                    <a:pt x="1979" y="1979"/>
                  </a:cubicBezTo>
                  <a:cubicBezTo>
                    <a:pt x="4612" y="-653"/>
                    <a:pt x="8889" y="-666"/>
                    <a:pt x="11522" y="1979"/>
                  </a:cubicBezTo>
                  <a:lnTo>
                    <a:pt x="23760" y="14205"/>
                  </a:lnTo>
                  <a:lnTo>
                    <a:pt x="35999" y="1979"/>
                  </a:lnTo>
                  <a:cubicBezTo>
                    <a:pt x="38631" y="-653"/>
                    <a:pt x="42909" y="-653"/>
                    <a:pt x="45541" y="1979"/>
                  </a:cubicBezTo>
                  <a:cubicBezTo>
                    <a:pt x="48174" y="4612"/>
                    <a:pt x="48174" y="8889"/>
                    <a:pt x="45541" y="11522"/>
                  </a:cubicBezTo>
                  <a:lnTo>
                    <a:pt x="33316" y="23735"/>
                  </a:lnTo>
                  <a:lnTo>
                    <a:pt x="45541" y="35948"/>
                  </a:lnTo>
                  <a:cubicBezTo>
                    <a:pt x="48174" y="38581"/>
                    <a:pt x="48187" y="42858"/>
                    <a:pt x="45541" y="45491"/>
                  </a:cubicBezTo>
                  <a:cubicBezTo>
                    <a:pt x="44225" y="46807"/>
                    <a:pt x="42491" y="47465"/>
                    <a:pt x="40770" y="47465"/>
                  </a:cubicBezTo>
                  <a:lnTo>
                    <a:pt x="40770" y="47465"/>
                  </a:ln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65" name="Google Shape;2965;p42"/>
            <p:cNvSpPr/>
            <p:nvPr/>
          </p:nvSpPr>
          <p:spPr>
            <a:xfrm>
              <a:off x="6154189" y="1608652"/>
              <a:ext cx="47245" cy="47245"/>
            </a:xfrm>
            <a:custGeom>
              <a:avLst/>
              <a:gdLst/>
              <a:ahLst/>
              <a:cxnLst/>
              <a:rect l="l" t="t" r="r" b="b"/>
              <a:pathLst>
                <a:path w="47245" h="47245" extrusionOk="0">
                  <a:moveTo>
                    <a:pt x="24287" y="47245"/>
                  </a:moveTo>
                  <a:cubicBezTo>
                    <a:pt x="20554" y="47245"/>
                    <a:pt x="17541" y="44220"/>
                    <a:pt x="17541" y="40500"/>
                  </a:cubicBezTo>
                  <a:lnTo>
                    <a:pt x="17541" y="29691"/>
                  </a:lnTo>
                  <a:lnTo>
                    <a:pt x="6746" y="29691"/>
                  </a:lnTo>
                  <a:cubicBezTo>
                    <a:pt x="3012" y="29691"/>
                    <a:pt x="0" y="26666"/>
                    <a:pt x="0" y="22946"/>
                  </a:cubicBezTo>
                  <a:cubicBezTo>
                    <a:pt x="0" y="19212"/>
                    <a:pt x="3025" y="16200"/>
                    <a:pt x="6746" y="16200"/>
                  </a:cubicBezTo>
                  <a:lnTo>
                    <a:pt x="17541" y="16200"/>
                  </a:lnTo>
                  <a:lnTo>
                    <a:pt x="17541" y="6746"/>
                  </a:lnTo>
                  <a:cubicBezTo>
                    <a:pt x="17541" y="3012"/>
                    <a:pt x="20566" y="0"/>
                    <a:pt x="24287" y="0"/>
                  </a:cubicBezTo>
                  <a:cubicBezTo>
                    <a:pt x="28021" y="0"/>
                    <a:pt x="31045" y="3025"/>
                    <a:pt x="31045" y="6746"/>
                  </a:cubicBezTo>
                  <a:lnTo>
                    <a:pt x="31045" y="16200"/>
                  </a:lnTo>
                  <a:lnTo>
                    <a:pt x="40487" y="16200"/>
                  </a:lnTo>
                  <a:cubicBezTo>
                    <a:pt x="44220" y="16200"/>
                    <a:pt x="47245" y="19225"/>
                    <a:pt x="47245" y="22946"/>
                  </a:cubicBezTo>
                  <a:cubicBezTo>
                    <a:pt x="47245" y="26679"/>
                    <a:pt x="44220" y="29691"/>
                    <a:pt x="40487" y="29691"/>
                  </a:cubicBezTo>
                  <a:lnTo>
                    <a:pt x="31045" y="29691"/>
                  </a:lnTo>
                  <a:lnTo>
                    <a:pt x="31045" y="40500"/>
                  </a:lnTo>
                  <a:cubicBezTo>
                    <a:pt x="31045" y="44220"/>
                    <a:pt x="28021" y="47245"/>
                    <a:pt x="24287" y="47245"/>
                  </a:cubicBezTo>
                  <a:lnTo>
                    <a:pt x="24287" y="47245"/>
                  </a:ln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966" name="Google Shape;2966;p42"/>
          <p:cNvSpPr txBox="1"/>
          <p:nvPr/>
        </p:nvSpPr>
        <p:spPr>
          <a:xfrm>
            <a:off x="481601" y="3142082"/>
            <a:ext cx="2058400" cy="2566087"/>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5F5F5F"/>
              </a:buClr>
              <a:buSzPts val="1500"/>
              <a:buFont typeface="Calibri"/>
              <a:buNone/>
            </a:pPr>
            <a:r>
              <a:rPr lang="en-US" sz="1500" b="0" i="0" u="none" strike="noStrike" cap="none">
                <a:solidFill>
                  <a:srgbClr val="5F5F5F"/>
                </a:solidFill>
                <a:latin typeface="Calibri"/>
                <a:ea typeface="Calibri"/>
                <a:cs typeface="Calibri"/>
                <a:sym typeface="Calibri"/>
              </a:rPr>
              <a:t>In our 11 years in business we have established the </a:t>
            </a:r>
            <a:r>
              <a:rPr lang="en-US" sz="1500" b="1" i="0" u="none" strike="noStrike" cap="none">
                <a:solidFill>
                  <a:srgbClr val="5F5F5F"/>
                </a:solidFill>
                <a:latin typeface="Calibri"/>
                <a:ea typeface="Calibri"/>
                <a:cs typeface="Calibri"/>
                <a:sym typeface="Calibri"/>
              </a:rPr>
              <a:t>reputation of the highest quality provider </a:t>
            </a:r>
            <a:r>
              <a:rPr lang="en-US" sz="1500" b="0" i="0" u="none" strike="noStrike" cap="none">
                <a:solidFill>
                  <a:srgbClr val="5F5F5F"/>
                </a:solidFill>
                <a:latin typeface="Calibri"/>
                <a:ea typeface="Calibri"/>
                <a:cs typeface="Calibri"/>
                <a:sym typeface="Calibri"/>
              </a:rPr>
              <a:t>of research, translation and design services in the EMEA region</a:t>
            </a:r>
            <a:endParaRPr sz="1400" b="0" i="0" u="none" strike="noStrike" cap="none">
              <a:solidFill>
                <a:srgbClr val="000000"/>
              </a:solidFill>
              <a:latin typeface="Arial"/>
              <a:ea typeface="Arial"/>
              <a:cs typeface="Arial"/>
              <a:sym typeface="Arial"/>
            </a:endParaRPr>
          </a:p>
          <a:p>
            <a:pPr marL="174625" marR="0" lvl="1" indent="-174625" algn="l" rtl="0">
              <a:lnSpc>
                <a:spcPct val="95000"/>
              </a:lnSpc>
              <a:spcBef>
                <a:spcPts val="1200"/>
              </a:spcBef>
              <a:spcAft>
                <a:spcPts val="0"/>
              </a:spcAft>
              <a:buClr>
                <a:schemeClr val="dk2"/>
              </a:buClr>
              <a:buSzPts val="1500"/>
              <a:buFont typeface="Noto Sans Symbols"/>
              <a:buChar char="▪"/>
            </a:pPr>
            <a:r>
              <a:rPr lang="en-US" sz="1500" b="0" i="0" u="none" strike="noStrike" cap="none">
                <a:solidFill>
                  <a:srgbClr val="5F5F5F"/>
                </a:solidFill>
                <a:latin typeface="Calibri"/>
                <a:ea typeface="Calibri"/>
                <a:cs typeface="Calibri"/>
                <a:sym typeface="Calibri"/>
              </a:rPr>
              <a:t>We are happy to put you in touch with our clients so you can get their testimonies</a:t>
            </a:r>
            <a:endParaRPr sz="1400" b="0" i="0" u="none" strike="noStrike" cap="none">
              <a:solidFill>
                <a:srgbClr val="000000"/>
              </a:solidFill>
              <a:latin typeface="Arial"/>
              <a:ea typeface="Arial"/>
              <a:cs typeface="Arial"/>
              <a:sym typeface="Arial"/>
            </a:endParaRPr>
          </a:p>
        </p:txBody>
      </p:sp>
      <p:sp>
        <p:nvSpPr>
          <p:cNvPr id="2967" name="Google Shape;2967;p42"/>
          <p:cNvSpPr txBox="1"/>
          <p:nvPr/>
        </p:nvSpPr>
        <p:spPr>
          <a:xfrm>
            <a:off x="3028769" y="3142082"/>
            <a:ext cx="2273093" cy="1096454"/>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5F5F5F"/>
              </a:buClr>
              <a:buSzPts val="1500"/>
              <a:buFont typeface="Calibri"/>
              <a:buNone/>
            </a:pPr>
            <a:r>
              <a:rPr lang="en-US" sz="1500" b="0" i="0" u="none" strike="noStrike" cap="none">
                <a:solidFill>
                  <a:srgbClr val="5F5F5F"/>
                </a:solidFill>
                <a:latin typeface="Calibri"/>
                <a:ea typeface="Calibri"/>
                <a:cs typeface="Calibri"/>
                <a:sym typeface="Calibri"/>
              </a:rPr>
              <a:t>The data we handle is highly confidential, we have made significant investments in </a:t>
            </a:r>
            <a:r>
              <a:rPr lang="en-US" sz="1500" b="1" i="0" u="none" strike="noStrike" cap="none">
                <a:solidFill>
                  <a:srgbClr val="5F5F5F"/>
                </a:solidFill>
                <a:latin typeface="Calibri"/>
                <a:ea typeface="Calibri"/>
                <a:cs typeface="Calibri"/>
                <a:sym typeface="Calibri"/>
              </a:rPr>
              <a:t>information security </a:t>
            </a:r>
            <a:r>
              <a:rPr lang="en-US" sz="1500" b="0" i="0" u="none" strike="noStrike" cap="none">
                <a:solidFill>
                  <a:srgbClr val="5F5F5F"/>
                </a:solidFill>
                <a:latin typeface="Calibri"/>
                <a:ea typeface="Calibri"/>
                <a:cs typeface="Calibri"/>
                <a:sym typeface="Calibri"/>
              </a:rPr>
              <a:t>and are certified ISO 27001</a:t>
            </a:r>
            <a:endParaRPr sz="1400" b="0" i="0" u="none" strike="noStrike" cap="none">
              <a:solidFill>
                <a:srgbClr val="000000"/>
              </a:solidFill>
              <a:latin typeface="Arial"/>
              <a:ea typeface="Arial"/>
              <a:cs typeface="Arial"/>
              <a:sym typeface="Arial"/>
            </a:endParaRPr>
          </a:p>
        </p:txBody>
      </p:sp>
      <p:sp>
        <p:nvSpPr>
          <p:cNvPr id="2968" name="Google Shape;2968;p42"/>
          <p:cNvSpPr txBox="1"/>
          <p:nvPr/>
        </p:nvSpPr>
        <p:spPr>
          <a:xfrm>
            <a:off x="5721078" y="3142082"/>
            <a:ext cx="2534739" cy="2500685"/>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5F5F5F"/>
              </a:buClr>
              <a:buSzPts val="1500"/>
              <a:buFont typeface="Calibri"/>
              <a:buNone/>
            </a:pPr>
            <a:r>
              <a:rPr lang="en-US" sz="1500" b="0" i="0" u="none" strike="noStrike" cap="none">
                <a:solidFill>
                  <a:srgbClr val="5F5F5F"/>
                </a:solidFill>
                <a:latin typeface="Calibri"/>
                <a:ea typeface="Calibri"/>
                <a:cs typeface="Calibri"/>
                <a:sym typeface="Calibri"/>
              </a:rPr>
              <a:t>We insist on </a:t>
            </a:r>
            <a:r>
              <a:rPr lang="en-US" sz="1500" b="1" i="0" u="none" strike="noStrike" cap="none">
                <a:solidFill>
                  <a:srgbClr val="5F5F5F"/>
                </a:solidFill>
                <a:latin typeface="Calibri"/>
                <a:ea typeface="Calibri"/>
                <a:cs typeface="Calibri"/>
                <a:sym typeface="Calibri"/>
              </a:rPr>
              <a:t>both-ways skills transfer.</a:t>
            </a:r>
            <a:endParaRPr sz="1400" b="0" i="0" u="none" strike="noStrike" cap="none">
              <a:solidFill>
                <a:srgbClr val="000000"/>
              </a:solidFill>
              <a:latin typeface="Arial"/>
              <a:ea typeface="Arial"/>
              <a:cs typeface="Arial"/>
              <a:sym typeface="Arial"/>
            </a:endParaRPr>
          </a:p>
          <a:p>
            <a:pPr marL="174625" marR="0" lvl="1" indent="-174625" algn="l" rtl="0">
              <a:lnSpc>
                <a:spcPct val="95000"/>
              </a:lnSpc>
              <a:spcBef>
                <a:spcPts val="1200"/>
              </a:spcBef>
              <a:spcAft>
                <a:spcPts val="0"/>
              </a:spcAft>
              <a:buClr>
                <a:schemeClr val="dk2"/>
              </a:buClr>
              <a:buSzPts val="1500"/>
              <a:buFont typeface="Noto Sans Symbols"/>
              <a:buChar char="▪"/>
            </a:pPr>
            <a:r>
              <a:rPr lang="en-US" sz="1500" b="0" i="0" u="none" strike="noStrike" cap="none">
                <a:solidFill>
                  <a:srgbClr val="5F5F5F"/>
                </a:solidFill>
                <a:latin typeface="Calibri"/>
                <a:ea typeface="Calibri"/>
                <a:cs typeface="Calibri"/>
                <a:sym typeface="Calibri"/>
              </a:rPr>
              <a:t>Our staff need to spend time with you to understand what you do, how you work and what your challenges are.</a:t>
            </a:r>
            <a:endParaRPr sz="1400" b="0" i="0" u="none" strike="noStrike" cap="none">
              <a:solidFill>
                <a:srgbClr val="000000"/>
              </a:solidFill>
              <a:latin typeface="Arial"/>
              <a:ea typeface="Arial"/>
              <a:cs typeface="Arial"/>
              <a:sym typeface="Arial"/>
            </a:endParaRPr>
          </a:p>
          <a:p>
            <a:pPr marL="174625" marR="0" lvl="1" indent="-174625" algn="l" rtl="0">
              <a:lnSpc>
                <a:spcPct val="95000"/>
              </a:lnSpc>
              <a:spcBef>
                <a:spcPts val="1200"/>
              </a:spcBef>
              <a:spcAft>
                <a:spcPts val="0"/>
              </a:spcAft>
              <a:buClr>
                <a:schemeClr val="dk2"/>
              </a:buClr>
              <a:buSzPts val="1500"/>
              <a:buFont typeface="Noto Sans Symbols"/>
              <a:buChar char="▪"/>
            </a:pPr>
            <a:r>
              <a:rPr lang="en-US" sz="1500" b="0" i="0" u="none" strike="noStrike" cap="none">
                <a:solidFill>
                  <a:srgbClr val="5F5F5F"/>
                </a:solidFill>
                <a:latin typeface="Calibri"/>
                <a:ea typeface="Calibri"/>
                <a:cs typeface="Calibri"/>
                <a:sym typeface="Calibri"/>
              </a:rPr>
              <a:t>We would be happy to welcome some of your team members in our offices for training or secondment</a:t>
            </a:r>
            <a:endParaRPr sz="1400" b="0" i="0" u="none" strike="noStrike" cap="none">
              <a:solidFill>
                <a:srgbClr val="000000"/>
              </a:solidFill>
              <a:latin typeface="Arial"/>
              <a:ea typeface="Arial"/>
              <a:cs typeface="Arial"/>
              <a:sym typeface="Arial"/>
            </a:endParaRPr>
          </a:p>
        </p:txBody>
      </p:sp>
      <p:sp>
        <p:nvSpPr>
          <p:cNvPr id="2969" name="Google Shape;2969;p42"/>
          <p:cNvSpPr txBox="1"/>
          <p:nvPr/>
        </p:nvSpPr>
        <p:spPr>
          <a:xfrm>
            <a:off x="8602464" y="3142082"/>
            <a:ext cx="3107756" cy="2939266"/>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5F5F5F"/>
              </a:buClr>
              <a:buSzPts val="1500"/>
              <a:buFont typeface="Calibri"/>
              <a:buNone/>
            </a:pPr>
            <a:r>
              <a:rPr lang="en-US" sz="1500" b="0" i="0" u="none" strike="noStrike" cap="none">
                <a:solidFill>
                  <a:srgbClr val="5F5F5F"/>
                </a:solidFill>
                <a:latin typeface="Calibri"/>
                <a:ea typeface="Calibri"/>
                <a:cs typeface="Calibri"/>
                <a:sym typeface="Calibri"/>
              </a:rPr>
              <a:t>We are conscious that you will evaluate your return on investment by assessing how much work we deliver vs the price you pay. We will focus on </a:t>
            </a:r>
            <a:endParaRPr sz="1400" b="0" i="0" u="none" strike="noStrike" cap="none">
              <a:solidFill>
                <a:srgbClr val="000000"/>
              </a:solidFill>
              <a:latin typeface="Arial"/>
              <a:ea typeface="Arial"/>
              <a:cs typeface="Arial"/>
              <a:sym typeface="Arial"/>
            </a:endParaRPr>
          </a:p>
          <a:p>
            <a:pPr marL="174625" marR="0" lvl="1" indent="-174625" algn="l" rtl="0">
              <a:lnSpc>
                <a:spcPct val="95000"/>
              </a:lnSpc>
              <a:spcBef>
                <a:spcPts val="1200"/>
              </a:spcBef>
              <a:spcAft>
                <a:spcPts val="0"/>
              </a:spcAft>
              <a:buClr>
                <a:schemeClr val="dk2"/>
              </a:buClr>
              <a:buSzPts val="1500"/>
              <a:buFont typeface="Noto Sans Symbols"/>
              <a:buChar char="▪"/>
            </a:pPr>
            <a:r>
              <a:rPr lang="en-US" sz="1500" b="1" i="0" u="none" strike="noStrike" cap="none">
                <a:solidFill>
                  <a:srgbClr val="5F5F5F"/>
                </a:solidFill>
                <a:latin typeface="Calibri"/>
                <a:ea typeface="Calibri"/>
                <a:cs typeface="Calibri"/>
                <a:sym typeface="Calibri"/>
              </a:rPr>
              <a:t>Utilisation </a:t>
            </a:r>
            <a:r>
              <a:rPr lang="en-US" sz="1500" b="0" i="0" u="none" strike="noStrike" cap="none">
                <a:solidFill>
                  <a:srgbClr val="5F5F5F"/>
                </a:solidFill>
                <a:latin typeface="Calibri"/>
                <a:ea typeface="Calibri"/>
                <a:cs typeface="Calibri"/>
                <a:sym typeface="Calibri"/>
              </a:rPr>
              <a:t>– Reporting on our utilization rates, proactively reaching out when we have capacity available, organising our work between ad hoc and recurring tasks</a:t>
            </a:r>
            <a:endParaRPr sz="1400" b="0" i="0" u="none" strike="noStrike" cap="none">
              <a:solidFill>
                <a:srgbClr val="000000"/>
              </a:solidFill>
              <a:latin typeface="Arial"/>
              <a:ea typeface="Arial"/>
              <a:cs typeface="Arial"/>
              <a:sym typeface="Arial"/>
            </a:endParaRPr>
          </a:p>
          <a:p>
            <a:pPr marL="174625" marR="0" lvl="1" indent="-174625" algn="l" rtl="0">
              <a:lnSpc>
                <a:spcPct val="95000"/>
              </a:lnSpc>
              <a:spcBef>
                <a:spcPts val="1200"/>
              </a:spcBef>
              <a:spcAft>
                <a:spcPts val="0"/>
              </a:spcAft>
              <a:buClr>
                <a:schemeClr val="dk2"/>
              </a:buClr>
              <a:buSzPts val="1500"/>
              <a:buFont typeface="Noto Sans Symbols"/>
              <a:buChar char="▪"/>
            </a:pPr>
            <a:r>
              <a:rPr lang="en-US" sz="1500" b="1" i="0" u="none" strike="noStrike" cap="none">
                <a:solidFill>
                  <a:srgbClr val="5F5F5F"/>
                </a:solidFill>
                <a:latin typeface="Calibri"/>
                <a:ea typeface="Calibri"/>
                <a:cs typeface="Calibri"/>
                <a:sym typeface="Calibri"/>
              </a:rPr>
              <a:t>Efficiency</a:t>
            </a:r>
            <a:r>
              <a:rPr lang="en-US" sz="1500" b="0" i="0" u="none" strike="noStrike" cap="none">
                <a:solidFill>
                  <a:srgbClr val="5F5F5F"/>
                </a:solidFill>
                <a:latin typeface="Calibri"/>
                <a:ea typeface="Calibri"/>
                <a:cs typeface="Calibri"/>
                <a:sym typeface="Calibri"/>
              </a:rPr>
              <a:t> – You will have full transparency on how we spend our time and will be able to challenge us</a:t>
            </a:r>
            <a:endParaRPr sz="1400" b="0" i="0" u="none" strike="noStrike" cap="none">
              <a:solidFill>
                <a:srgbClr val="000000"/>
              </a:solidFill>
              <a:latin typeface="Arial"/>
              <a:ea typeface="Arial"/>
              <a:cs typeface="Arial"/>
              <a:sym typeface="Arial"/>
            </a:endParaRPr>
          </a:p>
        </p:txBody>
      </p:sp>
      <p:cxnSp>
        <p:nvCxnSpPr>
          <p:cNvPr id="2970" name="Google Shape;2970;p42"/>
          <p:cNvCxnSpPr/>
          <p:nvPr/>
        </p:nvCxnSpPr>
        <p:spPr>
          <a:xfrm>
            <a:off x="481601" y="3095332"/>
            <a:ext cx="2058400" cy="0"/>
          </a:xfrm>
          <a:prstGeom prst="straightConnector1">
            <a:avLst/>
          </a:prstGeom>
          <a:noFill/>
          <a:ln w="9525" cap="flat" cmpd="sng">
            <a:solidFill>
              <a:srgbClr val="7F7F7F"/>
            </a:solidFill>
            <a:prstDash val="solid"/>
            <a:miter lim="800000"/>
            <a:headEnd type="none" w="sm" len="sm"/>
            <a:tailEnd type="none" w="sm" len="sm"/>
          </a:ln>
        </p:spPr>
      </p:cxnSp>
      <p:cxnSp>
        <p:nvCxnSpPr>
          <p:cNvPr id="2971" name="Google Shape;2971;p42"/>
          <p:cNvCxnSpPr/>
          <p:nvPr/>
        </p:nvCxnSpPr>
        <p:spPr>
          <a:xfrm>
            <a:off x="3028769" y="3095332"/>
            <a:ext cx="2273093" cy="0"/>
          </a:xfrm>
          <a:prstGeom prst="straightConnector1">
            <a:avLst/>
          </a:prstGeom>
          <a:noFill/>
          <a:ln w="9525" cap="flat" cmpd="sng">
            <a:solidFill>
              <a:srgbClr val="7F7F7F"/>
            </a:solidFill>
            <a:prstDash val="solid"/>
            <a:miter lim="800000"/>
            <a:headEnd type="none" w="sm" len="sm"/>
            <a:tailEnd type="none" w="sm" len="sm"/>
          </a:ln>
        </p:spPr>
      </p:cxnSp>
      <p:cxnSp>
        <p:nvCxnSpPr>
          <p:cNvPr id="2972" name="Google Shape;2972;p42"/>
          <p:cNvCxnSpPr/>
          <p:nvPr/>
        </p:nvCxnSpPr>
        <p:spPr>
          <a:xfrm>
            <a:off x="5721078" y="3095332"/>
            <a:ext cx="2534739" cy="0"/>
          </a:xfrm>
          <a:prstGeom prst="straightConnector1">
            <a:avLst/>
          </a:prstGeom>
          <a:noFill/>
          <a:ln w="9525" cap="flat" cmpd="sng">
            <a:solidFill>
              <a:srgbClr val="7F7F7F"/>
            </a:solidFill>
            <a:prstDash val="solid"/>
            <a:miter lim="800000"/>
            <a:headEnd type="none" w="sm" len="sm"/>
            <a:tailEnd type="none" w="sm" len="sm"/>
          </a:ln>
        </p:spPr>
      </p:cxnSp>
      <p:cxnSp>
        <p:nvCxnSpPr>
          <p:cNvPr id="2973" name="Google Shape;2973;p42"/>
          <p:cNvCxnSpPr/>
          <p:nvPr/>
        </p:nvCxnSpPr>
        <p:spPr>
          <a:xfrm>
            <a:off x="8602464" y="3095332"/>
            <a:ext cx="3107756" cy="0"/>
          </a:xfrm>
          <a:prstGeom prst="straightConnector1">
            <a:avLst/>
          </a:prstGeom>
          <a:noFill/>
          <a:ln w="9525" cap="flat" cmpd="sng">
            <a:solidFill>
              <a:srgbClr val="7F7F7F"/>
            </a:solidFill>
            <a:prstDash val="solid"/>
            <a:miter lim="800000"/>
            <a:headEnd type="none" w="sm" len="sm"/>
            <a:tailEnd type="none" w="sm" len="sm"/>
          </a:ln>
        </p:spPr>
      </p:cxnSp>
      <p:sp>
        <p:nvSpPr>
          <p:cNvPr id="2974" name="Google Shape;2974;p42"/>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Why is Infomineo the best partner for you?</a:t>
            </a:r>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2978"/>
        <p:cNvGrpSpPr/>
        <p:nvPr/>
      </p:nvGrpSpPr>
      <p:grpSpPr>
        <a:xfrm>
          <a:off x="0" y="0"/>
          <a:ext cx="0" cy="0"/>
          <a:chOff x="0" y="0"/>
          <a:chExt cx="0" cy="0"/>
        </a:xfrm>
      </p:grpSpPr>
      <p:sp>
        <p:nvSpPr>
          <p:cNvPr id="2979" name="Google Shape;2979;p43"/>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Confidentiality and Security</a:t>
            </a:r>
            <a:endParaRPr/>
          </a:p>
        </p:txBody>
      </p:sp>
      <p:sp>
        <p:nvSpPr>
          <p:cNvPr id="2980" name="Google Shape;2980;p43"/>
          <p:cNvSpPr txBox="1">
            <a:spLocks noGrp="1"/>
          </p:cNvSpPr>
          <p:nvPr>
            <p:ph type="body" idx="1"/>
          </p:nvPr>
        </p:nvSpPr>
        <p:spPr>
          <a:xfrm>
            <a:off x="550862" y="1028324"/>
            <a:ext cx="11089972" cy="292388"/>
          </a:xfrm>
          <a:prstGeom prst="rect">
            <a:avLst/>
          </a:prstGeom>
          <a:noFill/>
          <a:ln>
            <a:noFill/>
          </a:ln>
        </p:spPr>
        <p:txBody>
          <a:bodyPr spcFirstLastPara="1" wrap="square" lIns="0" tIns="0" rIns="0" bIns="0" anchor="t" anchorCtr="0">
            <a:spAutoFit/>
          </a:bodyPr>
          <a:lstStyle/>
          <a:p>
            <a:pPr marL="0" lvl="0" indent="0" algn="l" rtl="0">
              <a:lnSpc>
                <a:spcPct val="95000"/>
              </a:lnSpc>
              <a:spcBef>
                <a:spcPts val="0"/>
              </a:spcBef>
              <a:spcAft>
                <a:spcPts val="0"/>
              </a:spcAft>
              <a:buClr>
                <a:srgbClr val="6D90F8"/>
              </a:buClr>
              <a:buSzPts val="2000"/>
              <a:buNone/>
            </a:pPr>
            <a:r>
              <a:rPr lang="en-US"/>
              <a:t>As an ISO 27001 certified company, Infomineo is compliant with the highest IT security norms. </a:t>
            </a:r>
            <a:endParaRPr/>
          </a:p>
        </p:txBody>
      </p:sp>
      <p:sp>
        <p:nvSpPr>
          <p:cNvPr id="2981" name="Google Shape;2981;p43"/>
          <p:cNvSpPr txBox="1"/>
          <p:nvPr/>
        </p:nvSpPr>
        <p:spPr>
          <a:xfrm>
            <a:off x="550863" y="1911406"/>
            <a:ext cx="2934017" cy="3839513"/>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accent1"/>
              </a:buClr>
              <a:buSzPts val="1800"/>
              <a:buFont typeface="Franklin Gothic"/>
              <a:buNone/>
            </a:pPr>
            <a:r>
              <a:rPr lang="en-US" sz="1800" b="0" i="0" u="none" strike="noStrike" cap="none">
                <a:solidFill>
                  <a:schemeClr val="accent1"/>
                </a:solidFill>
                <a:latin typeface="Franklin Gothic"/>
                <a:ea typeface="Franklin Gothic"/>
                <a:cs typeface="Franklin Gothic"/>
                <a:sym typeface="Franklin Gothic"/>
              </a:rPr>
              <a:t>Our ISMS comprises</a:t>
            </a:r>
            <a:endParaRPr sz="1400" b="0" i="0" u="none" strike="noStrike" cap="none">
              <a:solidFill>
                <a:srgbClr val="000000"/>
              </a:solidFill>
              <a:latin typeface="Arial"/>
              <a:ea typeface="Arial"/>
              <a:cs typeface="Arial"/>
              <a:sym typeface="Arial"/>
            </a:endParaRPr>
          </a:p>
          <a:p>
            <a:pPr marL="171450" marR="0" lvl="1" indent="-171450" algn="l" rtl="0">
              <a:lnSpc>
                <a:spcPct val="100000"/>
              </a:lnSpc>
              <a:spcBef>
                <a:spcPts val="1500"/>
              </a:spcBef>
              <a:spcAft>
                <a:spcPts val="0"/>
              </a:spcAft>
              <a:buClr>
                <a:schemeClr val="dk2"/>
              </a:buClr>
              <a:buSzPts val="1400"/>
              <a:buFont typeface="Noto Sans Symbols"/>
              <a:buChar char="▪"/>
            </a:pPr>
            <a:r>
              <a:rPr lang="en-US" sz="1400" b="1" i="0" u="none" strike="noStrike" cap="none">
                <a:solidFill>
                  <a:srgbClr val="000000"/>
                </a:solidFill>
                <a:latin typeface="Calibri"/>
                <a:ea typeface="Calibri"/>
                <a:cs typeface="Calibri"/>
                <a:sym typeface="Calibri"/>
              </a:rPr>
              <a:t>Procedures and policies: </a:t>
            </a:r>
            <a:r>
              <a:rPr lang="en-US" sz="1400" b="0" i="0" u="none" strike="noStrike" cap="none">
                <a:solidFill>
                  <a:srgbClr val="000000"/>
                </a:solidFill>
                <a:latin typeface="Calibri"/>
                <a:ea typeface="Calibri"/>
                <a:cs typeface="Calibri"/>
                <a:sym typeface="Calibri"/>
              </a:rPr>
              <a:t>For example all employees and providers sign confidentiality agreements, we have in place an overarching security policy, password policy, an internet policy and an acceptable use policy</a:t>
            </a:r>
            <a:endParaRPr sz="1400" b="0" i="0" u="none" strike="noStrike" cap="none">
              <a:solidFill>
                <a:srgbClr val="000000"/>
              </a:solidFill>
              <a:latin typeface="Arial"/>
              <a:ea typeface="Arial"/>
              <a:cs typeface="Arial"/>
              <a:sym typeface="Arial"/>
            </a:endParaRPr>
          </a:p>
          <a:p>
            <a:pPr marL="171450" marR="0" lvl="1" indent="-171450" algn="l" rtl="0">
              <a:lnSpc>
                <a:spcPct val="100000"/>
              </a:lnSpc>
              <a:spcBef>
                <a:spcPts val="1500"/>
              </a:spcBef>
              <a:spcAft>
                <a:spcPts val="0"/>
              </a:spcAft>
              <a:buClr>
                <a:schemeClr val="dk2"/>
              </a:buClr>
              <a:buSzPts val="1400"/>
              <a:buFont typeface="Noto Sans Symbols"/>
              <a:buChar char="▪"/>
            </a:pPr>
            <a:r>
              <a:rPr lang="en-US" sz="1400" b="1" i="0" u="none" strike="noStrike" cap="none">
                <a:solidFill>
                  <a:srgbClr val="000000"/>
                </a:solidFill>
                <a:latin typeface="Calibri"/>
                <a:ea typeface="Calibri"/>
                <a:cs typeface="Calibri"/>
                <a:sym typeface="Calibri"/>
              </a:rPr>
              <a:t>Plans: </a:t>
            </a:r>
            <a:r>
              <a:rPr lang="en-US" sz="1400" b="0" i="0" u="none" strike="noStrike" cap="none">
                <a:solidFill>
                  <a:srgbClr val="000000"/>
                </a:solidFill>
                <a:latin typeface="Calibri"/>
                <a:ea typeface="Calibri"/>
                <a:cs typeface="Calibri"/>
                <a:sym typeface="Calibri"/>
              </a:rPr>
              <a:t>We are regularly conducting risk assessments and have put in place a BCP, a risk treatment plan as well as contingency and disaster recovery plans etc.</a:t>
            </a:r>
            <a:endParaRPr sz="1400" b="0" i="0" u="none" strike="noStrike" cap="none">
              <a:solidFill>
                <a:srgbClr val="000000"/>
              </a:solidFill>
              <a:latin typeface="Arial"/>
              <a:ea typeface="Arial"/>
              <a:cs typeface="Arial"/>
              <a:sym typeface="Arial"/>
            </a:endParaRPr>
          </a:p>
          <a:p>
            <a:pPr marL="171450" marR="0" lvl="1" indent="-171450" algn="l" rtl="0">
              <a:lnSpc>
                <a:spcPct val="100000"/>
              </a:lnSpc>
              <a:spcBef>
                <a:spcPts val="1500"/>
              </a:spcBef>
              <a:spcAft>
                <a:spcPts val="0"/>
              </a:spcAft>
              <a:buClr>
                <a:schemeClr val="dk2"/>
              </a:buClr>
              <a:buSzPts val="1400"/>
              <a:buFont typeface="Noto Sans Symbols"/>
              <a:buChar char="▪"/>
            </a:pPr>
            <a:r>
              <a:rPr lang="en-US" sz="1400" b="1" i="0" u="none" strike="noStrike" cap="none">
                <a:solidFill>
                  <a:srgbClr val="000000"/>
                </a:solidFill>
                <a:latin typeface="Calibri"/>
                <a:ea typeface="Calibri"/>
                <a:cs typeface="Calibri"/>
                <a:sym typeface="Calibri"/>
              </a:rPr>
              <a:t>Audit measures: </a:t>
            </a:r>
            <a:r>
              <a:rPr lang="en-US" sz="1400" b="0" i="0" u="none" strike="noStrike" cap="none">
                <a:solidFill>
                  <a:srgbClr val="000000"/>
                </a:solidFill>
                <a:latin typeface="Calibri"/>
                <a:ea typeface="Calibri"/>
                <a:cs typeface="Calibri"/>
                <a:sym typeface="Calibri"/>
              </a:rPr>
              <a:t>Each element in the treatment plan has an audit process in place</a:t>
            </a:r>
            <a:endParaRPr sz="1400" b="0" i="0" u="none" strike="noStrike" cap="none">
              <a:solidFill>
                <a:schemeClr val="dk1"/>
              </a:solidFill>
              <a:latin typeface="Calibri"/>
              <a:ea typeface="Calibri"/>
              <a:cs typeface="Calibri"/>
              <a:sym typeface="Calibri"/>
            </a:endParaRPr>
          </a:p>
        </p:txBody>
      </p:sp>
      <p:grpSp>
        <p:nvGrpSpPr>
          <p:cNvPr id="2982" name="Google Shape;2982;p43"/>
          <p:cNvGrpSpPr/>
          <p:nvPr/>
        </p:nvGrpSpPr>
        <p:grpSpPr>
          <a:xfrm>
            <a:off x="8402320" y="1947313"/>
            <a:ext cx="3457824" cy="4217416"/>
            <a:chOff x="4970959" y="1236294"/>
            <a:chExt cx="3942786" cy="4808911"/>
          </a:xfrm>
        </p:grpSpPr>
        <p:pic>
          <p:nvPicPr>
            <p:cNvPr id="2983" name="Google Shape;2983;p43"/>
            <p:cNvPicPr preferRelativeResize="0"/>
            <p:nvPr/>
          </p:nvPicPr>
          <p:blipFill rotWithShape="1">
            <a:blip r:embed="rId3">
              <a:alphaModFix/>
            </a:blip>
            <a:srcRect l="8404"/>
            <a:stretch/>
          </p:blipFill>
          <p:spPr>
            <a:xfrm rot="-5400000">
              <a:off x="6288520" y="3419980"/>
              <a:ext cx="4808907" cy="441542"/>
            </a:xfrm>
            <a:prstGeom prst="rect">
              <a:avLst/>
            </a:prstGeom>
            <a:noFill/>
            <a:ln>
              <a:noFill/>
            </a:ln>
          </p:spPr>
        </p:pic>
        <p:pic>
          <p:nvPicPr>
            <p:cNvPr id="2984" name="Google Shape;2984;p43"/>
            <p:cNvPicPr preferRelativeResize="0"/>
            <p:nvPr/>
          </p:nvPicPr>
          <p:blipFill rotWithShape="1">
            <a:blip r:embed="rId3">
              <a:alphaModFix/>
            </a:blip>
            <a:srcRect l="8404"/>
            <a:stretch/>
          </p:blipFill>
          <p:spPr>
            <a:xfrm rot="5400000">
              <a:off x="2787276" y="3419979"/>
              <a:ext cx="4808907" cy="441542"/>
            </a:xfrm>
            <a:prstGeom prst="rect">
              <a:avLst/>
            </a:prstGeom>
            <a:noFill/>
            <a:ln>
              <a:noFill/>
            </a:ln>
          </p:spPr>
        </p:pic>
        <p:pic>
          <p:nvPicPr>
            <p:cNvPr id="2985" name="Google Shape;2985;p43" descr="C:\Users\Martin\Downloads\Infomıneo sarl 27001 (1) (2).JPG"/>
            <p:cNvPicPr preferRelativeResize="0"/>
            <p:nvPr/>
          </p:nvPicPr>
          <p:blipFill rotWithShape="1">
            <a:blip r:embed="rId4">
              <a:alphaModFix/>
            </a:blip>
            <a:srcRect/>
            <a:stretch/>
          </p:blipFill>
          <p:spPr>
            <a:xfrm>
              <a:off x="5275622" y="1236294"/>
              <a:ext cx="3347679" cy="4808906"/>
            </a:xfrm>
            <a:prstGeom prst="rect">
              <a:avLst/>
            </a:prstGeom>
            <a:noFill/>
            <a:ln>
              <a:noFill/>
            </a:ln>
          </p:spPr>
        </p:pic>
      </p:grpSp>
      <p:sp>
        <p:nvSpPr>
          <p:cNvPr id="2986" name="Google Shape;2986;p43"/>
          <p:cNvSpPr txBox="1"/>
          <p:nvPr/>
        </p:nvSpPr>
        <p:spPr>
          <a:xfrm>
            <a:off x="4269089" y="1911406"/>
            <a:ext cx="3361071" cy="449353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accent1"/>
              </a:buClr>
              <a:buSzPts val="1800"/>
              <a:buFont typeface="Franklin Gothic"/>
              <a:buNone/>
            </a:pPr>
            <a:r>
              <a:rPr lang="en-US" sz="1800" b="0" i="0" u="none" strike="noStrike" cap="none">
                <a:solidFill>
                  <a:schemeClr val="accent1"/>
                </a:solidFill>
                <a:latin typeface="Franklin Gothic"/>
                <a:ea typeface="Franklin Gothic"/>
                <a:cs typeface="Franklin Gothic"/>
                <a:sym typeface="Franklin Gothic"/>
              </a:rPr>
              <a:t>The key elements of our ISMS are</a:t>
            </a:r>
            <a:endParaRPr sz="1400" b="0" i="0" u="none" strike="noStrike" cap="none">
              <a:solidFill>
                <a:srgbClr val="000000"/>
              </a:solidFill>
              <a:latin typeface="Arial"/>
              <a:ea typeface="Arial"/>
              <a:cs typeface="Arial"/>
              <a:sym typeface="Arial"/>
            </a:endParaRPr>
          </a:p>
          <a:p>
            <a:pPr marL="171450" marR="0" lvl="1" indent="-171450" algn="l" rtl="0">
              <a:lnSpc>
                <a:spcPct val="100000"/>
              </a:lnSpc>
              <a:spcBef>
                <a:spcPts val="1500"/>
              </a:spcBef>
              <a:spcAft>
                <a:spcPts val="0"/>
              </a:spcAft>
              <a:buClr>
                <a:schemeClr val="dk2"/>
              </a:buClr>
              <a:buSzPts val="1400"/>
              <a:buFont typeface="Noto Sans Symbols"/>
              <a:buChar char="▪"/>
            </a:pPr>
            <a:r>
              <a:rPr lang="en-US" sz="1400" b="1" i="0" u="none" strike="noStrike" cap="none">
                <a:solidFill>
                  <a:srgbClr val="000000"/>
                </a:solidFill>
                <a:latin typeface="Calibri"/>
                <a:ea typeface="Calibri"/>
                <a:cs typeface="Calibri"/>
                <a:sym typeface="Calibri"/>
              </a:rPr>
              <a:t>Full cloud: </a:t>
            </a:r>
            <a:r>
              <a:rPr lang="en-US" sz="1400" b="0" i="0" u="none" strike="noStrike" cap="none">
                <a:solidFill>
                  <a:schemeClr val="dk1"/>
                </a:solidFill>
                <a:latin typeface="Calibri"/>
                <a:ea typeface="Calibri"/>
                <a:cs typeface="Calibri"/>
                <a:sym typeface="Calibri"/>
              </a:rPr>
              <a:t>All our data are stored on Google Drive, which is complemented with advanced administration and backup tools  and a triple internet connection– Meaning  limited data loss risks and no internal network, hence limited hacking/virus dissemination risks, and a high level of service</a:t>
            </a:r>
            <a:endParaRPr sz="1400" b="0" i="0" u="none" strike="noStrike" cap="none">
              <a:solidFill>
                <a:srgbClr val="000000"/>
              </a:solidFill>
              <a:latin typeface="Arial"/>
              <a:ea typeface="Arial"/>
              <a:cs typeface="Arial"/>
              <a:sym typeface="Arial"/>
            </a:endParaRPr>
          </a:p>
          <a:p>
            <a:pPr marL="171450" marR="0" lvl="1" indent="-171450" algn="l" rtl="0">
              <a:lnSpc>
                <a:spcPct val="100000"/>
              </a:lnSpc>
              <a:spcBef>
                <a:spcPts val="1500"/>
              </a:spcBef>
              <a:spcAft>
                <a:spcPts val="0"/>
              </a:spcAft>
              <a:buClr>
                <a:schemeClr val="dk2"/>
              </a:buClr>
              <a:buSzPts val="1400"/>
              <a:buFont typeface="Noto Sans Symbols"/>
              <a:buChar char="▪"/>
            </a:pPr>
            <a:r>
              <a:rPr lang="en-US" sz="1400" b="1" i="0" u="none" strike="noStrike" cap="none">
                <a:solidFill>
                  <a:srgbClr val="000000"/>
                </a:solidFill>
                <a:latin typeface="Calibri"/>
                <a:ea typeface="Calibri"/>
                <a:cs typeface="Calibri"/>
                <a:sym typeface="Calibri"/>
              </a:rPr>
              <a:t>Compliant hardware and software: </a:t>
            </a:r>
            <a:r>
              <a:rPr lang="en-US" sz="1400" b="0" i="0" u="none" strike="noStrike" cap="none">
                <a:solidFill>
                  <a:schemeClr val="dk1"/>
                </a:solidFill>
                <a:latin typeface="Calibri"/>
                <a:ea typeface="Calibri"/>
                <a:cs typeface="Calibri"/>
                <a:sym typeface="Calibri"/>
              </a:rPr>
              <a:t>Disabled DVD drives and USB ports, users without admin rights</a:t>
            </a:r>
            <a:endParaRPr sz="1400" b="0" i="0" u="none" strike="noStrike" cap="none">
              <a:solidFill>
                <a:srgbClr val="000000"/>
              </a:solidFill>
              <a:latin typeface="Arial"/>
              <a:ea typeface="Arial"/>
              <a:cs typeface="Arial"/>
              <a:sym typeface="Arial"/>
            </a:endParaRPr>
          </a:p>
          <a:p>
            <a:pPr marL="171450" marR="0" lvl="1" indent="-171450" algn="l" rtl="0">
              <a:lnSpc>
                <a:spcPct val="100000"/>
              </a:lnSpc>
              <a:spcBef>
                <a:spcPts val="1500"/>
              </a:spcBef>
              <a:spcAft>
                <a:spcPts val="0"/>
              </a:spcAft>
              <a:buClr>
                <a:schemeClr val="dk2"/>
              </a:buClr>
              <a:buSzPts val="1400"/>
              <a:buFont typeface="Noto Sans Symbols"/>
              <a:buChar char="▪"/>
            </a:pPr>
            <a:r>
              <a:rPr lang="en-US" sz="1400" b="1" i="0" u="none" strike="noStrike" cap="none">
                <a:solidFill>
                  <a:srgbClr val="000000"/>
                </a:solidFill>
                <a:latin typeface="Calibri"/>
                <a:ea typeface="Calibri"/>
                <a:cs typeface="Calibri"/>
                <a:sym typeface="Calibri"/>
              </a:rPr>
              <a:t>Physical security: </a:t>
            </a:r>
            <a:r>
              <a:rPr lang="en-US" sz="1400" b="0" i="0" u="none" strike="noStrike" cap="none">
                <a:solidFill>
                  <a:schemeClr val="dk1"/>
                </a:solidFill>
                <a:latin typeface="Calibri"/>
                <a:ea typeface="Calibri"/>
                <a:cs typeface="Calibri"/>
                <a:sym typeface="Calibri"/>
              </a:rPr>
              <a:t>Offices with IR cameras, 24/7 surveillance, computers attached to desks</a:t>
            </a:r>
            <a:endParaRPr sz="1400" b="0" i="0" u="none" strike="noStrike" cap="none">
              <a:solidFill>
                <a:srgbClr val="000000"/>
              </a:solidFill>
              <a:latin typeface="Arial"/>
              <a:ea typeface="Arial"/>
              <a:cs typeface="Arial"/>
              <a:sym typeface="Arial"/>
            </a:endParaRPr>
          </a:p>
          <a:p>
            <a:pPr marL="171450" marR="0" lvl="1" indent="-171450" algn="l" rtl="0">
              <a:lnSpc>
                <a:spcPct val="100000"/>
              </a:lnSpc>
              <a:spcBef>
                <a:spcPts val="1500"/>
              </a:spcBef>
              <a:spcAft>
                <a:spcPts val="0"/>
              </a:spcAft>
              <a:buClr>
                <a:schemeClr val="dk2"/>
              </a:buClr>
              <a:buSzPts val="1400"/>
              <a:buFont typeface="Noto Sans Symbols"/>
              <a:buChar char="▪"/>
            </a:pPr>
            <a:r>
              <a:rPr lang="en-US" sz="1400" b="1" i="0" u="none" strike="noStrike" cap="none">
                <a:solidFill>
                  <a:srgbClr val="000000"/>
                </a:solidFill>
                <a:latin typeface="Calibri"/>
                <a:ea typeface="Calibri"/>
                <a:cs typeface="Calibri"/>
                <a:sym typeface="Calibri"/>
              </a:rPr>
              <a:t>Employee commitment: </a:t>
            </a:r>
            <a:r>
              <a:rPr lang="en-US" sz="1400" b="0" i="0" u="none" strike="noStrike" cap="none">
                <a:solidFill>
                  <a:schemeClr val="dk1"/>
                </a:solidFill>
                <a:latin typeface="Calibri"/>
                <a:ea typeface="Calibri"/>
                <a:cs typeface="Calibri"/>
                <a:sym typeface="Calibri"/>
              </a:rPr>
              <a:t>All employees are informed and trained on the ISMS.</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2991"/>
        <p:cNvGrpSpPr/>
        <p:nvPr/>
      </p:nvGrpSpPr>
      <p:grpSpPr>
        <a:xfrm>
          <a:off x="0" y="0"/>
          <a:ext cx="0" cy="0"/>
          <a:chOff x="0" y="0"/>
          <a:chExt cx="0" cy="0"/>
        </a:xfrm>
      </p:grpSpPr>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283"/>
        <p:cNvGrpSpPr/>
        <p:nvPr/>
      </p:nvGrpSpPr>
      <p:grpSpPr>
        <a:xfrm>
          <a:off x="0" y="0"/>
          <a:ext cx="0" cy="0"/>
          <a:chOff x="0" y="0"/>
          <a:chExt cx="0" cy="0"/>
        </a:xfrm>
      </p:grpSpPr>
      <p:sp>
        <p:nvSpPr>
          <p:cNvPr id="1284" name="Google Shape;1284;p6"/>
          <p:cNvSpPr/>
          <p:nvPr/>
        </p:nvSpPr>
        <p:spPr>
          <a:xfrm>
            <a:off x="-446654" y="0"/>
            <a:ext cx="4360469" cy="6857999"/>
          </a:xfrm>
          <a:custGeom>
            <a:avLst/>
            <a:gdLst/>
            <a:ahLst/>
            <a:cxnLst/>
            <a:rect l="l" t="t" r="r" b="b"/>
            <a:pathLst>
              <a:path w="4409954" h="6850992" extrusionOk="0">
                <a:moveTo>
                  <a:pt x="0" y="0"/>
                </a:moveTo>
                <a:lnTo>
                  <a:pt x="2854655" y="0"/>
                </a:lnTo>
                <a:lnTo>
                  <a:pt x="2869398" y="12911"/>
                </a:lnTo>
                <a:cubicBezTo>
                  <a:pt x="3821232" y="887164"/>
                  <a:pt x="4409954" y="2094934"/>
                  <a:pt x="4409954" y="3429000"/>
                </a:cubicBezTo>
                <a:cubicBezTo>
                  <a:pt x="4409954" y="4763066"/>
                  <a:pt x="3821232" y="5970836"/>
                  <a:pt x="2869398" y="6845090"/>
                </a:cubicBezTo>
                <a:lnTo>
                  <a:pt x="2862658" y="6850992"/>
                </a:lnTo>
                <a:lnTo>
                  <a:pt x="0" y="6850992"/>
                </a:lnTo>
                <a:close/>
              </a:path>
            </a:pathLst>
          </a:custGeom>
          <a:solidFill>
            <a:schemeClr val="lt2"/>
          </a:solidFill>
          <a:ln>
            <a:noFill/>
          </a:ln>
        </p:spPr>
        <p:txBody>
          <a:bodyPr spcFirstLastPara="1" wrap="square" lIns="0" tIns="27430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1" u="none" strike="noStrike" cap="none">
              <a:solidFill>
                <a:schemeClr val="lt1"/>
              </a:solidFill>
              <a:latin typeface="Calibri"/>
              <a:ea typeface="Calibri"/>
              <a:cs typeface="Calibri"/>
              <a:sym typeface="Calibri"/>
            </a:endParaRPr>
          </a:p>
        </p:txBody>
      </p:sp>
      <p:pic>
        <p:nvPicPr>
          <p:cNvPr id="1285" name="Google Shape;1285;p6"/>
          <p:cNvPicPr preferRelativeResize="0"/>
          <p:nvPr/>
        </p:nvPicPr>
        <p:blipFill rotWithShape="1">
          <a:blip r:embed="rId3">
            <a:alphaModFix/>
          </a:blip>
          <a:srcRect/>
          <a:stretch/>
        </p:blipFill>
        <p:spPr>
          <a:xfrm>
            <a:off x="-329807" y="0"/>
            <a:ext cx="3484098" cy="6858000"/>
          </a:xfrm>
          <a:custGeom>
            <a:avLst/>
            <a:gdLst/>
            <a:ahLst/>
            <a:cxnLst/>
            <a:rect l="l" t="t" r="r" b="b"/>
            <a:pathLst>
              <a:path w="2711987" h="5338200" extrusionOk="0">
                <a:moveTo>
                  <a:pt x="42887" y="0"/>
                </a:moveTo>
                <a:cubicBezTo>
                  <a:pt x="1516990" y="0"/>
                  <a:pt x="2711987" y="1194997"/>
                  <a:pt x="2711987" y="2669100"/>
                </a:cubicBezTo>
                <a:cubicBezTo>
                  <a:pt x="2711987" y="4143203"/>
                  <a:pt x="1516990" y="5338200"/>
                  <a:pt x="42887" y="5338200"/>
                </a:cubicBezTo>
                <a:lnTo>
                  <a:pt x="0" y="5336035"/>
                </a:lnTo>
                <a:lnTo>
                  <a:pt x="0" y="2166"/>
                </a:lnTo>
                <a:close/>
              </a:path>
            </a:pathLst>
          </a:custGeom>
          <a:noFill/>
          <a:ln>
            <a:noFill/>
          </a:ln>
        </p:spPr>
      </p:pic>
      <p:sp>
        <p:nvSpPr>
          <p:cNvPr id="1286" name="Google Shape;1286;p6"/>
          <p:cNvSpPr/>
          <p:nvPr/>
        </p:nvSpPr>
        <p:spPr>
          <a:xfrm>
            <a:off x="-329807" y="0"/>
            <a:ext cx="3484098" cy="6858000"/>
          </a:xfrm>
          <a:custGeom>
            <a:avLst/>
            <a:gdLst/>
            <a:ahLst/>
            <a:cxnLst/>
            <a:rect l="l" t="t" r="r" b="b"/>
            <a:pathLst>
              <a:path w="2711987" h="5338200" extrusionOk="0">
                <a:moveTo>
                  <a:pt x="42887" y="0"/>
                </a:moveTo>
                <a:cubicBezTo>
                  <a:pt x="1516990" y="0"/>
                  <a:pt x="2711987" y="1194997"/>
                  <a:pt x="2711987" y="2669100"/>
                </a:cubicBezTo>
                <a:cubicBezTo>
                  <a:pt x="2711987" y="4143203"/>
                  <a:pt x="1516990" y="5338200"/>
                  <a:pt x="42887" y="5338200"/>
                </a:cubicBezTo>
                <a:lnTo>
                  <a:pt x="0" y="5336035"/>
                </a:lnTo>
                <a:lnTo>
                  <a:pt x="0" y="2166"/>
                </a:lnTo>
                <a:close/>
              </a:path>
            </a:pathLst>
          </a:custGeom>
          <a:gradFill>
            <a:gsLst>
              <a:gs pos="0">
                <a:srgbClr val="062379">
                  <a:alpha val="92941"/>
                </a:srgbClr>
              </a:gs>
              <a:gs pos="25000">
                <a:srgbClr val="062379">
                  <a:alpha val="92941"/>
                </a:srgbClr>
              </a:gs>
              <a:gs pos="55000">
                <a:srgbClr val="0934B6">
                  <a:alpha val="82745"/>
                </a:srgbClr>
              </a:gs>
              <a:gs pos="73000">
                <a:srgbClr val="036DFF">
                  <a:alpha val="82745"/>
                </a:srgbClr>
              </a:gs>
              <a:gs pos="89000">
                <a:srgbClr val="43E1D3"/>
              </a:gs>
              <a:gs pos="100000">
                <a:srgbClr val="43E1D3"/>
              </a:gs>
            </a:gsLst>
            <a:lin ang="3000000" scaled="0"/>
          </a:gradFill>
          <a:ln>
            <a:noFill/>
          </a:ln>
        </p:spPr>
        <p:txBody>
          <a:bodyPr spcFirstLastPara="1" wrap="square" lIns="0" tIns="27430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1" u="none" strike="noStrike" cap="none">
              <a:solidFill>
                <a:schemeClr val="lt1"/>
              </a:solidFill>
              <a:latin typeface="Calibri"/>
              <a:ea typeface="Calibri"/>
              <a:cs typeface="Calibri"/>
              <a:sym typeface="Calibri"/>
            </a:endParaRPr>
          </a:p>
        </p:txBody>
      </p:sp>
      <p:grpSp>
        <p:nvGrpSpPr>
          <p:cNvPr id="1287" name="Google Shape;1287;p6"/>
          <p:cNvGrpSpPr/>
          <p:nvPr/>
        </p:nvGrpSpPr>
        <p:grpSpPr>
          <a:xfrm>
            <a:off x="7610091" y="2754195"/>
            <a:ext cx="747458" cy="747458"/>
            <a:chOff x="6541511" y="3023275"/>
            <a:chExt cx="607739" cy="607739"/>
          </a:xfrm>
        </p:grpSpPr>
        <p:sp>
          <p:nvSpPr>
            <p:cNvPr id="1288" name="Google Shape;1288;p6"/>
            <p:cNvSpPr/>
            <p:nvPr/>
          </p:nvSpPr>
          <p:spPr>
            <a:xfrm>
              <a:off x="6541511" y="3023275"/>
              <a:ext cx="607739" cy="607739"/>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289" name="Google Shape;1289;p6"/>
            <p:cNvPicPr preferRelativeResize="0"/>
            <p:nvPr/>
          </p:nvPicPr>
          <p:blipFill rotWithShape="1">
            <a:blip r:embed="rId4">
              <a:alphaModFix/>
            </a:blip>
            <a:srcRect/>
            <a:stretch/>
          </p:blipFill>
          <p:spPr>
            <a:xfrm>
              <a:off x="6648723" y="3126361"/>
              <a:ext cx="397581" cy="397584"/>
            </a:xfrm>
            <a:prstGeom prst="rect">
              <a:avLst/>
            </a:prstGeom>
            <a:noFill/>
            <a:ln>
              <a:noFill/>
            </a:ln>
          </p:spPr>
        </p:pic>
      </p:grpSp>
      <p:grpSp>
        <p:nvGrpSpPr>
          <p:cNvPr id="1290" name="Google Shape;1290;p6"/>
          <p:cNvGrpSpPr/>
          <p:nvPr/>
        </p:nvGrpSpPr>
        <p:grpSpPr>
          <a:xfrm>
            <a:off x="7663461" y="3910377"/>
            <a:ext cx="747446" cy="747446"/>
            <a:chOff x="6541511" y="3910964"/>
            <a:chExt cx="607739" cy="607739"/>
          </a:xfrm>
        </p:grpSpPr>
        <p:sp>
          <p:nvSpPr>
            <p:cNvPr id="1291" name="Google Shape;1291;p6"/>
            <p:cNvSpPr/>
            <p:nvPr/>
          </p:nvSpPr>
          <p:spPr>
            <a:xfrm>
              <a:off x="6541511" y="3910964"/>
              <a:ext cx="607739" cy="607739"/>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292" name="Google Shape;1292;p6"/>
            <p:cNvPicPr preferRelativeResize="0"/>
            <p:nvPr/>
          </p:nvPicPr>
          <p:blipFill rotWithShape="1">
            <a:blip r:embed="rId5">
              <a:alphaModFix/>
            </a:blip>
            <a:srcRect/>
            <a:stretch/>
          </p:blipFill>
          <p:spPr>
            <a:xfrm>
              <a:off x="6676533" y="4046643"/>
              <a:ext cx="337977" cy="337977"/>
            </a:xfrm>
            <a:prstGeom prst="rect">
              <a:avLst/>
            </a:prstGeom>
            <a:noFill/>
            <a:ln>
              <a:noFill/>
            </a:ln>
          </p:spPr>
        </p:pic>
      </p:grpSp>
      <p:sp>
        <p:nvSpPr>
          <p:cNvPr id="1293" name="Google Shape;1293;p6"/>
          <p:cNvSpPr/>
          <p:nvPr/>
        </p:nvSpPr>
        <p:spPr>
          <a:xfrm>
            <a:off x="8515069" y="1711373"/>
            <a:ext cx="2914931" cy="634020"/>
          </a:xfrm>
          <a:prstGeom prst="rect">
            <a:avLst/>
          </a:prstGeom>
          <a:noFill/>
          <a:ln>
            <a:noFill/>
          </a:ln>
        </p:spPr>
        <p:txBody>
          <a:bodyPr spcFirstLastPara="1" wrap="square" lIns="0" tIns="0" rIns="0" bIns="0" anchor="ctr" anchorCtr="0">
            <a:spAutoFit/>
          </a:bodyPr>
          <a:lstStyle/>
          <a:p>
            <a:pPr marL="0" marR="0" lvl="0" indent="0" algn="l" rtl="0">
              <a:lnSpc>
                <a:spcPct val="80000"/>
              </a:lnSpc>
              <a:spcBef>
                <a:spcPts val="0"/>
              </a:spcBef>
              <a:spcAft>
                <a:spcPts val="0"/>
              </a:spcAft>
              <a:buClr>
                <a:srgbClr val="000000"/>
              </a:buClr>
              <a:buSzPts val="2000"/>
              <a:buFont typeface="Arial"/>
              <a:buNone/>
            </a:pPr>
            <a:r>
              <a:rPr lang="en-US" sz="2000" b="0" i="0" u="none" strike="noStrike" cap="none">
                <a:solidFill>
                  <a:schemeClr val="dk1"/>
                </a:solidFill>
                <a:latin typeface="Franklin Gothic"/>
                <a:ea typeface="Franklin Gothic"/>
                <a:cs typeface="Franklin Gothic"/>
                <a:sym typeface="Franklin Gothic"/>
              </a:rPr>
              <a:t>Desk research</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0"/>
              </a:spcBef>
              <a:spcAft>
                <a:spcPts val="0"/>
              </a:spcAft>
              <a:buClr>
                <a:srgbClr val="000000"/>
              </a:buClr>
              <a:buSzPts val="1400"/>
              <a:buFont typeface="Arial"/>
              <a:buNone/>
            </a:pPr>
            <a:r>
              <a:rPr lang="en-US" sz="1400" b="0" i="0" u="none" strike="noStrike" cap="none">
                <a:solidFill>
                  <a:schemeClr val="dk1"/>
                </a:solidFill>
                <a:latin typeface="Calibri"/>
                <a:ea typeface="Calibri"/>
                <a:cs typeface="Calibri"/>
                <a:sym typeface="Calibri"/>
              </a:rPr>
              <a:t>Getting insights through free and paid data sources</a:t>
            </a:r>
            <a:endParaRPr sz="1400" b="0" i="0" u="none" strike="noStrike" cap="none">
              <a:solidFill>
                <a:srgbClr val="000000"/>
              </a:solidFill>
              <a:latin typeface="Arial"/>
              <a:ea typeface="Arial"/>
              <a:cs typeface="Arial"/>
              <a:sym typeface="Arial"/>
            </a:endParaRPr>
          </a:p>
        </p:txBody>
      </p:sp>
      <p:sp>
        <p:nvSpPr>
          <p:cNvPr id="1294" name="Google Shape;1294;p6"/>
          <p:cNvSpPr/>
          <p:nvPr/>
        </p:nvSpPr>
        <p:spPr>
          <a:xfrm>
            <a:off x="8434644" y="2810848"/>
            <a:ext cx="3114300" cy="633900"/>
          </a:xfrm>
          <a:prstGeom prst="rect">
            <a:avLst/>
          </a:prstGeom>
          <a:noFill/>
          <a:ln>
            <a:noFill/>
          </a:ln>
        </p:spPr>
        <p:txBody>
          <a:bodyPr spcFirstLastPara="1" wrap="square" lIns="0" tIns="0" rIns="0" bIns="0" anchor="ctr" anchorCtr="0">
            <a:spAutoFit/>
          </a:bodyPr>
          <a:lstStyle/>
          <a:p>
            <a:pPr marL="0" marR="0" lvl="0" indent="0" algn="l" rtl="0">
              <a:lnSpc>
                <a:spcPct val="80000"/>
              </a:lnSpc>
              <a:spcBef>
                <a:spcPts val="0"/>
              </a:spcBef>
              <a:spcAft>
                <a:spcPts val="0"/>
              </a:spcAft>
              <a:buClr>
                <a:srgbClr val="000000"/>
              </a:buClr>
              <a:buSzPts val="2000"/>
              <a:buFont typeface="Arial"/>
              <a:buNone/>
            </a:pPr>
            <a:r>
              <a:rPr lang="en-US" sz="2000" b="0" i="0" u="none" strike="noStrike" cap="none">
                <a:solidFill>
                  <a:schemeClr val="dk1"/>
                </a:solidFill>
                <a:latin typeface="Franklin Gothic"/>
                <a:ea typeface="Franklin Gothic"/>
                <a:cs typeface="Franklin Gothic"/>
                <a:sym typeface="Franklin Gothic"/>
              </a:rPr>
              <a:t>Primary research</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0"/>
              </a:spcBef>
              <a:spcAft>
                <a:spcPts val="0"/>
              </a:spcAft>
              <a:buClr>
                <a:srgbClr val="000000"/>
              </a:buClr>
              <a:buSzPts val="1400"/>
              <a:buFont typeface="Arial"/>
              <a:buNone/>
            </a:pPr>
            <a:r>
              <a:rPr lang="en-US" sz="1400" b="0" i="0" u="none" strike="noStrike" cap="none">
                <a:solidFill>
                  <a:schemeClr val="dk1"/>
                </a:solidFill>
                <a:latin typeface="Calibri"/>
                <a:ea typeface="Calibri"/>
                <a:cs typeface="Calibri"/>
                <a:sym typeface="Calibri"/>
              </a:rPr>
              <a:t>Building new data through interviews (cold calling or Expert Interviews), or field work </a:t>
            </a:r>
            <a:endParaRPr sz="1400" b="0" i="0" u="none" strike="noStrike" cap="none">
              <a:solidFill>
                <a:srgbClr val="000000"/>
              </a:solidFill>
              <a:latin typeface="Arial"/>
              <a:ea typeface="Arial"/>
              <a:cs typeface="Arial"/>
              <a:sym typeface="Arial"/>
            </a:endParaRPr>
          </a:p>
        </p:txBody>
      </p:sp>
      <p:sp>
        <p:nvSpPr>
          <p:cNvPr id="1295" name="Google Shape;1295;p6"/>
          <p:cNvSpPr/>
          <p:nvPr/>
        </p:nvSpPr>
        <p:spPr>
          <a:xfrm>
            <a:off x="8515069" y="3996103"/>
            <a:ext cx="2686733" cy="634020"/>
          </a:xfrm>
          <a:prstGeom prst="rect">
            <a:avLst/>
          </a:prstGeom>
          <a:noFill/>
          <a:ln>
            <a:noFill/>
          </a:ln>
        </p:spPr>
        <p:txBody>
          <a:bodyPr spcFirstLastPara="1" wrap="square" lIns="0" tIns="0" rIns="0" bIns="0" anchor="ctr" anchorCtr="0">
            <a:spAutoFit/>
          </a:bodyPr>
          <a:lstStyle/>
          <a:p>
            <a:pPr marL="0" marR="0" lvl="0" indent="0" algn="l" rtl="0">
              <a:lnSpc>
                <a:spcPct val="80000"/>
              </a:lnSpc>
              <a:spcBef>
                <a:spcPts val="0"/>
              </a:spcBef>
              <a:spcAft>
                <a:spcPts val="0"/>
              </a:spcAft>
              <a:buClr>
                <a:schemeClr val="dk1"/>
              </a:buClr>
              <a:buSzPts val="2000"/>
              <a:buFont typeface="Franklin Gothic"/>
              <a:buNone/>
            </a:pPr>
            <a:r>
              <a:rPr lang="en-US" sz="2000" b="0" i="0" u="none" strike="noStrike" cap="none">
                <a:solidFill>
                  <a:schemeClr val="dk1"/>
                </a:solidFill>
                <a:latin typeface="Franklin Gothic"/>
                <a:ea typeface="Franklin Gothic"/>
                <a:cs typeface="Franklin Gothic"/>
                <a:sym typeface="Franklin Gothic"/>
              </a:rPr>
              <a:t>Tech enabled research</a:t>
            </a:r>
            <a:endParaRPr sz="2400" b="0" i="0" u="none" strike="noStrike" cap="none">
              <a:solidFill>
                <a:srgbClr val="444444"/>
              </a:solidFill>
              <a:latin typeface="Calibri"/>
              <a:ea typeface="Calibri"/>
              <a:cs typeface="Calibri"/>
              <a:sym typeface="Calibri"/>
            </a:endParaRPr>
          </a:p>
          <a:p>
            <a:pPr marL="0" marR="0" lvl="0" indent="0" algn="l" rtl="0">
              <a:lnSpc>
                <a:spcPct val="90000"/>
              </a:lnSpc>
              <a:spcBef>
                <a:spcPts val="0"/>
              </a:spcBef>
              <a:spcAft>
                <a:spcPts val="0"/>
              </a:spcAft>
              <a:buClr>
                <a:srgbClr val="000000"/>
              </a:buClr>
              <a:buSzPts val="1400"/>
              <a:buFont typeface="Arial"/>
              <a:buNone/>
            </a:pPr>
            <a:r>
              <a:rPr lang="en-US" sz="1400" b="0" i="0" u="none" strike="noStrike" cap="none">
                <a:solidFill>
                  <a:schemeClr val="dk1"/>
                </a:solidFill>
                <a:latin typeface="Calibri"/>
                <a:ea typeface="Calibri"/>
                <a:cs typeface="Calibri"/>
                <a:sym typeface="Calibri"/>
              </a:rPr>
              <a:t>Using technology to generate data and insights</a:t>
            </a:r>
            <a:endParaRPr sz="1400" b="0" i="0" u="none" strike="noStrike" cap="none">
              <a:solidFill>
                <a:srgbClr val="000000"/>
              </a:solidFill>
              <a:latin typeface="Arial"/>
              <a:ea typeface="Arial"/>
              <a:cs typeface="Arial"/>
              <a:sym typeface="Arial"/>
            </a:endParaRPr>
          </a:p>
        </p:txBody>
      </p:sp>
      <p:sp>
        <p:nvSpPr>
          <p:cNvPr id="1296" name="Google Shape;1296;p6"/>
          <p:cNvSpPr txBox="1">
            <a:spLocks noGrp="1"/>
          </p:cNvSpPr>
          <p:nvPr>
            <p:ph type="title"/>
          </p:nvPr>
        </p:nvSpPr>
        <p:spPr>
          <a:xfrm>
            <a:off x="2731624" y="560588"/>
            <a:ext cx="8897747" cy="443198"/>
          </a:xfrm>
          <a:prstGeom prst="rect">
            <a:avLst/>
          </a:prstGeom>
          <a:noFill/>
          <a:ln>
            <a:noFill/>
          </a:ln>
        </p:spPr>
        <p:txBody>
          <a:bodyPr spcFirstLastPara="1" wrap="square" lIns="0" tIns="0" rIns="0" bIns="0" anchor="t" anchorCtr="0">
            <a:spAutoFit/>
          </a:bodyPr>
          <a:lstStyle/>
          <a:p>
            <a:pPr marL="0" lvl="0" indent="0" algn="ctr" rtl="0">
              <a:lnSpc>
                <a:spcPct val="90000"/>
              </a:lnSpc>
              <a:spcBef>
                <a:spcPts val="0"/>
              </a:spcBef>
              <a:spcAft>
                <a:spcPts val="0"/>
              </a:spcAft>
              <a:buClr>
                <a:schemeClr val="dk2"/>
              </a:buClr>
              <a:buSzPts val="3200"/>
              <a:buFont typeface="Franklin Gothic"/>
              <a:buNone/>
            </a:pPr>
            <a:r>
              <a:rPr lang="en-US"/>
              <a:t>Infomineo offers a suite of Brainshoring services</a:t>
            </a:r>
            <a:endParaRPr/>
          </a:p>
        </p:txBody>
      </p:sp>
      <p:sp>
        <p:nvSpPr>
          <p:cNvPr id="1297" name="Google Shape;1297;p6"/>
          <p:cNvSpPr txBox="1"/>
          <p:nvPr/>
        </p:nvSpPr>
        <p:spPr>
          <a:xfrm>
            <a:off x="4338032" y="4090645"/>
            <a:ext cx="2794355"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chemeClr val="accent1"/>
                </a:solidFill>
                <a:latin typeface="Franklin Gothic"/>
                <a:ea typeface="Franklin Gothic"/>
                <a:cs typeface="Franklin Gothic"/>
                <a:sym typeface="Franklin Gothic"/>
              </a:rPr>
              <a:t>Language services</a:t>
            </a:r>
            <a:endParaRPr sz="1400" b="0" i="0" u="none" strike="noStrike" cap="none" dirty="0">
              <a:solidFill>
                <a:srgbClr val="000000"/>
              </a:solidFill>
              <a:latin typeface="Arial"/>
              <a:ea typeface="Arial"/>
              <a:cs typeface="Arial"/>
              <a:sym typeface="Arial"/>
            </a:endParaRPr>
          </a:p>
        </p:txBody>
      </p:sp>
      <p:sp>
        <p:nvSpPr>
          <p:cNvPr id="1298" name="Google Shape;1298;p6"/>
          <p:cNvSpPr txBox="1"/>
          <p:nvPr/>
        </p:nvSpPr>
        <p:spPr>
          <a:xfrm>
            <a:off x="4278657" y="1242442"/>
            <a:ext cx="2646622"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chemeClr val="accent1"/>
                </a:solidFill>
                <a:latin typeface="Franklin Gothic"/>
                <a:ea typeface="Franklin Gothic"/>
                <a:cs typeface="Franklin Gothic"/>
                <a:sym typeface="Franklin Gothic"/>
              </a:rPr>
              <a:t>Data research</a:t>
            </a:r>
            <a:endParaRPr sz="1400" b="0" i="0" u="none" strike="noStrike" cap="none" dirty="0">
              <a:solidFill>
                <a:srgbClr val="000000"/>
              </a:solidFill>
              <a:latin typeface="Arial"/>
              <a:ea typeface="Arial"/>
              <a:cs typeface="Arial"/>
              <a:sym typeface="Arial"/>
            </a:endParaRPr>
          </a:p>
        </p:txBody>
      </p:sp>
      <p:sp>
        <p:nvSpPr>
          <p:cNvPr id="1299" name="Google Shape;1299;p6"/>
          <p:cNvSpPr txBox="1"/>
          <p:nvPr/>
        </p:nvSpPr>
        <p:spPr>
          <a:xfrm>
            <a:off x="4537611" y="2740886"/>
            <a:ext cx="2448707"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chemeClr val="accent1"/>
                </a:solidFill>
                <a:latin typeface="Franklin Gothic"/>
                <a:ea typeface="Franklin Gothic"/>
                <a:cs typeface="Franklin Gothic"/>
                <a:sym typeface="Franklin Gothic"/>
              </a:rPr>
              <a:t>Graphic design</a:t>
            </a:r>
            <a:endParaRPr sz="1400" b="0" i="0" u="none" strike="noStrike" cap="none" dirty="0">
              <a:solidFill>
                <a:srgbClr val="000000"/>
              </a:solidFill>
              <a:latin typeface="Arial"/>
              <a:ea typeface="Arial"/>
              <a:cs typeface="Arial"/>
              <a:sym typeface="Arial"/>
            </a:endParaRPr>
          </a:p>
        </p:txBody>
      </p:sp>
      <p:sp>
        <p:nvSpPr>
          <p:cNvPr id="1300" name="Google Shape;1300;p6"/>
          <p:cNvSpPr/>
          <p:nvPr/>
        </p:nvSpPr>
        <p:spPr>
          <a:xfrm>
            <a:off x="4278657" y="1688554"/>
            <a:ext cx="2310799" cy="409343"/>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000000"/>
              </a:buClr>
              <a:buSzPts val="1400"/>
              <a:buFont typeface="Arial"/>
              <a:buNone/>
            </a:pPr>
            <a:r>
              <a:rPr lang="en-US" sz="1400" b="0" i="0" u="none" strike="noStrike" cap="none">
                <a:solidFill>
                  <a:schemeClr val="dk1"/>
                </a:solidFill>
                <a:latin typeface="Calibri"/>
                <a:ea typeface="Calibri"/>
                <a:cs typeface="Calibri"/>
                <a:sym typeface="Calibri"/>
              </a:rPr>
              <a:t>Getting the right insights to make better decisions</a:t>
            </a:r>
            <a:endParaRPr sz="1400" b="0" i="0" u="none" strike="noStrike" cap="none">
              <a:solidFill>
                <a:srgbClr val="000000"/>
              </a:solidFill>
              <a:latin typeface="Arial"/>
              <a:ea typeface="Arial"/>
              <a:cs typeface="Arial"/>
              <a:sym typeface="Arial"/>
            </a:endParaRPr>
          </a:p>
        </p:txBody>
      </p:sp>
      <p:sp>
        <p:nvSpPr>
          <p:cNvPr id="1301" name="Google Shape;1301;p6"/>
          <p:cNvSpPr/>
          <p:nvPr/>
        </p:nvSpPr>
        <p:spPr>
          <a:xfrm>
            <a:off x="4338032" y="4443070"/>
            <a:ext cx="2776296" cy="818686"/>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000000"/>
              </a:buClr>
              <a:buSzPts val="1400"/>
              <a:buFont typeface="Arial"/>
              <a:buNone/>
            </a:pPr>
            <a:r>
              <a:rPr lang="en-US" sz="1400" b="0" i="0" u="none" strike="noStrike" cap="none" dirty="0">
                <a:solidFill>
                  <a:schemeClr val="dk1"/>
                </a:solidFill>
                <a:latin typeface="Calibri"/>
                <a:ea typeface="Calibri"/>
                <a:cs typeface="Calibri"/>
                <a:sym typeface="Calibri"/>
              </a:rPr>
              <a:t>Translating business content between languages without betraying the original message, and advising on language related issues</a:t>
            </a:r>
            <a:endParaRPr sz="1400" b="0" i="0" u="none" strike="noStrike" cap="none" dirty="0">
              <a:solidFill>
                <a:srgbClr val="000000"/>
              </a:solidFill>
              <a:latin typeface="Arial"/>
              <a:ea typeface="Arial"/>
              <a:cs typeface="Arial"/>
              <a:sym typeface="Arial"/>
            </a:endParaRPr>
          </a:p>
        </p:txBody>
      </p:sp>
      <p:sp>
        <p:nvSpPr>
          <p:cNvPr id="1302" name="Google Shape;1302;p6"/>
          <p:cNvSpPr/>
          <p:nvPr/>
        </p:nvSpPr>
        <p:spPr>
          <a:xfrm>
            <a:off x="4537613" y="3116024"/>
            <a:ext cx="2536598" cy="409343"/>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000000"/>
              </a:buClr>
              <a:buSzPts val="1400"/>
              <a:buFont typeface="Arial"/>
              <a:buNone/>
            </a:pPr>
            <a:r>
              <a:rPr lang="en-US" sz="1400" b="0" i="0" u="none" strike="noStrike" cap="none">
                <a:solidFill>
                  <a:schemeClr val="dk1"/>
                </a:solidFill>
                <a:latin typeface="Calibri"/>
                <a:ea typeface="Calibri"/>
                <a:cs typeface="Calibri"/>
                <a:sym typeface="Calibri"/>
              </a:rPr>
              <a:t>Presenting messages in a meaningful and beautiful way</a:t>
            </a:r>
            <a:endParaRPr sz="1400" b="0" i="0" u="none" strike="noStrike" cap="none">
              <a:solidFill>
                <a:srgbClr val="000000"/>
              </a:solidFill>
              <a:latin typeface="Arial"/>
              <a:ea typeface="Arial"/>
              <a:cs typeface="Arial"/>
              <a:sym typeface="Arial"/>
            </a:endParaRPr>
          </a:p>
        </p:txBody>
      </p:sp>
      <p:sp>
        <p:nvSpPr>
          <p:cNvPr id="1303" name="Google Shape;1303;p6"/>
          <p:cNvSpPr txBox="1"/>
          <p:nvPr/>
        </p:nvSpPr>
        <p:spPr>
          <a:xfrm>
            <a:off x="324540" y="3445417"/>
            <a:ext cx="2609454" cy="984885"/>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0" i="1" u="none" strike="noStrike" cap="none">
                <a:solidFill>
                  <a:schemeClr val="lt1"/>
                </a:solidFill>
                <a:latin typeface="Calibri"/>
                <a:ea typeface="Calibri"/>
                <a:cs typeface="Calibri"/>
                <a:sym typeface="Calibri"/>
              </a:rPr>
              <a:t>The business of offshoring</a:t>
            </a:r>
            <a:br>
              <a:rPr lang="en-US" sz="1600" b="0" i="1" u="none" strike="noStrike" cap="none">
                <a:solidFill>
                  <a:schemeClr val="lt1"/>
                </a:solidFill>
                <a:latin typeface="Calibri"/>
                <a:ea typeface="Calibri"/>
                <a:cs typeface="Calibri"/>
                <a:sym typeface="Calibri"/>
              </a:rPr>
            </a:br>
            <a:r>
              <a:rPr lang="en-US" sz="1600" b="0" i="1" u="none" strike="noStrike" cap="none">
                <a:solidFill>
                  <a:schemeClr val="lt1"/>
                </a:solidFill>
                <a:latin typeface="Calibri"/>
                <a:ea typeface="Calibri"/>
                <a:cs typeface="Calibri"/>
                <a:sym typeface="Calibri"/>
              </a:rPr>
              <a:t>tasks that require extensive communication and critical thinking/problem solving skills</a:t>
            </a:r>
            <a:endParaRPr sz="1600" b="0" i="1" u="none" strike="noStrike" cap="none">
              <a:solidFill>
                <a:schemeClr val="lt1"/>
              </a:solidFill>
              <a:latin typeface="Calibri"/>
              <a:ea typeface="Calibri"/>
              <a:cs typeface="Calibri"/>
              <a:sym typeface="Calibri"/>
            </a:endParaRPr>
          </a:p>
        </p:txBody>
      </p:sp>
      <p:sp>
        <p:nvSpPr>
          <p:cNvPr id="1304" name="Google Shape;1304;p6"/>
          <p:cNvSpPr txBox="1"/>
          <p:nvPr/>
        </p:nvSpPr>
        <p:spPr>
          <a:xfrm>
            <a:off x="273268" y="2936557"/>
            <a:ext cx="2711999" cy="492443"/>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3200"/>
              <a:buFont typeface="Arial"/>
              <a:buNone/>
            </a:pPr>
            <a:r>
              <a:rPr lang="en-US" sz="3200" b="0" i="0" u="none" strike="noStrike" cap="none">
                <a:solidFill>
                  <a:srgbClr val="43E1D3"/>
                </a:solidFill>
                <a:latin typeface="Franklin Gothic"/>
                <a:ea typeface="Franklin Gothic"/>
                <a:cs typeface="Franklin Gothic"/>
                <a:sym typeface="Franklin Gothic"/>
              </a:rPr>
              <a:t>“Brainshoring”</a:t>
            </a:r>
            <a:endParaRPr sz="3200" b="0" i="0" u="none" strike="noStrike" cap="none">
              <a:solidFill>
                <a:srgbClr val="43E1D3"/>
              </a:solidFill>
              <a:latin typeface="Franklin Gothic"/>
              <a:ea typeface="Franklin Gothic"/>
              <a:cs typeface="Franklin Gothic"/>
              <a:sym typeface="Franklin Gothic"/>
            </a:endParaRPr>
          </a:p>
        </p:txBody>
      </p:sp>
      <p:cxnSp>
        <p:nvCxnSpPr>
          <p:cNvPr id="1305" name="Google Shape;1305;p6"/>
          <p:cNvCxnSpPr>
            <a:stCxn id="1306" idx="6"/>
          </p:cNvCxnSpPr>
          <p:nvPr/>
        </p:nvCxnSpPr>
        <p:spPr>
          <a:xfrm>
            <a:off x="4142469" y="1655899"/>
            <a:ext cx="3310800" cy="0"/>
          </a:xfrm>
          <a:prstGeom prst="straightConnector1">
            <a:avLst/>
          </a:prstGeom>
          <a:noFill/>
          <a:ln w="9525" cap="flat" cmpd="sng">
            <a:solidFill>
              <a:schemeClr val="accent1"/>
            </a:solidFill>
            <a:prstDash val="solid"/>
            <a:miter lim="800000"/>
            <a:headEnd type="none" w="sm" len="sm"/>
            <a:tailEnd type="none" w="sm" len="sm"/>
          </a:ln>
        </p:spPr>
      </p:cxnSp>
      <p:grpSp>
        <p:nvGrpSpPr>
          <p:cNvPr id="1307" name="Google Shape;1307;p6"/>
          <p:cNvGrpSpPr/>
          <p:nvPr/>
        </p:nvGrpSpPr>
        <p:grpSpPr>
          <a:xfrm>
            <a:off x="3134381" y="1151855"/>
            <a:ext cx="1008088" cy="1008088"/>
            <a:chOff x="3982543" y="3333924"/>
            <a:chExt cx="1008088" cy="1008088"/>
          </a:xfrm>
        </p:grpSpPr>
        <p:sp>
          <p:nvSpPr>
            <p:cNvPr id="1306" name="Google Shape;1306;p6"/>
            <p:cNvSpPr/>
            <p:nvPr/>
          </p:nvSpPr>
          <p:spPr>
            <a:xfrm>
              <a:off x="3982543" y="3333924"/>
              <a:ext cx="1008088" cy="1008088"/>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308" name="Google Shape;1308;p6"/>
            <p:cNvPicPr preferRelativeResize="0"/>
            <p:nvPr/>
          </p:nvPicPr>
          <p:blipFill rotWithShape="1">
            <a:blip r:embed="rId6">
              <a:alphaModFix/>
            </a:blip>
            <a:srcRect/>
            <a:stretch/>
          </p:blipFill>
          <p:spPr>
            <a:xfrm>
              <a:off x="4237191" y="3610878"/>
              <a:ext cx="466462" cy="466462"/>
            </a:xfrm>
            <a:prstGeom prst="rect">
              <a:avLst/>
            </a:prstGeom>
            <a:noFill/>
            <a:ln>
              <a:noFill/>
            </a:ln>
          </p:spPr>
        </p:pic>
      </p:grpSp>
      <p:grpSp>
        <p:nvGrpSpPr>
          <p:cNvPr id="1309" name="Google Shape;1309;p6"/>
          <p:cNvGrpSpPr/>
          <p:nvPr/>
        </p:nvGrpSpPr>
        <p:grpSpPr>
          <a:xfrm>
            <a:off x="3371564" y="2599580"/>
            <a:ext cx="1008088" cy="1008088"/>
            <a:chOff x="3644613" y="1746906"/>
            <a:chExt cx="1008088" cy="1008088"/>
          </a:xfrm>
        </p:grpSpPr>
        <p:sp>
          <p:nvSpPr>
            <p:cNvPr id="1310" name="Google Shape;1310;p6"/>
            <p:cNvSpPr/>
            <p:nvPr/>
          </p:nvSpPr>
          <p:spPr>
            <a:xfrm>
              <a:off x="3644613" y="1746906"/>
              <a:ext cx="1008088" cy="1008088"/>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311" name="Google Shape;1311;p6"/>
            <p:cNvPicPr preferRelativeResize="0"/>
            <p:nvPr/>
          </p:nvPicPr>
          <p:blipFill rotWithShape="1">
            <a:blip r:embed="rId7">
              <a:alphaModFix/>
            </a:blip>
            <a:srcRect/>
            <a:stretch/>
          </p:blipFill>
          <p:spPr>
            <a:xfrm>
              <a:off x="3943132" y="2010252"/>
              <a:ext cx="465868" cy="465868"/>
            </a:xfrm>
            <a:prstGeom prst="rect">
              <a:avLst/>
            </a:prstGeom>
            <a:noFill/>
            <a:ln>
              <a:noFill/>
            </a:ln>
          </p:spPr>
        </p:pic>
      </p:grpSp>
      <p:grpSp>
        <p:nvGrpSpPr>
          <p:cNvPr id="1312" name="Google Shape;1312;p6"/>
          <p:cNvGrpSpPr/>
          <p:nvPr/>
        </p:nvGrpSpPr>
        <p:grpSpPr>
          <a:xfrm>
            <a:off x="3134381" y="4057307"/>
            <a:ext cx="1008088" cy="1008088"/>
            <a:chOff x="3654551" y="4907550"/>
            <a:chExt cx="1008088" cy="1008088"/>
          </a:xfrm>
        </p:grpSpPr>
        <p:sp>
          <p:nvSpPr>
            <p:cNvPr id="1313" name="Google Shape;1313;p6"/>
            <p:cNvSpPr/>
            <p:nvPr/>
          </p:nvSpPr>
          <p:spPr>
            <a:xfrm>
              <a:off x="3654551" y="4907550"/>
              <a:ext cx="1008088" cy="1008088"/>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nvGrpSpPr>
            <p:cNvPr id="1314" name="Google Shape;1314;p6"/>
            <p:cNvGrpSpPr/>
            <p:nvPr/>
          </p:nvGrpSpPr>
          <p:grpSpPr>
            <a:xfrm>
              <a:off x="3989118" y="5163128"/>
              <a:ext cx="314264" cy="529278"/>
              <a:chOff x="6689308" y="2024976"/>
              <a:chExt cx="325986" cy="549024"/>
            </a:xfrm>
          </p:grpSpPr>
          <p:sp>
            <p:nvSpPr>
              <p:cNvPr id="1315" name="Google Shape;1315;p6"/>
              <p:cNvSpPr/>
              <p:nvPr/>
            </p:nvSpPr>
            <p:spPr>
              <a:xfrm>
                <a:off x="6689308" y="2024976"/>
                <a:ext cx="325986" cy="549024"/>
              </a:xfrm>
              <a:custGeom>
                <a:avLst/>
                <a:gdLst/>
                <a:ahLst/>
                <a:cxnLst/>
                <a:rect l="l" t="t" r="r" b="b"/>
                <a:pathLst>
                  <a:path w="325986" h="549024" extrusionOk="0">
                    <a:moveTo>
                      <a:pt x="304900" y="0"/>
                    </a:moveTo>
                    <a:lnTo>
                      <a:pt x="24663" y="0"/>
                    </a:lnTo>
                    <a:cubicBezTo>
                      <a:pt x="11049" y="17"/>
                      <a:pt x="17" y="11049"/>
                      <a:pt x="0" y="24663"/>
                    </a:cubicBezTo>
                    <a:lnTo>
                      <a:pt x="0" y="524361"/>
                    </a:lnTo>
                    <a:cubicBezTo>
                      <a:pt x="17" y="537975"/>
                      <a:pt x="11049" y="549007"/>
                      <a:pt x="24663" y="549024"/>
                    </a:cubicBezTo>
                    <a:lnTo>
                      <a:pt x="304900" y="549024"/>
                    </a:lnTo>
                    <a:cubicBezTo>
                      <a:pt x="318516" y="549011"/>
                      <a:pt x="329551" y="537975"/>
                      <a:pt x="329563" y="524361"/>
                    </a:cubicBezTo>
                    <a:lnTo>
                      <a:pt x="329563" y="24663"/>
                    </a:lnTo>
                    <a:cubicBezTo>
                      <a:pt x="329551" y="11048"/>
                      <a:pt x="318516" y="14"/>
                      <a:pt x="304900" y="0"/>
                    </a:cubicBezTo>
                    <a:close/>
                    <a:moveTo>
                      <a:pt x="240852" y="15012"/>
                    </a:moveTo>
                    <a:lnTo>
                      <a:pt x="223313" y="32538"/>
                    </a:lnTo>
                    <a:cubicBezTo>
                      <a:pt x="216691" y="39189"/>
                      <a:pt x="207684" y="42917"/>
                      <a:pt x="198298" y="42893"/>
                    </a:cubicBezTo>
                    <a:lnTo>
                      <a:pt x="131265" y="42893"/>
                    </a:lnTo>
                    <a:cubicBezTo>
                      <a:pt x="121879" y="42917"/>
                      <a:pt x="112873" y="39189"/>
                      <a:pt x="106250" y="32538"/>
                    </a:cubicBezTo>
                    <a:lnTo>
                      <a:pt x="88711" y="15012"/>
                    </a:lnTo>
                    <a:close/>
                    <a:moveTo>
                      <a:pt x="314551" y="524361"/>
                    </a:moveTo>
                    <a:cubicBezTo>
                      <a:pt x="314544" y="529688"/>
                      <a:pt x="310227" y="534003"/>
                      <a:pt x="304900" y="534012"/>
                    </a:cubicBezTo>
                    <a:lnTo>
                      <a:pt x="24663" y="534012"/>
                    </a:lnTo>
                    <a:cubicBezTo>
                      <a:pt x="19336" y="534003"/>
                      <a:pt x="15020" y="529688"/>
                      <a:pt x="15013" y="524361"/>
                    </a:cubicBezTo>
                    <a:lnTo>
                      <a:pt x="15013" y="24663"/>
                    </a:lnTo>
                    <a:cubicBezTo>
                      <a:pt x="15020" y="19336"/>
                      <a:pt x="19336" y="15019"/>
                      <a:pt x="24663" y="15012"/>
                    </a:cubicBezTo>
                    <a:lnTo>
                      <a:pt x="67471" y="15012"/>
                    </a:lnTo>
                    <a:lnTo>
                      <a:pt x="95638" y="43163"/>
                    </a:lnTo>
                    <a:cubicBezTo>
                      <a:pt x="105072" y="52633"/>
                      <a:pt x="117898" y="57940"/>
                      <a:pt x="131265" y="57905"/>
                    </a:cubicBezTo>
                    <a:lnTo>
                      <a:pt x="198298" y="57905"/>
                    </a:lnTo>
                    <a:cubicBezTo>
                      <a:pt x="211665" y="57940"/>
                      <a:pt x="224492" y="52633"/>
                      <a:pt x="233925" y="43163"/>
                    </a:cubicBezTo>
                    <a:lnTo>
                      <a:pt x="262093" y="15012"/>
                    </a:lnTo>
                    <a:lnTo>
                      <a:pt x="304900" y="15012"/>
                    </a:lnTo>
                    <a:cubicBezTo>
                      <a:pt x="310227" y="15019"/>
                      <a:pt x="314544" y="19336"/>
                      <a:pt x="314551" y="24663"/>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16" name="Google Shape;1316;p6"/>
              <p:cNvSpPr/>
              <p:nvPr/>
            </p:nvSpPr>
            <p:spPr>
              <a:xfrm>
                <a:off x="6732201" y="2110795"/>
                <a:ext cx="85786" cy="98653"/>
              </a:xfrm>
              <a:custGeom>
                <a:avLst/>
                <a:gdLst/>
                <a:ahLst/>
                <a:cxnLst/>
                <a:rect l="l" t="t" r="r" b="b"/>
                <a:pathLst>
                  <a:path w="85785" h="98652" extrusionOk="0">
                    <a:moveTo>
                      <a:pt x="5040" y="98734"/>
                    </a:moveTo>
                    <a:cubicBezTo>
                      <a:pt x="8946" y="100102"/>
                      <a:pt x="13221" y="98044"/>
                      <a:pt x="14588" y="94138"/>
                    </a:cubicBezTo>
                    <a:cubicBezTo>
                      <a:pt x="14591" y="94130"/>
                      <a:pt x="14594" y="94122"/>
                      <a:pt x="14597" y="94115"/>
                    </a:cubicBezTo>
                    <a:lnTo>
                      <a:pt x="27499" y="57081"/>
                    </a:lnTo>
                    <a:lnTo>
                      <a:pt x="62242" y="57081"/>
                    </a:lnTo>
                    <a:lnTo>
                      <a:pt x="75136" y="94115"/>
                    </a:lnTo>
                    <a:cubicBezTo>
                      <a:pt x="76715" y="97948"/>
                      <a:pt x="81102" y="99776"/>
                      <a:pt x="84935" y="98197"/>
                    </a:cubicBezTo>
                    <a:cubicBezTo>
                      <a:pt x="88471" y="96740"/>
                      <a:pt x="90347" y="92858"/>
                      <a:pt x="89290" y="89182"/>
                    </a:cubicBezTo>
                    <a:lnTo>
                      <a:pt x="59994" y="5040"/>
                    </a:lnTo>
                    <a:cubicBezTo>
                      <a:pt x="58944" y="2022"/>
                      <a:pt x="56099" y="0"/>
                      <a:pt x="52904" y="0"/>
                    </a:cubicBezTo>
                    <a:lnTo>
                      <a:pt x="36819" y="0"/>
                    </a:lnTo>
                    <a:cubicBezTo>
                      <a:pt x="33624" y="0"/>
                      <a:pt x="30779" y="2022"/>
                      <a:pt x="29729" y="5040"/>
                    </a:cubicBezTo>
                    <a:lnTo>
                      <a:pt x="420" y="89182"/>
                    </a:lnTo>
                    <a:cubicBezTo>
                      <a:pt x="-944" y="93092"/>
                      <a:pt x="1120" y="97367"/>
                      <a:pt x="5030" y="98731"/>
                    </a:cubicBezTo>
                    <a:cubicBezTo>
                      <a:pt x="5034" y="98732"/>
                      <a:pt x="5037" y="98733"/>
                      <a:pt x="5040" y="98734"/>
                    </a:cubicBezTo>
                    <a:close/>
                    <a:moveTo>
                      <a:pt x="42151" y="15012"/>
                    </a:moveTo>
                    <a:lnTo>
                      <a:pt x="47568" y="15012"/>
                    </a:lnTo>
                    <a:lnTo>
                      <a:pt x="57005" y="42069"/>
                    </a:lnTo>
                    <a:lnTo>
                      <a:pt x="32727" y="42069"/>
                    </a:ln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17" name="Google Shape;1317;p6"/>
              <p:cNvSpPr/>
              <p:nvPr/>
            </p:nvSpPr>
            <p:spPr>
              <a:xfrm>
                <a:off x="6886259" y="2110795"/>
                <a:ext cx="85786" cy="98653"/>
              </a:xfrm>
              <a:custGeom>
                <a:avLst/>
                <a:gdLst/>
                <a:ahLst/>
                <a:cxnLst/>
                <a:rect l="l" t="t" r="r" b="b"/>
                <a:pathLst>
                  <a:path w="85785" h="98652" extrusionOk="0">
                    <a:moveTo>
                      <a:pt x="82213" y="24629"/>
                    </a:moveTo>
                    <a:lnTo>
                      <a:pt x="52368" y="24629"/>
                    </a:lnTo>
                    <a:lnTo>
                      <a:pt x="52368" y="7506"/>
                    </a:lnTo>
                    <a:cubicBezTo>
                      <a:pt x="52368" y="3361"/>
                      <a:pt x="49007" y="0"/>
                      <a:pt x="44862" y="0"/>
                    </a:cubicBezTo>
                    <a:cubicBezTo>
                      <a:pt x="40716" y="0"/>
                      <a:pt x="37355" y="3361"/>
                      <a:pt x="37355" y="7506"/>
                    </a:cubicBezTo>
                    <a:lnTo>
                      <a:pt x="37355" y="24629"/>
                    </a:lnTo>
                    <a:lnTo>
                      <a:pt x="7506" y="24629"/>
                    </a:lnTo>
                    <a:cubicBezTo>
                      <a:pt x="3361" y="24629"/>
                      <a:pt x="0" y="27990"/>
                      <a:pt x="0" y="32135"/>
                    </a:cubicBezTo>
                    <a:cubicBezTo>
                      <a:pt x="0" y="36281"/>
                      <a:pt x="3361" y="39641"/>
                      <a:pt x="7506" y="39641"/>
                    </a:cubicBezTo>
                    <a:lnTo>
                      <a:pt x="17873" y="39641"/>
                    </a:lnTo>
                    <a:lnTo>
                      <a:pt x="17873" y="41027"/>
                    </a:lnTo>
                    <a:cubicBezTo>
                      <a:pt x="17867" y="52418"/>
                      <a:pt x="22457" y="63330"/>
                      <a:pt x="30604" y="71292"/>
                    </a:cubicBezTo>
                    <a:lnTo>
                      <a:pt x="4066" y="84974"/>
                    </a:lnTo>
                    <a:cubicBezTo>
                      <a:pt x="456" y="87016"/>
                      <a:pt x="-816" y="91599"/>
                      <a:pt x="1226" y="95209"/>
                    </a:cubicBezTo>
                    <a:cubicBezTo>
                      <a:pt x="3154" y="98618"/>
                      <a:pt x="7378" y="99973"/>
                      <a:pt x="10929" y="98322"/>
                    </a:cubicBezTo>
                    <a:lnTo>
                      <a:pt x="44845" y="80831"/>
                    </a:lnTo>
                    <a:lnTo>
                      <a:pt x="78756" y="98322"/>
                    </a:lnTo>
                    <a:cubicBezTo>
                      <a:pt x="82366" y="100365"/>
                      <a:pt x="86948" y="99093"/>
                      <a:pt x="88990" y="95483"/>
                    </a:cubicBezTo>
                    <a:cubicBezTo>
                      <a:pt x="91032" y="91872"/>
                      <a:pt x="89761" y="87290"/>
                      <a:pt x="86151" y="85248"/>
                    </a:cubicBezTo>
                    <a:cubicBezTo>
                      <a:pt x="85977" y="85150"/>
                      <a:pt x="85800" y="85058"/>
                      <a:pt x="85619" y="84974"/>
                    </a:cubicBezTo>
                    <a:lnTo>
                      <a:pt x="59085" y="71292"/>
                    </a:lnTo>
                    <a:cubicBezTo>
                      <a:pt x="67232" y="63329"/>
                      <a:pt x="71821" y="52415"/>
                      <a:pt x="71811" y="41022"/>
                    </a:cubicBezTo>
                    <a:lnTo>
                      <a:pt x="71811" y="39641"/>
                    </a:lnTo>
                    <a:lnTo>
                      <a:pt x="82179" y="39641"/>
                    </a:lnTo>
                    <a:cubicBezTo>
                      <a:pt x="86324" y="39641"/>
                      <a:pt x="89685" y="36281"/>
                      <a:pt x="89685" y="32135"/>
                    </a:cubicBezTo>
                    <a:cubicBezTo>
                      <a:pt x="89685" y="27990"/>
                      <a:pt x="86324" y="24629"/>
                      <a:pt x="82179" y="24629"/>
                    </a:cubicBezTo>
                    <a:close/>
                    <a:moveTo>
                      <a:pt x="56833" y="41022"/>
                    </a:moveTo>
                    <a:cubicBezTo>
                      <a:pt x="56848" y="50092"/>
                      <a:pt x="52363" y="58580"/>
                      <a:pt x="44862" y="63678"/>
                    </a:cubicBezTo>
                    <a:cubicBezTo>
                      <a:pt x="37360" y="58580"/>
                      <a:pt x="32874" y="50093"/>
                      <a:pt x="32886" y="41022"/>
                    </a:cubicBezTo>
                    <a:lnTo>
                      <a:pt x="32886" y="39641"/>
                    </a:lnTo>
                    <a:lnTo>
                      <a:pt x="56833" y="39641"/>
                    </a:ln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18" name="Google Shape;1318;p6"/>
              <p:cNvSpPr/>
              <p:nvPr/>
            </p:nvSpPr>
            <p:spPr>
              <a:xfrm>
                <a:off x="6832510" y="2152864"/>
                <a:ext cx="42893" cy="12868"/>
              </a:xfrm>
              <a:custGeom>
                <a:avLst/>
                <a:gdLst/>
                <a:ahLst/>
                <a:cxnLst/>
                <a:rect l="l" t="t" r="r" b="b"/>
                <a:pathLst>
                  <a:path w="42892" h="12867" extrusionOk="0">
                    <a:moveTo>
                      <a:pt x="7506" y="15012"/>
                    </a:moveTo>
                    <a:lnTo>
                      <a:pt x="35653" y="15012"/>
                    </a:lnTo>
                    <a:cubicBezTo>
                      <a:pt x="39798" y="15012"/>
                      <a:pt x="43159" y="11652"/>
                      <a:pt x="43159" y="7506"/>
                    </a:cubicBezTo>
                    <a:cubicBezTo>
                      <a:pt x="43159" y="3361"/>
                      <a:pt x="39798" y="0"/>
                      <a:pt x="35653" y="0"/>
                    </a:cubicBezTo>
                    <a:lnTo>
                      <a:pt x="7506" y="0"/>
                    </a:lnTo>
                    <a:cubicBezTo>
                      <a:pt x="3361" y="0"/>
                      <a:pt x="0" y="3361"/>
                      <a:pt x="0" y="7506"/>
                    </a:cubicBezTo>
                    <a:cubicBezTo>
                      <a:pt x="0" y="11652"/>
                      <a:pt x="3361" y="15012"/>
                      <a:pt x="7506" y="15012"/>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19" name="Google Shape;1319;p6"/>
              <p:cNvSpPr/>
              <p:nvPr/>
            </p:nvSpPr>
            <p:spPr>
              <a:xfrm>
                <a:off x="6732201" y="223786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20" name="Google Shape;1320;p6"/>
              <p:cNvSpPr/>
              <p:nvPr/>
            </p:nvSpPr>
            <p:spPr>
              <a:xfrm>
                <a:off x="6756508" y="2288113"/>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21" name="Google Shape;1321;p6"/>
              <p:cNvSpPr/>
              <p:nvPr/>
            </p:nvSpPr>
            <p:spPr>
              <a:xfrm>
                <a:off x="6732201" y="2338361"/>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22" name="Google Shape;1322;p6"/>
              <p:cNvSpPr/>
              <p:nvPr/>
            </p:nvSpPr>
            <p:spPr>
              <a:xfrm>
                <a:off x="6756508" y="2388606"/>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23" name="Google Shape;1323;p6"/>
              <p:cNvSpPr/>
              <p:nvPr/>
            </p:nvSpPr>
            <p:spPr>
              <a:xfrm>
                <a:off x="6732201" y="243885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24" name="Google Shape;1324;p6"/>
              <p:cNvSpPr/>
              <p:nvPr/>
            </p:nvSpPr>
            <p:spPr>
              <a:xfrm>
                <a:off x="6756508" y="2491764"/>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cxnSp>
        <p:nvCxnSpPr>
          <p:cNvPr id="1325" name="Google Shape;1325;p6"/>
          <p:cNvCxnSpPr/>
          <p:nvPr/>
        </p:nvCxnSpPr>
        <p:spPr>
          <a:xfrm>
            <a:off x="2856889" y="484910"/>
            <a:ext cx="540000" cy="0"/>
          </a:xfrm>
          <a:prstGeom prst="straightConnector1">
            <a:avLst/>
          </a:prstGeom>
          <a:noFill/>
          <a:ln w="38100" cap="flat" cmpd="sng">
            <a:solidFill>
              <a:schemeClr val="dk2"/>
            </a:solidFill>
            <a:prstDash val="solid"/>
            <a:miter lim="800000"/>
            <a:headEnd type="none" w="sm" len="sm"/>
            <a:tailEnd type="none" w="sm" len="sm"/>
          </a:ln>
        </p:spPr>
      </p:cxnSp>
      <p:grpSp>
        <p:nvGrpSpPr>
          <p:cNvPr id="1326" name="Google Shape;1326;p6"/>
          <p:cNvGrpSpPr/>
          <p:nvPr/>
        </p:nvGrpSpPr>
        <p:grpSpPr>
          <a:xfrm>
            <a:off x="7663461" y="1654660"/>
            <a:ext cx="747446" cy="747446"/>
            <a:chOff x="6541511" y="2135586"/>
            <a:chExt cx="607739" cy="607739"/>
          </a:xfrm>
        </p:grpSpPr>
        <p:sp>
          <p:nvSpPr>
            <p:cNvPr id="1327" name="Google Shape;1327;p6"/>
            <p:cNvSpPr/>
            <p:nvPr/>
          </p:nvSpPr>
          <p:spPr>
            <a:xfrm>
              <a:off x="6541511" y="2135586"/>
              <a:ext cx="607739" cy="607739"/>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328" name="Google Shape;1328;p6"/>
            <p:cNvPicPr preferRelativeResize="0"/>
            <p:nvPr/>
          </p:nvPicPr>
          <p:blipFill rotWithShape="1">
            <a:blip r:embed="rId8">
              <a:alphaModFix/>
            </a:blip>
            <a:srcRect/>
            <a:stretch/>
          </p:blipFill>
          <p:spPr>
            <a:xfrm>
              <a:off x="6679898" y="2259322"/>
              <a:ext cx="339104" cy="339104"/>
            </a:xfrm>
            <a:prstGeom prst="rect">
              <a:avLst/>
            </a:prstGeom>
            <a:noFill/>
            <a:ln>
              <a:noFill/>
            </a:ln>
          </p:spPr>
        </p:pic>
      </p:grpSp>
      <p:cxnSp>
        <p:nvCxnSpPr>
          <p:cNvPr id="1329" name="Google Shape;1329;p6"/>
          <p:cNvCxnSpPr>
            <a:stCxn id="1330" idx="4"/>
            <a:endCxn id="1288" idx="2"/>
          </p:cNvCxnSpPr>
          <p:nvPr/>
        </p:nvCxnSpPr>
        <p:spPr>
          <a:xfrm rot="-5400000" flipH="1">
            <a:off x="6792906" y="2310886"/>
            <a:ext cx="1476300" cy="157800"/>
          </a:xfrm>
          <a:prstGeom prst="bentConnector2">
            <a:avLst/>
          </a:prstGeom>
          <a:noFill/>
          <a:ln w="9525" cap="flat" cmpd="sng">
            <a:solidFill>
              <a:schemeClr val="accent1"/>
            </a:solidFill>
            <a:prstDash val="solid"/>
            <a:miter lim="800000"/>
            <a:headEnd type="none" w="sm" len="sm"/>
            <a:tailEnd type="none" w="sm" len="sm"/>
          </a:ln>
        </p:spPr>
      </p:cxnSp>
      <p:cxnSp>
        <p:nvCxnSpPr>
          <p:cNvPr id="1331" name="Google Shape;1331;p6"/>
          <p:cNvCxnSpPr>
            <a:stCxn id="1330" idx="4"/>
            <a:endCxn id="1291" idx="2"/>
          </p:cNvCxnSpPr>
          <p:nvPr/>
        </p:nvCxnSpPr>
        <p:spPr>
          <a:xfrm rot="-5400000" flipH="1">
            <a:off x="6241506" y="2862286"/>
            <a:ext cx="2632500" cy="211200"/>
          </a:xfrm>
          <a:prstGeom prst="bentConnector2">
            <a:avLst/>
          </a:prstGeom>
          <a:noFill/>
          <a:ln w="9525" cap="flat" cmpd="sng">
            <a:solidFill>
              <a:schemeClr val="accent1"/>
            </a:solidFill>
            <a:prstDash val="solid"/>
            <a:miter lim="800000"/>
            <a:headEnd type="none" w="sm" len="sm"/>
            <a:tailEnd type="none" w="sm" len="sm"/>
          </a:ln>
        </p:spPr>
      </p:cxnSp>
      <p:cxnSp>
        <p:nvCxnSpPr>
          <p:cNvPr id="1332" name="Google Shape;1332;p6"/>
          <p:cNvCxnSpPr>
            <a:stCxn id="1330" idx="4"/>
            <a:endCxn id="1327" idx="2"/>
          </p:cNvCxnSpPr>
          <p:nvPr/>
        </p:nvCxnSpPr>
        <p:spPr>
          <a:xfrm rot="-5400000" flipH="1">
            <a:off x="7369356" y="1734436"/>
            <a:ext cx="376800" cy="211200"/>
          </a:xfrm>
          <a:prstGeom prst="bentConnector2">
            <a:avLst/>
          </a:prstGeom>
          <a:noFill/>
          <a:ln w="9525" cap="flat" cmpd="sng">
            <a:solidFill>
              <a:schemeClr val="accent1"/>
            </a:solidFill>
            <a:prstDash val="solid"/>
            <a:miter lim="800000"/>
            <a:headEnd type="none" w="sm" len="sm"/>
            <a:tailEnd type="none" w="sm" len="sm"/>
          </a:ln>
        </p:spPr>
      </p:cxnSp>
      <p:sp>
        <p:nvSpPr>
          <p:cNvPr id="1330" name="Google Shape;1330;p6"/>
          <p:cNvSpPr/>
          <p:nvPr/>
        </p:nvSpPr>
        <p:spPr>
          <a:xfrm>
            <a:off x="7352792" y="1452908"/>
            <a:ext cx="198728" cy="198728"/>
          </a:xfrm>
          <a:prstGeom prst="ellipse">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 name="Google Shape;507;p134">
            <a:extLst>
              <a:ext uri="{FF2B5EF4-FFF2-40B4-BE49-F238E27FC236}">
                <a16:creationId xmlns:a16="http://schemas.microsoft.com/office/drawing/2014/main" id="{08CAC317-D266-2915-0C5D-0350286C2E38}"/>
              </a:ext>
            </a:extLst>
          </p:cNvPr>
          <p:cNvSpPr txBox="1">
            <a:spLocks/>
          </p:cNvSpPr>
          <p:nvPr/>
        </p:nvSpPr>
        <p:spPr>
          <a:xfrm>
            <a:off x="4030662" y="5547202"/>
            <a:ext cx="2646622" cy="369332"/>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SzPts val="2400"/>
            </a:pPr>
            <a:r>
              <a:rPr lang="en-US" sz="2400" dirty="0">
                <a:solidFill>
                  <a:schemeClr val="accent1"/>
                </a:solidFill>
                <a:latin typeface="Franklin Gothic"/>
                <a:sym typeface="Franklin Gothic"/>
              </a:rPr>
              <a:t>Data Analytics</a:t>
            </a:r>
            <a:endParaRPr sz="2400" dirty="0">
              <a:solidFill>
                <a:schemeClr val="accent1"/>
              </a:solidFill>
              <a:latin typeface="Franklin Gothic"/>
            </a:endParaRPr>
          </a:p>
        </p:txBody>
      </p:sp>
      <p:sp>
        <p:nvSpPr>
          <p:cNvPr id="3" name="Google Shape;511;p134">
            <a:extLst>
              <a:ext uri="{FF2B5EF4-FFF2-40B4-BE49-F238E27FC236}">
                <a16:creationId xmlns:a16="http://schemas.microsoft.com/office/drawing/2014/main" id="{9DF63F05-151B-4DC4-D98A-6CC0B52B462D}"/>
              </a:ext>
            </a:extLst>
          </p:cNvPr>
          <p:cNvSpPr>
            <a:spLocks/>
          </p:cNvSpPr>
          <p:nvPr/>
        </p:nvSpPr>
        <p:spPr>
          <a:xfrm>
            <a:off x="4030662" y="5960078"/>
            <a:ext cx="2955656" cy="614014"/>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a:lnSpc>
                <a:spcPct val="95000"/>
              </a:lnSpc>
              <a:spcBef>
                <a:spcPts val="0"/>
              </a:spcBef>
              <a:spcAft>
                <a:spcPts val="0"/>
              </a:spcAft>
              <a:buClr>
                <a:srgbClr val="000000"/>
              </a:buClr>
              <a:buSzPts val="1400"/>
              <a:buFont typeface="Arial"/>
              <a:buNone/>
            </a:pPr>
            <a:r>
              <a:rPr lang="en-US" sz="1400" b="0" i="0" u="none" strike="noStrike" cap="none" dirty="0">
                <a:solidFill>
                  <a:schemeClr val="tx1"/>
                </a:solidFill>
                <a:latin typeface="Calibri" panose="020F0502020204030204" pitchFamily="34" charset="0"/>
                <a:ea typeface="Calibri"/>
                <a:cs typeface="Calibri" panose="020F0502020204030204" pitchFamily="34" charset="0"/>
                <a:sym typeface="Calibri"/>
              </a:rPr>
              <a:t>Analyzing data to extract relevant insights and identify trends to answer business questions</a:t>
            </a:r>
            <a:endParaRPr lang="en-US" sz="1400" b="0" i="0" u="none" strike="noStrike" cap="none" dirty="0">
              <a:solidFill>
                <a:schemeClr val="tx1"/>
              </a:solidFill>
              <a:latin typeface="Calibri" panose="020F0502020204030204" pitchFamily="34" charset="0"/>
              <a:cs typeface="Calibri" panose="020F0502020204030204" pitchFamily="34" charset="0"/>
              <a:sym typeface="Arial"/>
            </a:endParaRPr>
          </a:p>
        </p:txBody>
      </p:sp>
      <p:sp>
        <p:nvSpPr>
          <p:cNvPr id="4" name="Google Shape;523;p134">
            <a:extLst>
              <a:ext uri="{FF2B5EF4-FFF2-40B4-BE49-F238E27FC236}">
                <a16:creationId xmlns:a16="http://schemas.microsoft.com/office/drawing/2014/main" id="{B8CF521A-634A-E07B-D406-D3BCBA93836C}"/>
              </a:ext>
            </a:extLst>
          </p:cNvPr>
          <p:cNvSpPr/>
          <p:nvPr/>
        </p:nvSpPr>
        <p:spPr>
          <a:xfrm>
            <a:off x="2804471" y="5579183"/>
            <a:ext cx="1008088" cy="1008088"/>
          </a:xfrm>
          <a:prstGeom prst="ellipse">
            <a:avLst/>
          </a:prstGeom>
          <a:solidFill>
            <a:schemeClr val="lt1"/>
          </a:solidFill>
          <a:ln>
            <a:noFill/>
          </a:ln>
          <a:effectLst>
            <a:outerShdw blurRad="63500" sx="102000" sy="102000" algn="ctr" rotWithShape="0">
              <a:prstClr val="black">
                <a:alpha val="40000"/>
              </a:prstClr>
            </a:outerShdw>
          </a:effectLst>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panose="020F0502020204030204" pitchFamily="34" charset="0"/>
              <a:ea typeface="Calibri"/>
              <a:cs typeface="Calibri" panose="020F0502020204030204" pitchFamily="34" charset="0"/>
              <a:sym typeface="Calibri"/>
            </a:endParaRPr>
          </a:p>
        </p:txBody>
      </p:sp>
      <p:pic>
        <p:nvPicPr>
          <p:cNvPr id="5" name="Picture 4">
            <a:extLst>
              <a:ext uri="{FF2B5EF4-FFF2-40B4-BE49-F238E27FC236}">
                <a16:creationId xmlns:a16="http://schemas.microsoft.com/office/drawing/2014/main" id="{3A4A8757-EDC4-EA26-C4FB-1D6D441B987D}"/>
              </a:ext>
            </a:extLst>
          </p:cNvPr>
          <p:cNvPicPr>
            <a:picLocks noChangeAspect="1"/>
          </p:cNvPicPr>
          <p:nvPr/>
        </p:nvPicPr>
        <p:blipFill>
          <a:blip r:embed="rId9">
            <a:alphaModFix/>
            <a:duotone>
              <a:schemeClr val="accent2">
                <a:shade val="45000"/>
                <a:satMod val="135000"/>
              </a:schemeClr>
              <a:prstClr val="white"/>
            </a:duotone>
          </a:blip>
          <a:stretch>
            <a:fillRect/>
          </a:stretch>
        </p:blipFill>
        <p:spPr>
          <a:xfrm>
            <a:off x="3041571" y="5797265"/>
            <a:ext cx="540098" cy="540098"/>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336"/>
        <p:cNvGrpSpPr/>
        <p:nvPr/>
      </p:nvGrpSpPr>
      <p:grpSpPr>
        <a:xfrm>
          <a:off x="0" y="0"/>
          <a:ext cx="0" cy="0"/>
          <a:chOff x="0" y="0"/>
          <a:chExt cx="0" cy="0"/>
        </a:xfrm>
      </p:grpSpPr>
      <p:sp>
        <p:nvSpPr>
          <p:cNvPr id="1337" name="Google Shape;1337;p7"/>
          <p:cNvSpPr txBox="1">
            <a:spLocks noGrp="1"/>
          </p:cNvSpPr>
          <p:nvPr>
            <p:ph type="title"/>
          </p:nvPr>
        </p:nvSpPr>
        <p:spPr>
          <a:xfrm>
            <a:off x="539400"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How Infomineo’s approach is different</a:t>
            </a:r>
            <a:endParaRPr/>
          </a:p>
        </p:txBody>
      </p:sp>
      <p:sp>
        <p:nvSpPr>
          <p:cNvPr id="1338" name="Google Shape;1338;p7"/>
          <p:cNvSpPr/>
          <p:nvPr/>
        </p:nvSpPr>
        <p:spPr>
          <a:xfrm>
            <a:off x="4223657" y="1346940"/>
            <a:ext cx="3555845"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a:solidFill>
                  <a:schemeClr val="accent1"/>
                </a:solidFill>
                <a:latin typeface="Franklin Gothic"/>
                <a:ea typeface="Franklin Gothic"/>
                <a:cs typeface="Franklin Gothic"/>
                <a:sym typeface="Franklin Gothic"/>
              </a:rPr>
              <a:t>How Infomineo is different</a:t>
            </a:r>
            <a:endParaRPr sz="1400" b="0" i="0" u="none" strike="noStrike" cap="none">
              <a:solidFill>
                <a:srgbClr val="000000"/>
              </a:solidFill>
              <a:latin typeface="Arial"/>
              <a:ea typeface="Arial"/>
              <a:cs typeface="Arial"/>
              <a:sym typeface="Arial"/>
            </a:endParaRPr>
          </a:p>
        </p:txBody>
      </p:sp>
      <p:sp>
        <p:nvSpPr>
          <p:cNvPr id="1339" name="Google Shape;1339;p7"/>
          <p:cNvSpPr/>
          <p:nvPr/>
        </p:nvSpPr>
        <p:spPr>
          <a:xfrm>
            <a:off x="539399" y="1346940"/>
            <a:ext cx="2993633"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a:solidFill>
                  <a:schemeClr val="accent1"/>
                </a:solidFill>
                <a:latin typeface="Franklin Gothic"/>
                <a:ea typeface="Franklin Gothic"/>
                <a:cs typeface="Franklin Gothic"/>
                <a:sym typeface="Franklin Gothic"/>
              </a:rPr>
              <a:t>What you normally get</a:t>
            </a:r>
            <a:endParaRPr sz="1400" b="0" i="0" u="none" strike="noStrike" cap="none">
              <a:solidFill>
                <a:srgbClr val="000000"/>
              </a:solidFill>
              <a:latin typeface="Arial"/>
              <a:ea typeface="Arial"/>
              <a:cs typeface="Arial"/>
              <a:sym typeface="Arial"/>
            </a:endParaRPr>
          </a:p>
        </p:txBody>
      </p:sp>
      <p:cxnSp>
        <p:nvCxnSpPr>
          <p:cNvPr id="1340" name="Google Shape;1340;p7"/>
          <p:cNvCxnSpPr/>
          <p:nvPr/>
        </p:nvCxnSpPr>
        <p:spPr>
          <a:xfrm>
            <a:off x="3892720" y="1813556"/>
            <a:ext cx="0" cy="4435955"/>
          </a:xfrm>
          <a:prstGeom prst="straightConnector1">
            <a:avLst/>
          </a:prstGeom>
          <a:noFill/>
          <a:ln w="19050" cap="flat" cmpd="sng">
            <a:solidFill>
              <a:schemeClr val="dk2"/>
            </a:solidFill>
            <a:prstDash val="solid"/>
            <a:miter lim="800000"/>
            <a:headEnd type="none" w="sm" len="sm"/>
            <a:tailEnd type="none" w="sm" len="sm"/>
          </a:ln>
        </p:spPr>
      </p:cxnSp>
      <p:grpSp>
        <p:nvGrpSpPr>
          <p:cNvPr id="1341" name="Google Shape;1341;p7"/>
          <p:cNvGrpSpPr/>
          <p:nvPr/>
        </p:nvGrpSpPr>
        <p:grpSpPr>
          <a:xfrm>
            <a:off x="3748720" y="3686147"/>
            <a:ext cx="288000" cy="288000"/>
            <a:chOff x="550862" y="2496471"/>
            <a:chExt cx="360000" cy="360000"/>
          </a:xfrm>
        </p:grpSpPr>
        <p:sp>
          <p:nvSpPr>
            <p:cNvPr id="1342" name="Google Shape;1342;p7"/>
            <p:cNvSpPr/>
            <p:nvPr/>
          </p:nvSpPr>
          <p:spPr>
            <a:xfrm>
              <a:off x="564471" y="2510079"/>
              <a:ext cx="332784" cy="332784"/>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343" name="Google Shape;1343;p7"/>
            <p:cNvPicPr preferRelativeResize="0"/>
            <p:nvPr/>
          </p:nvPicPr>
          <p:blipFill rotWithShape="1">
            <a:blip r:embed="rId3">
              <a:alphaModFix/>
            </a:blip>
            <a:srcRect/>
            <a:stretch/>
          </p:blipFill>
          <p:spPr>
            <a:xfrm>
              <a:off x="550862" y="2496471"/>
              <a:ext cx="360000" cy="360000"/>
            </a:xfrm>
            <a:prstGeom prst="rect">
              <a:avLst/>
            </a:prstGeom>
            <a:noFill/>
            <a:ln>
              <a:noFill/>
            </a:ln>
          </p:spPr>
        </p:pic>
      </p:grpSp>
      <p:cxnSp>
        <p:nvCxnSpPr>
          <p:cNvPr id="1344" name="Google Shape;1344;p7"/>
          <p:cNvCxnSpPr/>
          <p:nvPr/>
        </p:nvCxnSpPr>
        <p:spPr>
          <a:xfrm>
            <a:off x="4223657" y="4217008"/>
            <a:ext cx="7405715" cy="0"/>
          </a:xfrm>
          <a:prstGeom prst="straightConnector1">
            <a:avLst/>
          </a:prstGeom>
          <a:noFill/>
          <a:ln w="9525" cap="flat" cmpd="sng">
            <a:solidFill>
              <a:srgbClr val="7F7F7F"/>
            </a:solidFill>
            <a:prstDash val="dash"/>
            <a:miter lim="800000"/>
            <a:headEnd type="none" w="sm" len="sm"/>
            <a:tailEnd type="none" w="sm" len="sm"/>
          </a:ln>
        </p:spPr>
      </p:cxnSp>
      <p:cxnSp>
        <p:nvCxnSpPr>
          <p:cNvPr id="1345" name="Google Shape;1345;p7"/>
          <p:cNvCxnSpPr/>
          <p:nvPr/>
        </p:nvCxnSpPr>
        <p:spPr>
          <a:xfrm>
            <a:off x="539399" y="1784321"/>
            <a:ext cx="3052887" cy="0"/>
          </a:xfrm>
          <a:prstGeom prst="straightConnector1">
            <a:avLst/>
          </a:prstGeom>
          <a:noFill/>
          <a:ln w="12700" cap="flat" cmpd="sng">
            <a:solidFill>
              <a:schemeClr val="accent1"/>
            </a:solidFill>
            <a:prstDash val="solid"/>
            <a:miter lim="800000"/>
            <a:headEnd type="none" w="sm" len="sm"/>
            <a:tailEnd type="none" w="sm" len="sm"/>
          </a:ln>
        </p:spPr>
      </p:cxnSp>
      <p:sp>
        <p:nvSpPr>
          <p:cNvPr id="1346" name="Google Shape;1346;p7"/>
          <p:cNvSpPr txBox="1"/>
          <p:nvPr/>
        </p:nvSpPr>
        <p:spPr>
          <a:xfrm>
            <a:off x="9107864" y="2951426"/>
            <a:ext cx="1947672" cy="1228028"/>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600"/>
              <a:buFont typeface="Arial"/>
              <a:buNone/>
            </a:pPr>
            <a:r>
              <a:rPr lang="en-US" sz="1400" b="0" i="0" u="none" strike="noStrike" cap="none">
                <a:solidFill>
                  <a:schemeClr val="dk1"/>
                </a:solidFill>
                <a:latin typeface="Calibri"/>
                <a:ea typeface="Calibri"/>
                <a:cs typeface="Calibri"/>
                <a:sym typeface="Calibri"/>
              </a:rPr>
              <a:t>The work is not considered as closed until the output has been properly </a:t>
            </a:r>
            <a:r>
              <a:rPr lang="en-US" sz="1400" b="1" i="0" u="none" strike="noStrike" cap="none">
                <a:solidFill>
                  <a:srgbClr val="222222"/>
                </a:solidFill>
                <a:latin typeface="Calibri"/>
                <a:ea typeface="Calibri"/>
                <a:cs typeface="Calibri"/>
                <a:sym typeface="Calibri"/>
              </a:rPr>
              <a:t>summarized</a:t>
            </a:r>
            <a:r>
              <a:rPr lang="en-US" sz="1400" b="0" i="0" u="none" strike="noStrike" cap="none">
                <a:solidFill>
                  <a:schemeClr val="dk1"/>
                </a:solidFill>
                <a:latin typeface="Calibri"/>
                <a:ea typeface="Calibri"/>
                <a:cs typeface="Calibri"/>
                <a:sym typeface="Calibri"/>
              </a:rPr>
              <a:t>, </a:t>
            </a:r>
            <a:r>
              <a:rPr lang="en-US" sz="1400" b="1" i="0" u="none" strike="noStrike" cap="none">
                <a:solidFill>
                  <a:srgbClr val="222222"/>
                </a:solidFill>
                <a:latin typeface="Calibri"/>
                <a:ea typeface="Calibri"/>
                <a:cs typeface="Calibri"/>
                <a:sym typeface="Calibri"/>
              </a:rPr>
              <a:t>packaged</a:t>
            </a:r>
            <a:r>
              <a:rPr lang="en-US" sz="1400" b="0" i="0" u="none" strike="noStrike" cap="none">
                <a:solidFill>
                  <a:schemeClr val="dk1"/>
                </a:solidFill>
                <a:latin typeface="Calibri"/>
                <a:ea typeface="Calibri"/>
                <a:cs typeface="Calibri"/>
                <a:sym typeface="Calibri"/>
              </a:rPr>
              <a:t> and </a:t>
            </a:r>
            <a:r>
              <a:rPr lang="en-US" sz="1400" b="1" i="0" u="none" strike="noStrike" cap="none">
                <a:solidFill>
                  <a:srgbClr val="000000"/>
                </a:solidFill>
                <a:latin typeface="Calibri"/>
                <a:ea typeface="Calibri"/>
                <a:cs typeface="Calibri"/>
                <a:sym typeface="Calibri"/>
              </a:rPr>
              <a:t>handed over </a:t>
            </a:r>
            <a:endParaRPr sz="1200" b="0" i="0" u="none" strike="noStrike" cap="none">
              <a:solidFill>
                <a:srgbClr val="000000"/>
              </a:solidFill>
              <a:latin typeface="Arial"/>
              <a:ea typeface="Arial"/>
              <a:cs typeface="Arial"/>
              <a:sym typeface="Arial"/>
            </a:endParaRPr>
          </a:p>
        </p:txBody>
      </p:sp>
      <p:sp>
        <p:nvSpPr>
          <p:cNvPr id="1347" name="Google Shape;1347;p7"/>
          <p:cNvSpPr/>
          <p:nvPr/>
        </p:nvSpPr>
        <p:spPr>
          <a:xfrm>
            <a:off x="4343723" y="2430967"/>
            <a:ext cx="1949416" cy="448519"/>
          </a:xfrm>
          <a:prstGeom prst="homePlate">
            <a:avLst>
              <a:gd name="adj" fmla="val 18911"/>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chemeClr val="lt1"/>
                </a:solidFill>
                <a:latin typeface="Calibri"/>
                <a:ea typeface="Calibri"/>
                <a:cs typeface="Calibri"/>
                <a:sym typeface="Calibri"/>
              </a:rPr>
              <a:t>Intake</a:t>
            </a:r>
            <a:endParaRPr sz="1600" b="1" i="0" u="none" strike="noStrike" cap="none">
              <a:solidFill>
                <a:schemeClr val="lt1"/>
              </a:solidFill>
              <a:latin typeface="Calibri"/>
              <a:ea typeface="Calibri"/>
              <a:cs typeface="Calibri"/>
              <a:sym typeface="Calibri"/>
            </a:endParaRPr>
          </a:p>
        </p:txBody>
      </p:sp>
      <p:sp>
        <p:nvSpPr>
          <p:cNvPr id="1348" name="Google Shape;1348;p7"/>
          <p:cNvSpPr/>
          <p:nvPr/>
        </p:nvSpPr>
        <p:spPr>
          <a:xfrm>
            <a:off x="6293139" y="2430967"/>
            <a:ext cx="2752390" cy="448519"/>
          </a:xfrm>
          <a:prstGeom prst="chevron">
            <a:avLst>
              <a:gd name="adj" fmla="val 18911"/>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rgbClr val="7F7F7F"/>
                </a:solidFill>
                <a:latin typeface="Calibri"/>
                <a:ea typeface="Calibri"/>
                <a:cs typeface="Calibri"/>
                <a:sym typeface="Calibri"/>
              </a:rPr>
              <a:t>Execution</a:t>
            </a:r>
            <a:endParaRPr sz="1600" b="1" i="0" u="none" strike="noStrike" cap="none">
              <a:solidFill>
                <a:srgbClr val="7F7F7F"/>
              </a:solidFill>
              <a:latin typeface="Calibri"/>
              <a:ea typeface="Calibri"/>
              <a:cs typeface="Calibri"/>
              <a:sym typeface="Calibri"/>
            </a:endParaRPr>
          </a:p>
        </p:txBody>
      </p:sp>
      <p:sp>
        <p:nvSpPr>
          <p:cNvPr id="1349" name="Google Shape;1349;p7"/>
          <p:cNvSpPr/>
          <p:nvPr/>
        </p:nvSpPr>
        <p:spPr>
          <a:xfrm>
            <a:off x="9065663" y="2430967"/>
            <a:ext cx="1947672" cy="448519"/>
          </a:xfrm>
          <a:prstGeom prst="chevron">
            <a:avLst>
              <a:gd name="adj" fmla="val 18911"/>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chemeClr val="lt1"/>
                </a:solidFill>
                <a:latin typeface="Calibri"/>
                <a:ea typeface="Calibri"/>
                <a:cs typeface="Calibri"/>
                <a:sym typeface="Calibri"/>
              </a:rPr>
              <a:t>Delivery</a:t>
            </a:r>
            <a:endParaRPr sz="1400" b="0" i="0" u="none" strike="noStrike" cap="none">
              <a:solidFill>
                <a:srgbClr val="000000"/>
              </a:solidFill>
              <a:latin typeface="Arial"/>
              <a:ea typeface="Arial"/>
              <a:cs typeface="Arial"/>
              <a:sym typeface="Arial"/>
            </a:endParaRPr>
          </a:p>
        </p:txBody>
      </p:sp>
      <p:cxnSp>
        <p:nvCxnSpPr>
          <p:cNvPr id="1350" name="Google Shape;1350;p7"/>
          <p:cNvCxnSpPr/>
          <p:nvPr/>
        </p:nvCxnSpPr>
        <p:spPr>
          <a:xfrm>
            <a:off x="4180114" y="1784321"/>
            <a:ext cx="7380515" cy="0"/>
          </a:xfrm>
          <a:prstGeom prst="straightConnector1">
            <a:avLst/>
          </a:prstGeom>
          <a:noFill/>
          <a:ln w="12700" cap="flat" cmpd="sng">
            <a:solidFill>
              <a:schemeClr val="accent1"/>
            </a:solidFill>
            <a:prstDash val="solid"/>
            <a:miter lim="800000"/>
            <a:headEnd type="none" w="sm" len="sm"/>
            <a:tailEnd type="none" w="sm" len="sm"/>
          </a:ln>
        </p:spPr>
      </p:cxnSp>
      <p:sp>
        <p:nvSpPr>
          <p:cNvPr id="1351" name="Google Shape;1351;p7"/>
          <p:cNvSpPr txBox="1"/>
          <p:nvPr/>
        </p:nvSpPr>
        <p:spPr>
          <a:xfrm>
            <a:off x="4180114" y="1818492"/>
            <a:ext cx="6919294"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0000"/>
                </a:solidFill>
                <a:latin typeface="Calibri"/>
                <a:ea typeface="Calibri"/>
                <a:cs typeface="Calibri"/>
                <a:sym typeface="Calibri"/>
              </a:rPr>
              <a:t>Infomineo adopts a </a:t>
            </a:r>
            <a:r>
              <a:rPr lang="en-US" sz="1400" b="1" i="0" u="none" strike="noStrike" cap="none">
                <a:solidFill>
                  <a:srgbClr val="000000"/>
                </a:solidFill>
                <a:latin typeface="Calibri"/>
                <a:ea typeface="Calibri"/>
                <a:cs typeface="Calibri"/>
                <a:sym typeface="Calibri"/>
              </a:rPr>
              <a:t>problem solving </a:t>
            </a:r>
            <a:r>
              <a:rPr lang="en-US" sz="1400" b="0" i="0" u="none" strike="noStrike" cap="none">
                <a:solidFill>
                  <a:srgbClr val="000000"/>
                </a:solidFill>
                <a:latin typeface="Calibri"/>
                <a:ea typeface="Calibri"/>
                <a:cs typeface="Calibri"/>
                <a:sym typeface="Calibri"/>
              </a:rPr>
              <a:t>approach – Starting with a business challenge and ending will a fully handed over final deliverable</a:t>
            </a:r>
            <a:endParaRPr sz="1400" b="0" i="0" u="none" strike="noStrike" cap="none">
              <a:solidFill>
                <a:srgbClr val="000000"/>
              </a:solidFill>
              <a:latin typeface="Arial"/>
              <a:ea typeface="Arial"/>
              <a:cs typeface="Arial"/>
              <a:sym typeface="Arial"/>
            </a:endParaRPr>
          </a:p>
        </p:txBody>
      </p:sp>
      <p:sp>
        <p:nvSpPr>
          <p:cNvPr id="1352" name="Google Shape;1352;p7"/>
          <p:cNvSpPr txBox="1"/>
          <p:nvPr/>
        </p:nvSpPr>
        <p:spPr>
          <a:xfrm>
            <a:off x="4403027" y="2994486"/>
            <a:ext cx="1890112" cy="818686"/>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600"/>
              <a:buFont typeface="Arial"/>
              <a:buNone/>
            </a:pPr>
            <a:r>
              <a:rPr lang="en-US" sz="1400" b="0" i="0" u="none" strike="noStrike" cap="none" dirty="0">
                <a:solidFill>
                  <a:schemeClr val="dk1"/>
                </a:solidFill>
                <a:latin typeface="Calibri"/>
                <a:ea typeface="Calibri"/>
                <a:cs typeface="Calibri"/>
                <a:sym typeface="Calibri"/>
              </a:rPr>
              <a:t>Understanding the </a:t>
            </a:r>
            <a:r>
              <a:rPr lang="en-US" sz="1400" b="1" i="0" u="none" strike="noStrike" cap="none" dirty="0">
                <a:solidFill>
                  <a:srgbClr val="000000"/>
                </a:solidFill>
                <a:latin typeface="Calibri"/>
                <a:ea typeface="Calibri"/>
                <a:cs typeface="Calibri"/>
                <a:sym typeface="Calibri"/>
              </a:rPr>
              <a:t>context and objectives </a:t>
            </a:r>
            <a:r>
              <a:rPr lang="en-US" sz="1400" b="0" i="0" u="none" strike="noStrike" cap="none" dirty="0">
                <a:solidFill>
                  <a:schemeClr val="dk1"/>
                </a:solidFill>
                <a:latin typeface="Calibri"/>
                <a:ea typeface="Calibri"/>
                <a:cs typeface="Calibri"/>
                <a:sym typeface="Calibri"/>
              </a:rPr>
              <a:t>to be able to propose the best approach</a:t>
            </a:r>
            <a:endParaRPr sz="1200" b="0" i="0" u="none" strike="noStrike" cap="none" dirty="0">
              <a:solidFill>
                <a:srgbClr val="000000"/>
              </a:solidFill>
              <a:latin typeface="Arial"/>
              <a:ea typeface="Arial"/>
              <a:cs typeface="Arial"/>
              <a:sym typeface="Arial"/>
            </a:endParaRPr>
          </a:p>
        </p:txBody>
      </p:sp>
      <p:sp>
        <p:nvSpPr>
          <p:cNvPr id="1353" name="Google Shape;1353;p7"/>
          <p:cNvSpPr txBox="1"/>
          <p:nvPr/>
        </p:nvSpPr>
        <p:spPr>
          <a:xfrm>
            <a:off x="6623378" y="2978072"/>
            <a:ext cx="1890112" cy="818686"/>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600"/>
              <a:buFont typeface="Arial"/>
              <a:buNone/>
            </a:pPr>
            <a:r>
              <a:rPr lang="en-US" sz="1400" b="0" i="0" u="none" strike="noStrike" cap="none">
                <a:solidFill>
                  <a:schemeClr val="dk1"/>
                </a:solidFill>
                <a:latin typeface="Calibri"/>
                <a:ea typeface="Calibri"/>
                <a:cs typeface="Calibri"/>
                <a:sym typeface="Calibri"/>
              </a:rPr>
              <a:t>Leveraging our </a:t>
            </a:r>
            <a:r>
              <a:rPr lang="en-US" sz="1400" b="1" i="0" u="none" strike="noStrike" cap="none">
                <a:solidFill>
                  <a:schemeClr val="dk1"/>
                </a:solidFill>
                <a:latin typeface="Calibri"/>
                <a:ea typeface="Calibri"/>
                <a:cs typeface="Calibri"/>
                <a:sym typeface="Calibri"/>
              </a:rPr>
              <a:t>full range </a:t>
            </a:r>
            <a:r>
              <a:rPr lang="en-US" sz="1400" b="0" i="0" u="none" strike="noStrike" cap="none">
                <a:solidFill>
                  <a:schemeClr val="dk1"/>
                </a:solidFill>
                <a:latin typeface="Calibri"/>
                <a:ea typeface="Calibri"/>
                <a:cs typeface="Calibri"/>
                <a:sym typeface="Calibri"/>
              </a:rPr>
              <a:t>of capabilities to maximize output </a:t>
            </a:r>
            <a:r>
              <a:rPr lang="en-US" sz="1400" b="1" i="0" u="none" strike="noStrike" cap="none">
                <a:solidFill>
                  <a:schemeClr val="dk1"/>
                </a:solidFill>
                <a:latin typeface="Calibri"/>
                <a:ea typeface="Calibri"/>
                <a:cs typeface="Calibri"/>
                <a:sym typeface="Calibri"/>
              </a:rPr>
              <a:t>quality</a:t>
            </a:r>
            <a:r>
              <a:rPr lang="en-US" sz="1400" b="0" i="0" u="none" strike="noStrike" cap="none">
                <a:solidFill>
                  <a:schemeClr val="dk1"/>
                </a:solidFill>
                <a:latin typeface="Calibri"/>
                <a:ea typeface="Calibri"/>
                <a:cs typeface="Calibri"/>
                <a:sym typeface="Calibri"/>
              </a:rPr>
              <a:t> and work </a:t>
            </a:r>
            <a:r>
              <a:rPr lang="en-US" sz="1400" b="1" i="0" u="none" strike="noStrike" cap="none">
                <a:solidFill>
                  <a:schemeClr val="dk1"/>
                </a:solidFill>
                <a:latin typeface="Calibri"/>
                <a:ea typeface="Calibri"/>
                <a:cs typeface="Calibri"/>
                <a:sym typeface="Calibri"/>
              </a:rPr>
              <a:t>efficiency</a:t>
            </a:r>
            <a:endParaRPr sz="1200" b="1" i="0" u="none" strike="noStrike" cap="none">
              <a:solidFill>
                <a:srgbClr val="000000"/>
              </a:solidFill>
              <a:latin typeface="Arial"/>
              <a:ea typeface="Arial"/>
              <a:cs typeface="Arial"/>
              <a:sym typeface="Arial"/>
            </a:endParaRPr>
          </a:p>
        </p:txBody>
      </p:sp>
      <p:sp>
        <p:nvSpPr>
          <p:cNvPr id="1354" name="Google Shape;1354;p7"/>
          <p:cNvSpPr txBox="1"/>
          <p:nvPr/>
        </p:nvSpPr>
        <p:spPr>
          <a:xfrm>
            <a:off x="539401" y="1860696"/>
            <a:ext cx="3109408" cy="1254189"/>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600"/>
              <a:buFont typeface="Arial"/>
              <a:buNone/>
            </a:pPr>
            <a:r>
              <a:rPr lang="en-US" sz="1400" b="0" i="0" u="none" strike="noStrike" cap="none" dirty="0">
                <a:solidFill>
                  <a:schemeClr val="dk1"/>
                </a:solidFill>
                <a:latin typeface="Calibri"/>
                <a:ea typeface="Calibri"/>
                <a:cs typeface="Calibri"/>
                <a:sym typeface="Calibri"/>
              </a:rPr>
              <a:t>Providers usually focus on </a:t>
            </a:r>
            <a:r>
              <a:rPr lang="en-US" sz="1400" b="1" i="0" u="none" strike="noStrike" cap="none" dirty="0">
                <a:solidFill>
                  <a:srgbClr val="000000"/>
                </a:solidFill>
                <a:latin typeface="Calibri"/>
                <a:ea typeface="Calibri"/>
                <a:cs typeface="Calibri"/>
                <a:sym typeface="Calibri"/>
              </a:rPr>
              <a:t>execution</a:t>
            </a:r>
            <a:r>
              <a:rPr lang="en-US" sz="1400" b="0" i="0" u="none" strike="noStrike" cap="none" dirty="0">
                <a:solidFill>
                  <a:schemeClr val="dk1"/>
                </a:solidFill>
                <a:latin typeface="Calibri"/>
                <a:ea typeface="Calibri"/>
                <a:cs typeface="Calibri"/>
                <a:sym typeface="Calibri"/>
              </a:rPr>
              <a:t>, without much attention to: </a:t>
            </a:r>
            <a:endParaRPr sz="1400" b="0" i="0" u="none" strike="noStrike" cap="none" dirty="0">
              <a:solidFill>
                <a:srgbClr val="000000"/>
              </a:solidFill>
              <a:latin typeface="Arial"/>
              <a:ea typeface="Arial"/>
              <a:cs typeface="Arial"/>
              <a:sym typeface="Arial"/>
            </a:endParaRPr>
          </a:p>
          <a:p>
            <a:pPr marL="285750" marR="0" lvl="0" indent="-285750" algn="l" rtl="0">
              <a:lnSpc>
                <a:spcPct val="95000"/>
              </a:lnSpc>
              <a:spcBef>
                <a:spcPts val="600"/>
              </a:spcBef>
              <a:spcAft>
                <a:spcPts val="0"/>
              </a:spcAft>
              <a:buClr>
                <a:schemeClr val="dk1"/>
              </a:buClr>
              <a:buSzPts val="1600"/>
              <a:buFont typeface="Arial"/>
              <a:buChar char="•"/>
            </a:pPr>
            <a:r>
              <a:rPr lang="en-US" sz="1400" b="0" i="0" u="none" strike="noStrike" cap="none" dirty="0">
                <a:solidFill>
                  <a:schemeClr val="dk1"/>
                </a:solidFill>
                <a:latin typeface="Calibri"/>
                <a:ea typeface="Calibri"/>
                <a:cs typeface="Calibri"/>
                <a:sym typeface="Calibri"/>
              </a:rPr>
              <a:t>Context </a:t>
            </a:r>
            <a:endParaRPr sz="1400" b="0" i="0" u="none" strike="noStrike" cap="none" dirty="0">
              <a:solidFill>
                <a:srgbClr val="000000"/>
              </a:solidFill>
              <a:latin typeface="Arial"/>
              <a:ea typeface="Arial"/>
              <a:cs typeface="Arial"/>
              <a:sym typeface="Arial"/>
            </a:endParaRPr>
          </a:p>
          <a:p>
            <a:pPr marL="285750" marR="0" lvl="0" indent="-285750" algn="l" rtl="0">
              <a:lnSpc>
                <a:spcPct val="95000"/>
              </a:lnSpc>
              <a:spcBef>
                <a:spcPts val="600"/>
              </a:spcBef>
              <a:spcAft>
                <a:spcPts val="0"/>
              </a:spcAft>
              <a:buClr>
                <a:schemeClr val="dk1"/>
              </a:buClr>
              <a:buSzPts val="1600"/>
              <a:buFont typeface="Arial"/>
              <a:buChar char="•"/>
            </a:pPr>
            <a:r>
              <a:rPr lang="en-US" sz="1400" b="0" i="0" u="none" strike="noStrike" cap="none" dirty="0">
                <a:solidFill>
                  <a:schemeClr val="dk1"/>
                </a:solidFill>
                <a:latin typeface="Calibri"/>
                <a:ea typeface="Calibri"/>
                <a:cs typeface="Calibri"/>
                <a:sym typeface="Calibri"/>
              </a:rPr>
              <a:t>Objectives </a:t>
            </a:r>
            <a:endParaRPr sz="1400" b="0" i="0" u="none" strike="noStrike" cap="none" dirty="0">
              <a:solidFill>
                <a:srgbClr val="000000"/>
              </a:solidFill>
              <a:latin typeface="Arial"/>
              <a:ea typeface="Arial"/>
              <a:cs typeface="Arial"/>
              <a:sym typeface="Arial"/>
            </a:endParaRPr>
          </a:p>
          <a:p>
            <a:pPr marL="285750" marR="0" lvl="0" indent="-285750" algn="l" rtl="0">
              <a:lnSpc>
                <a:spcPct val="95000"/>
              </a:lnSpc>
              <a:spcBef>
                <a:spcPts val="600"/>
              </a:spcBef>
              <a:spcAft>
                <a:spcPts val="0"/>
              </a:spcAft>
              <a:buClr>
                <a:schemeClr val="dk1"/>
              </a:buClr>
              <a:buSzPts val="1600"/>
              <a:buFont typeface="Arial"/>
              <a:buChar char="•"/>
            </a:pPr>
            <a:r>
              <a:rPr lang="en-US" sz="1400" b="0" i="0" u="none" strike="noStrike" cap="none" dirty="0">
                <a:solidFill>
                  <a:schemeClr val="dk1"/>
                </a:solidFill>
                <a:latin typeface="Calibri"/>
                <a:ea typeface="Calibri"/>
                <a:cs typeface="Calibri"/>
                <a:sym typeface="Calibri"/>
              </a:rPr>
              <a:t>Packaging (delivery format)</a:t>
            </a:r>
            <a:endParaRPr sz="1400" b="0" i="0" u="none" strike="noStrike" cap="none" dirty="0">
              <a:solidFill>
                <a:schemeClr val="dk1"/>
              </a:solidFill>
              <a:latin typeface="Calibri"/>
              <a:ea typeface="Calibri"/>
              <a:cs typeface="Calibri"/>
              <a:sym typeface="Calibri"/>
            </a:endParaRPr>
          </a:p>
        </p:txBody>
      </p:sp>
      <p:sp>
        <p:nvSpPr>
          <p:cNvPr id="1355" name="Google Shape;1355;p7"/>
          <p:cNvSpPr txBox="1"/>
          <p:nvPr/>
        </p:nvSpPr>
        <p:spPr>
          <a:xfrm>
            <a:off x="539401" y="4324881"/>
            <a:ext cx="2993631" cy="1586588"/>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600"/>
              <a:buFont typeface="Arial"/>
              <a:buNone/>
            </a:pPr>
            <a:r>
              <a:rPr lang="en-US" sz="1400" b="0" i="0" u="none" strike="noStrike" cap="none" dirty="0">
                <a:solidFill>
                  <a:schemeClr val="dk1"/>
                </a:solidFill>
                <a:latin typeface="Calibri"/>
                <a:ea typeface="Calibri"/>
                <a:cs typeface="Calibri"/>
                <a:sym typeface="Calibri"/>
              </a:rPr>
              <a:t>Providers tend to </a:t>
            </a:r>
            <a:r>
              <a:rPr lang="en-US" sz="1400" b="1" i="0" u="none" strike="noStrike" cap="none" dirty="0">
                <a:solidFill>
                  <a:srgbClr val="000000"/>
                </a:solidFill>
                <a:latin typeface="Calibri"/>
                <a:ea typeface="Calibri"/>
                <a:cs typeface="Calibri"/>
                <a:sym typeface="Calibri"/>
              </a:rPr>
              <a:t>specialize</a:t>
            </a:r>
            <a:r>
              <a:rPr lang="en-US" sz="1400" b="0" i="0" u="none" strike="noStrike" cap="none" dirty="0">
                <a:solidFill>
                  <a:schemeClr val="dk1"/>
                </a:solidFill>
                <a:latin typeface="Calibri"/>
                <a:ea typeface="Calibri"/>
                <a:cs typeface="Calibri"/>
                <a:sym typeface="Calibri"/>
              </a:rPr>
              <a:t> in one service or one approach, which leads to:</a:t>
            </a:r>
            <a:endParaRPr sz="1400" b="0" i="0" u="none" strike="noStrike" cap="none" dirty="0">
              <a:solidFill>
                <a:srgbClr val="000000"/>
              </a:solidFill>
              <a:latin typeface="Arial"/>
              <a:ea typeface="Arial"/>
              <a:cs typeface="Arial"/>
              <a:sym typeface="Arial"/>
            </a:endParaRPr>
          </a:p>
          <a:p>
            <a:pPr marL="285750" marR="0" lvl="0" indent="-285750" algn="l" rtl="0">
              <a:lnSpc>
                <a:spcPct val="95000"/>
              </a:lnSpc>
              <a:spcBef>
                <a:spcPts val="600"/>
              </a:spcBef>
              <a:spcAft>
                <a:spcPts val="0"/>
              </a:spcAft>
              <a:buClr>
                <a:schemeClr val="dk1"/>
              </a:buClr>
              <a:buSzPts val="1600"/>
              <a:buFont typeface="Arial"/>
              <a:buChar char="•"/>
            </a:pPr>
            <a:r>
              <a:rPr lang="en-US" sz="1400" b="0" i="0" u="none" strike="noStrike" cap="none" dirty="0">
                <a:solidFill>
                  <a:schemeClr val="dk1"/>
                </a:solidFill>
                <a:latin typeface="Calibri"/>
                <a:ea typeface="Calibri"/>
                <a:cs typeface="Calibri"/>
                <a:sym typeface="Calibri"/>
              </a:rPr>
              <a:t>Forcing the client to use their approach even if it is not the most relevant</a:t>
            </a:r>
            <a:endParaRPr sz="1400" b="0" i="0" u="none" strike="noStrike" cap="none" dirty="0">
              <a:solidFill>
                <a:srgbClr val="000000"/>
              </a:solidFill>
              <a:latin typeface="Arial"/>
              <a:ea typeface="Arial"/>
              <a:cs typeface="Arial"/>
              <a:sym typeface="Arial"/>
            </a:endParaRPr>
          </a:p>
          <a:p>
            <a:pPr marL="285750" marR="0" lvl="0" indent="-285750" algn="l" rtl="0">
              <a:lnSpc>
                <a:spcPct val="95000"/>
              </a:lnSpc>
              <a:spcBef>
                <a:spcPts val="600"/>
              </a:spcBef>
              <a:spcAft>
                <a:spcPts val="0"/>
              </a:spcAft>
              <a:buClr>
                <a:schemeClr val="dk1"/>
              </a:buClr>
              <a:buSzPts val="1600"/>
              <a:buFont typeface="Arial"/>
              <a:buChar char="•"/>
            </a:pPr>
            <a:r>
              <a:rPr lang="en-US" sz="1400" b="0" i="0" u="none" strike="noStrike" cap="none" dirty="0">
                <a:solidFill>
                  <a:schemeClr val="dk1"/>
                </a:solidFill>
                <a:latin typeface="Calibri"/>
                <a:ea typeface="Calibri"/>
                <a:cs typeface="Calibri"/>
                <a:sym typeface="Calibri"/>
              </a:rPr>
              <a:t>Juggle between multiple providers, therefore wasting a lot of time</a:t>
            </a:r>
            <a:endParaRPr sz="1200" b="0" i="0" u="none" strike="noStrike" cap="none" dirty="0">
              <a:solidFill>
                <a:srgbClr val="000000"/>
              </a:solidFill>
              <a:latin typeface="Arial"/>
              <a:ea typeface="Arial"/>
              <a:cs typeface="Arial"/>
              <a:sym typeface="Arial"/>
            </a:endParaRPr>
          </a:p>
        </p:txBody>
      </p:sp>
      <p:sp>
        <p:nvSpPr>
          <p:cNvPr id="1356" name="Google Shape;1356;p7"/>
          <p:cNvSpPr/>
          <p:nvPr/>
        </p:nvSpPr>
        <p:spPr>
          <a:xfrm>
            <a:off x="4343723" y="4860968"/>
            <a:ext cx="1949416" cy="448519"/>
          </a:xfrm>
          <a:prstGeom prst="homePlate">
            <a:avLst>
              <a:gd name="adj" fmla="val 18911"/>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rgbClr val="7F7F7F"/>
                </a:solidFill>
                <a:latin typeface="Calibri"/>
                <a:ea typeface="Calibri"/>
                <a:cs typeface="Calibri"/>
                <a:sym typeface="Calibri"/>
              </a:rPr>
              <a:t>Intake</a:t>
            </a:r>
            <a:endParaRPr sz="1600" b="1" i="0" u="none" strike="noStrike" cap="none">
              <a:solidFill>
                <a:srgbClr val="7F7F7F"/>
              </a:solidFill>
              <a:latin typeface="Calibri"/>
              <a:ea typeface="Calibri"/>
              <a:cs typeface="Calibri"/>
              <a:sym typeface="Calibri"/>
            </a:endParaRPr>
          </a:p>
        </p:txBody>
      </p:sp>
      <p:sp>
        <p:nvSpPr>
          <p:cNvPr id="1357" name="Google Shape;1357;p7"/>
          <p:cNvSpPr/>
          <p:nvPr/>
        </p:nvSpPr>
        <p:spPr>
          <a:xfrm>
            <a:off x="6293139" y="4860968"/>
            <a:ext cx="2752390" cy="448519"/>
          </a:xfrm>
          <a:prstGeom prst="chevron">
            <a:avLst>
              <a:gd name="adj" fmla="val 18911"/>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chemeClr val="lt1"/>
                </a:solidFill>
                <a:latin typeface="Calibri"/>
                <a:ea typeface="Calibri"/>
                <a:cs typeface="Calibri"/>
                <a:sym typeface="Calibri"/>
              </a:rPr>
              <a:t>Execution</a:t>
            </a:r>
            <a:endParaRPr sz="1600" b="1" i="0" u="none" strike="noStrike" cap="none">
              <a:solidFill>
                <a:schemeClr val="lt1"/>
              </a:solidFill>
              <a:latin typeface="Calibri"/>
              <a:ea typeface="Calibri"/>
              <a:cs typeface="Calibri"/>
              <a:sym typeface="Calibri"/>
            </a:endParaRPr>
          </a:p>
        </p:txBody>
      </p:sp>
      <p:sp>
        <p:nvSpPr>
          <p:cNvPr id="1358" name="Google Shape;1358;p7"/>
          <p:cNvSpPr/>
          <p:nvPr/>
        </p:nvSpPr>
        <p:spPr>
          <a:xfrm>
            <a:off x="9065663" y="4860968"/>
            <a:ext cx="1947672" cy="448519"/>
          </a:xfrm>
          <a:prstGeom prst="chevron">
            <a:avLst>
              <a:gd name="adj" fmla="val 18911"/>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rgbClr val="7F7F7F"/>
                </a:solidFill>
                <a:latin typeface="Calibri"/>
                <a:ea typeface="Calibri"/>
                <a:cs typeface="Calibri"/>
                <a:sym typeface="Calibri"/>
              </a:rPr>
              <a:t>Delivery</a:t>
            </a:r>
            <a:endParaRPr sz="1600" b="1" i="0" u="none" strike="noStrike" cap="none">
              <a:solidFill>
                <a:srgbClr val="7F7F7F"/>
              </a:solidFill>
              <a:latin typeface="Calibri"/>
              <a:ea typeface="Calibri"/>
              <a:cs typeface="Calibri"/>
              <a:sym typeface="Calibri"/>
            </a:endParaRPr>
          </a:p>
        </p:txBody>
      </p:sp>
      <p:sp>
        <p:nvSpPr>
          <p:cNvPr id="1359" name="Google Shape;1359;p7"/>
          <p:cNvSpPr txBox="1"/>
          <p:nvPr/>
        </p:nvSpPr>
        <p:spPr>
          <a:xfrm>
            <a:off x="4177770" y="4320197"/>
            <a:ext cx="6919294" cy="501676"/>
          </a:xfrm>
          <a:prstGeom prst="rect">
            <a:avLst/>
          </a:prstGeom>
          <a:noFill/>
          <a:ln>
            <a:noFill/>
          </a:ln>
        </p:spPr>
        <p:txBody>
          <a:bodyPr spcFirstLastPara="1" wrap="square" lIns="91425" tIns="45700" rIns="91425" bIns="45700" anchor="t" anchorCtr="0">
            <a:spAutoFit/>
          </a:bodyPr>
          <a:lstStyle/>
          <a:p>
            <a:pPr marL="0" marR="0" lvl="0" indent="0" algn="l" rtl="0">
              <a:lnSpc>
                <a:spcPct val="95000"/>
              </a:lnSpc>
              <a:spcBef>
                <a:spcPts val="0"/>
              </a:spcBef>
              <a:spcAft>
                <a:spcPts val="0"/>
              </a:spcAft>
              <a:buClr>
                <a:srgbClr val="000000"/>
              </a:buClr>
              <a:buSzPts val="1400"/>
              <a:buFont typeface="Arial"/>
              <a:buNone/>
            </a:pPr>
            <a:r>
              <a:rPr lang="en-US" sz="1400" b="0" i="0" u="none" strike="noStrike" cap="none" dirty="0">
                <a:solidFill>
                  <a:schemeClr val="dk1"/>
                </a:solidFill>
                <a:latin typeface="Calibri"/>
                <a:ea typeface="Calibri"/>
                <a:cs typeface="Calibri"/>
                <a:sym typeface="Calibri"/>
              </a:rPr>
              <a:t>Infomineo is a </a:t>
            </a:r>
            <a:r>
              <a:rPr lang="en-US" sz="1400" b="1" i="0" u="none" strike="noStrike" cap="none" dirty="0">
                <a:solidFill>
                  <a:srgbClr val="000000"/>
                </a:solidFill>
                <a:latin typeface="Calibri"/>
                <a:ea typeface="Calibri"/>
                <a:cs typeface="Calibri"/>
                <a:sym typeface="Calibri"/>
              </a:rPr>
              <a:t>«one stop shop»</a:t>
            </a:r>
            <a:r>
              <a:rPr lang="en-US" sz="1400" b="0" i="0" u="none" strike="noStrike" cap="none" dirty="0">
                <a:solidFill>
                  <a:schemeClr val="dk1"/>
                </a:solidFill>
                <a:latin typeface="Calibri"/>
                <a:ea typeface="Calibri"/>
                <a:cs typeface="Calibri"/>
                <a:sym typeface="Calibri"/>
              </a:rPr>
              <a:t> by integrating a suite of services valuable to top executives, helping them save time and leverage the proper expertise</a:t>
            </a:r>
            <a:endParaRPr sz="1400" b="0" i="0" u="none" strike="noStrike" cap="none" dirty="0">
              <a:solidFill>
                <a:srgbClr val="000000"/>
              </a:solidFill>
              <a:latin typeface="Arial"/>
              <a:ea typeface="Arial"/>
              <a:cs typeface="Arial"/>
              <a:sym typeface="Arial"/>
            </a:endParaRPr>
          </a:p>
        </p:txBody>
      </p:sp>
      <p:grpSp>
        <p:nvGrpSpPr>
          <p:cNvPr id="1360" name="Google Shape;1360;p7"/>
          <p:cNvGrpSpPr/>
          <p:nvPr/>
        </p:nvGrpSpPr>
        <p:grpSpPr>
          <a:xfrm>
            <a:off x="3966756" y="5519669"/>
            <a:ext cx="548640" cy="548640"/>
            <a:chOff x="4269954" y="5066262"/>
            <a:chExt cx="640080" cy="640080"/>
          </a:xfrm>
        </p:grpSpPr>
        <p:sp>
          <p:nvSpPr>
            <p:cNvPr id="1361" name="Google Shape;1361;p7"/>
            <p:cNvSpPr/>
            <p:nvPr/>
          </p:nvSpPr>
          <p:spPr>
            <a:xfrm>
              <a:off x="4269954" y="5066262"/>
              <a:ext cx="640080" cy="640080"/>
            </a:xfrm>
            <a:prstGeom prst="ellipse">
              <a:avLst/>
            </a:prstGeom>
            <a:noFill/>
            <a:ln w="9525" cap="flat" cmpd="sng">
              <a:solidFill>
                <a:srgbClr val="00B0F0"/>
              </a:solidFill>
              <a:prstDash val="solid"/>
              <a:round/>
              <a:headEnd type="none" w="sm" len="sm"/>
              <a:tailEnd type="none" w="sm" len="sm"/>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b="0" i="0" u="none" strike="noStrike" cap="none">
                <a:solidFill>
                  <a:schemeClr val="lt1"/>
                </a:solidFill>
                <a:latin typeface="Calibri" panose="020F0502020204030204" pitchFamily="34" charset="0"/>
                <a:ea typeface="Calibri" panose="020F0502020204030204" pitchFamily="34" charset="0"/>
                <a:cs typeface="Calibri" panose="020F0502020204030204" pitchFamily="34" charset="0"/>
                <a:sym typeface="Calibri"/>
              </a:endParaRPr>
            </a:p>
          </p:txBody>
        </p:sp>
        <p:pic>
          <p:nvPicPr>
            <p:cNvPr id="1362" name="Google Shape;1362;p7"/>
            <p:cNvPicPr preferRelativeResize="0"/>
            <p:nvPr/>
          </p:nvPicPr>
          <p:blipFill rotWithShape="1">
            <a:blip r:embed="rId4">
              <a:alphaModFix/>
            </a:blip>
            <a:srcRect/>
            <a:stretch/>
          </p:blipFill>
          <p:spPr>
            <a:xfrm>
              <a:off x="4407114" y="5216608"/>
              <a:ext cx="365760" cy="365760"/>
            </a:xfrm>
            <a:prstGeom prst="rect">
              <a:avLst/>
            </a:prstGeom>
            <a:noFill/>
            <a:ln>
              <a:noFill/>
            </a:ln>
          </p:spPr>
        </p:pic>
      </p:grpSp>
      <p:grpSp>
        <p:nvGrpSpPr>
          <p:cNvPr id="1363" name="Google Shape;1363;p7"/>
          <p:cNvGrpSpPr/>
          <p:nvPr/>
        </p:nvGrpSpPr>
        <p:grpSpPr>
          <a:xfrm>
            <a:off x="6025907" y="5519669"/>
            <a:ext cx="548640" cy="548640"/>
            <a:chOff x="6979783" y="5021164"/>
            <a:chExt cx="640080" cy="640080"/>
          </a:xfrm>
        </p:grpSpPr>
        <p:sp>
          <p:nvSpPr>
            <p:cNvPr id="1364" name="Google Shape;1364;p7"/>
            <p:cNvSpPr/>
            <p:nvPr/>
          </p:nvSpPr>
          <p:spPr>
            <a:xfrm>
              <a:off x="6979783" y="5021164"/>
              <a:ext cx="640080" cy="640080"/>
            </a:xfrm>
            <a:prstGeom prst="ellipse">
              <a:avLst/>
            </a:prstGeom>
            <a:noFill/>
            <a:ln w="9525" cap="flat" cmpd="sng">
              <a:solidFill>
                <a:srgbClr val="00B0F0"/>
              </a:solidFill>
              <a:prstDash val="solid"/>
              <a:round/>
              <a:headEnd type="none" w="sm" len="sm"/>
              <a:tailEnd type="none" w="sm" len="sm"/>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b="0" i="0" u="none" strike="noStrike" cap="none">
                <a:solidFill>
                  <a:schemeClr val="lt1"/>
                </a:solidFill>
                <a:latin typeface="Calibri" panose="020F0502020204030204" pitchFamily="34" charset="0"/>
                <a:ea typeface="Calibri" panose="020F0502020204030204" pitchFamily="34" charset="0"/>
                <a:cs typeface="Calibri" panose="020F0502020204030204" pitchFamily="34" charset="0"/>
                <a:sym typeface="Calibri"/>
              </a:endParaRPr>
            </a:p>
          </p:txBody>
        </p:sp>
        <p:pic>
          <p:nvPicPr>
            <p:cNvPr id="1365" name="Google Shape;1365;p7"/>
            <p:cNvPicPr preferRelativeResize="0"/>
            <p:nvPr/>
          </p:nvPicPr>
          <p:blipFill rotWithShape="1">
            <a:blip r:embed="rId5">
              <a:alphaModFix/>
            </a:blip>
            <a:srcRect/>
            <a:stretch/>
          </p:blipFill>
          <p:spPr>
            <a:xfrm>
              <a:off x="7116943" y="5158324"/>
              <a:ext cx="365760" cy="365760"/>
            </a:xfrm>
            <a:prstGeom prst="rect">
              <a:avLst/>
            </a:prstGeom>
            <a:noFill/>
            <a:ln>
              <a:noFill/>
            </a:ln>
          </p:spPr>
        </p:pic>
      </p:grpSp>
      <p:sp>
        <p:nvSpPr>
          <p:cNvPr id="1366" name="Google Shape;1366;p7"/>
          <p:cNvSpPr txBox="1"/>
          <p:nvPr/>
        </p:nvSpPr>
        <p:spPr>
          <a:xfrm>
            <a:off x="4564078" y="5679511"/>
            <a:ext cx="1563948" cy="1077218"/>
          </a:xfrm>
          <a:prstGeom prst="rect">
            <a:avLst/>
          </a:prstGeom>
          <a:noFill/>
          <a:ln>
            <a:noFill/>
          </a:ln>
        </p:spPr>
        <p:txBody>
          <a:bodyPr spcFirstLastPara="1" wrap="square" lIns="0" tIns="0" rIns="0" bIns="0" anchor="t" anchorCtr="0">
            <a:spAutoFit/>
          </a:bodyPr>
          <a:lstStyle/>
          <a:p>
            <a:pPr marL="0" marR="0" lvl="1" indent="0" algn="l" rtl="0">
              <a:lnSpc>
                <a:spcPct val="100000"/>
              </a:lnSpc>
              <a:spcBef>
                <a:spcPts val="0"/>
              </a:spcBef>
              <a:spcAft>
                <a:spcPts val="0"/>
              </a:spcAft>
              <a:buClr>
                <a:srgbClr val="000000"/>
              </a:buClr>
              <a:buSzPts val="1400"/>
              <a:buFont typeface="Arial"/>
              <a:buNone/>
            </a:pPr>
            <a:r>
              <a:rPr lang="en-US"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Data research</a:t>
            </a:r>
            <a:endParaRPr b="0" i="0" u="none" strike="noStrike" cap="none" dirty="0">
              <a:solidFill>
                <a:srgbClr val="000000"/>
              </a:solidFill>
              <a:latin typeface="Calibri" panose="020F0502020204030204" pitchFamily="34" charset="0"/>
              <a:ea typeface="Calibri" panose="020F0502020204030204" pitchFamily="34" charset="0"/>
              <a:cs typeface="Calibri" panose="020F0502020204030204" pitchFamily="34" charset="0"/>
              <a:sym typeface="Arial"/>
            </a:endParaRPr>
          </a:p>
          <a:p>
            <a:pPr marL="285750" marR="0" lvl="1" indent="-285750" algn="l" rtl="0">
              <a:lnSpc>
                <a:spcPct val="100000"/>
              </a:lnSpc>
              <a:spcBef>
                <a:spcPts val="0"/>
              </a:spcBef>
              <a:spcAft>
                <a:spcPts val="0"/>
              </a:spcAft>
              <a:buClr>
                <a:schemeClr val="dk2"/>
              </a:buClr>
              <a:buSzPts val="1440"/>
              <a:buFont typeface="Arial"/>
              <a:buChar char="•"/>
            </a:pPr>
            <a:r>
              <a:rPr lang="en-US"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Desk research</a:t>
            </a:r>
            <a:endParaRPr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endParaRPr>
          </a:p>
          <a:p>
            <a:pPr marL="285750" marR="0" lvl="1" indent="-285750" algn="l" rtl="0">
              <a:lnSpc>
                <a:spcPct val="100000"/>
              </a:lnSpc>
              <a:spcBef>
                <a:spcPts val="0"/>
              </a:spcBef>
              <a:spcAft>
                <a:spcPts val="0"/>
              </a:spcAft>
              <a:buClr>
                <a:schemeClr val="dk2"/>
              </a:buClr>
              <a:buSzPts val="1440"/>
              <a:buFont typeface="Arial"/>
              <a:buChar char="•"/>
            </a:pPr>
            <a:r>
              <a:rPr lang="en-US"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Primary research</a:t>
            </a:r>
            <a:endParaRPr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endParaRPr>
          </a:p>
          <a:p>
            <a:pPr marL="285750" marR="0" lvl="1" indent="-285750" algn="l" rtl="0">
              <a:lnSpc>
                <a:spcPct val="100000"/>
              </a:lnSpc>
              <a:spcBef>
                <a:spcPts val="0"/>
              </a:spcBef>
              <a:spcAft>
                <a:spcPts val="0"/>
              </a:spcAft>
              <a:buClr>
                <a:schemeClr val="dk2"/>
              </a:buClr>
              <a:buSzPts val="1440"/>
              <a:buFont typeface="Arial"/>
              <a:buChar char="•"/>
            </a:pPr>
            <a:r>
              <a:rPr lang="en-US"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Tech enabled research</a:t>
            </a:r>
            <a:endParaRPr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endParaRPr>
          </a:p>
        </p:txBody>
      </p:sp>
      <p:sp>
        <p:nvSpPr>
          <p:cNvPr id="1367" name="Google Shape;1367;p7"/>
          <p:cNvSpPr txBox="1"/>
          <p:nvPr/>
        </p:nvSpPr>
        <p:spPr>
          <a:xfrm>
            <a:off x="6676559" y="5679511"/>
            <a:ext cx="1248439" cy="861774"/>
          </a:xfrm>
          <a:prstGeom prst="rect">
            <a:avLst/>
          </a:prstGeom>
          <a:noFill/>
          <a:ln>
            <a:noFill/>
          </a:ln>
        </p:spPr>
        <p:txBody>
          <a:bodyPr spcFirstLastPara="1" wrap="square" lIns="0" tIns="0" rIns="0" bIns="0" anchor="t" anchorCtr="0">
            <a:spAutoFit/>
          </a:bodyPr>
          <a:lstStyle/>
          <a:p>
            <a:pPr marL="0" marR="0" lvl="1" indent="0" algn="l" rtl="0">
              <a:lnSpc>
                <a:spcPct val="100000"/>
              </a:lnSpc>
              <a:spcBef>
                <a:spcPts val="0"/>
              </a:spcBef>
              <a:spcAft>
                <a:spcPts val="0"/>
              </a:spcAft>
              <a:buClr>
                <a:srgbClr val="000000"/>
              </a:buClr>
              <a:buSzPts val="1400"/>
              <a:buFont typeface="Arial"/>
              <a:buNone/>
            </a:pPr>
            <a:r>
              <a:rPr lang="en-US"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Graphic design</a:t>
            </a:r>
            <a:endParaRPr b="0" i="0" u="none" strike="noStrike" cap="none" dirty="0">
              <a:solidFill>
                <a:srgbClr val="000000"/>
              </a:solidFill>
              <a:latin typeface="Calibri" panose="020F0502020204030204" pitchFamily="34" charset="0"/>
              <a:ea typeface="Calibri" panose="020F0502020204030204" pitchFamily="34" charset="0"/>
              <a:cs typeface="Calibri" panose="020F0502020204030204" pitchFamily="34" charset="0"/>
              <a:sym typeface="Arial"/>
            </a:endParaRPr>
          </a:p>
          <a:p>
            <a:pPr marL="285750" marR="0" lvl="1" indent="-285750" algn="l" rtl="0">
              <a:lnSpc>
                <a:spcPct val="100000"/>
              </a:lnSpc>
              <a:spcBef>
                <a:spcPts val="0"/>
              </a:spcBef>
              <a:spcAft>
                <a:spcPts val="0"/>
              </a:spcAft>
              <a:buClr>
                <a:schemeClr val="dk2"/>
              </a:buClr>
              <a:buSzPts val="1440"/>
              <a:buFont typeface="Arial"/>
              <a:buChar char="•"/>
            </a:pPr>
            <a:r>
              <a:rPr lang="en-US"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Creative</a:t>
            </a:r>
            <a:endParaRPr b="0" i="0" u="none" strike="noStrike" cap="none" dirty="0">
              <a:solidFill>
                <a:srgbClr val="000000"/>
              </a:solidFill>
              <a:latin typeface="Calibri" panose="020F0502020204030204" pitchFamily="34" charset="0"/>
              <a:ea typeface="Calibri" panose="020F0502020204030204" pitchFamily="34" charset="0"/>
              <a:cs typeface="Calibri" panose="020F0502020204030204" pitchFamily="34" charset="0"/>
              <a:sym typeface="Arial"/>
            </a:endParaRPr>
          </a:p>
          <a:p>
            <a:pPr marL="285750" marR="0" lvl="1" indent="-285750" algn="l" rtl="0">
              <a:lnSpc>
                <a:spcPct val="100000"/>
              </a:lnSpc>
              <a:spcBef>
                <a:spcPts val="0"/>
              </a:spcBef>
              <a:spcAft>
                <a:spcPts val="0"/>
              </a:spcAft>
              <a:buClr>
                <a:schemeClr val="dk2"/>
              </a:buClr>
              <a:buSzPts val="1440"/>
              <a:buFont typeface="Arial"/>
              <a:buChar char="•"/>
            </a:pPr>
            <a:r>
              <a:rPr lang="en-US"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Enhanced</a:t>
            </a:r>
            <a:endParaRPr b="0" i="0" u="none" strike="noStrike" cap="none" dirty="0">
              <a:solidFill>
                <a:srgbClr val="000000"/>
              </a:solidFill>
              <a:latin typeface="Calibri" panose="020F0502020204030204" pitchFamily="34" charset="0"/>
              <a:ea typeface="Calibri" panose="020F0502020204030204" pitchFamily="34" charset="0"/>
              <a:cs typeface="Calibri" panose="020F0502020204030204" pitchFamily="34" charset="0"/>
              <a:sym typeface="Arial"/>
            </a:endParaRPr>
          </a:p>
          <a:p>
            <a:pPr marL="285750" marR="0" lvl="1" indent="-285750" algn="l" rtl="0">
              <a:lnSpc>
                <a:spcPct val="100000"/>
              </a:lnSpc>
              <a:spcBef>
                <a:spcPts val="0"/>
              </a:spcBef>
              <a:spcAft>
                <a:spcPts val="0"/>
              </a:spcAft>
              <a:buClr>
                <a:schemeClr val="dk2"/>
              </a:buClr>
              <a:buSzPts val="1440"/>
              <a:buFont typeface="Arial"/>
              <a:buChar char="•"/>
            </a:pPr>
            <a:r>
              <a:rPr lang="en-US"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Basic</a:t>
            </a:r>
            <a:endParaRPr b="0" i="0" u="none" strike="noStrike" cap="none" dirty="0">
              <a:solidFill>
                <a:srgbClr val="000000"/>
              </a:solidFill>
              <a:latin typeface="Calibri" panose="020F0502020204030204" pitchFamily="34" charset="0"/>
              <a:ea typeface="Calibri" panose="020F0502020204030204" pitchFamily="34" charset="0"/>
              <a:cs typeface="Calibri" panose="020F0502020204030204" pitchFamily="34" charset="0"/>
              <a:sym typeface="Arial"/>
            </a:endParaRPr>
          </a:p>
        </p:txBody>
      </p:sp>
      <p:grpSp>
        <p:nvGrpSpPr>
          <p:cNvPr id="1368" name="Google Shape;1368;p7"/>
          <p:cNvGrpSpPr/>
          <p:nvPr/>
        </p:nvGrpSpPr>
        <p:grpSpPr>
          <a:xfrm>
            <a:off x="7894587" y="5519669"/>
            <a:ext cx="548640" cy="548640"/>
            <a:chOff x="9123312" y="4933090"/>
            <a:chExt cx="640080" cy="640080"/>
          </a:xfrm>
        </p:grpSpPr>
        <p:sp>
          <p:nvSpPr>
            <p:cNvPr id="1369" name="Google Shape;1369;p7"/>
            <p:cNvSpPr/>
            <p:nvPr/>
          </p:nvSpPr>
          <p:spPr>
            <a:xfrm>
              <a:off x="9123312" y="4933090"/>
              <a:ext cx="640080" cy="640080"/>
            </a:xfrm>
            <a:prstGeom prst="ellipse">
              <a:avLst/>
            </a:prstGeom>
            <a:noFill/>
            <a:ln w="9525" cap="flat" cmpd="sng">
              <a:solidFill>
                <a:srgbClr val="00B0F0"/>
              </a:solidFill>
              <a:prstDash val="solid"/>
              <a:round/>
              <a:headEnd type="none" w="sm" len="sm"/>
              <a:tailEnd type="none" w="sm" len="sm"/>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b="0" i="0" u="none" strike="noStrike" cap="none">
                <a:solidFill>
                  <a:schemeClr val="lt1"/>
                </a:solidFill>
                <a:latin typeface="Calibri" panose="020F0502020204030204" pitchFamily="34" charset="0"/>
                <a:ea typeface="Calibri" panose="020F0502020204030204" pitchFamily="34" charset="0"/>
                <a:cs typeface="Calibri" panose="020F0502020204030204" pitchFamily="34" charset="0"/>
                <a:sym typeface="Calibri"/>
              </a:endParaRPr>
            </a:p>
          </p:txBody>
        </p:sp>
        <p:grpSp>
          <p:nvGrpSpPr>
            <p:cNvPr id="1370" name="Google Shape;1370;p7"/>
            <p:cNvGrpSpPr/>
            <p:nvPr/>
          </p:nvGrpSpPr>
          <p:grpSpPr>
            <a:xfrm>
              <a:off x="9274540" y="5084318"/>
              <a:ext cx="365760" cy="365760"/>
              <a:chOff x="6689308" y="2024976"/>
              <a:chExt cx="325986" cy="549024"/>
            </a:xfrm>
          </p:grpSpPr>
          <p:sp>
            <p:nvSpPr>
              <p:cNvPr id="1371" name="Google Shape;1371;p7"/>
              <p:cNvSpPr/>
              <p:nvPr/>
            </p:nvSpPr>
            <p:spPr>
              <a:xfrm>
                <a:off x="6689308" y="2024976"/>
                <a:ext cx="325986" cy="549024"/>
              </a:xfrm>
              <a:custGeom>
                <a:avLst/>
                <a:gdLst/>
                <a:ahLst/>
                <a:cxnLst/>
                <a:rect l="l" t="t" r="r" b="b"/>
                <a:pathLst>
                  <a:path w="325986" h="549024" extrusionOk="0">
                    <a:moveTo>
                      <a:pt x="304900" y="0"/>
                    </a:moveTo>
                    <a:lnTo>
                      <a:pt x="24663" y="0"/>
                    </a:lnTo>
                    <a:cubicBezTo>
                      <a:pt x="11049" y="17"/>
                      <a:pt x="17" y="11049"/>
                      <a:pt x="0" y="24663"/>
                    </a:cubicBezTo>
                    <a:lnTo>
                      <a:pt x="0" y="524361"/>
                    </a:lnTo>
                    <a:cubicBezTo>
                      <a:pt x="17" y="537975"/>
                      <a:pt x="11049" y="549007"/>
                      <a:pt x="24663" y="549024"/>
                    </a:cubicBezTo>
                    <a:lnTo>
                      <a:pt x="304900" y="549024"/>
                    </a:lnTo>
                    <a:cubicBezTo>
                      <a:pt x="318516" y="549011"/>
                      <a:pt x="329551" y="537975"/>
                      <a:pt x="329563" y="524361"/>
                    </a:cubicBezTo>
                    <a:lnTo>
                      <a:pt x="329563" y="24663"/>
                    </a:lnTo>
                    <a:cubicBezTo>
                      <a:pt x="329551" y="11048"/>
                      <a:pt x="318516" y="14"/>
                      <a:pt x="304900" y="0"/>
                    </a:cubicBezTo>
                    <a:close/>
                    <a:moveTo>
                      <a:pt x="240852" y="15012"/>
                    </a:moveTo>
                    <a:lnTo>
                      <a:pt x="223313" y="32538"/>
                    </a:lnTo>
                    <a:cubicBezTo>
                      <a:pt x="216691" y="39189"/>
                      <a:pt x="207684" y="42917"/>
                      <a:pt x="198298" y="42893"/>
                    </a:cubicBezTo>
                    <a:lnTo>
                      <a:pt x="131265" y="42893"/>
                    </a:lnTo>
                    <a:cubicBezTo>
                      <a:pt x="121879" y="42917"/>
                      <a:pt x="112873" y="39189"/>
                      <a:pt x="106250" y="32538"/>
                    </a:cubicBezTo>
                    <a:lnTo>
                      <a:pt x="88711" y="15012"/>
                    </a:lnTo>
                    <a:close/>
                    <a:moveTo>
                      <a:pt x="314551" y="524361"/>
                    </a:moveTo>
                    <a:cubicBezTo>
                      <a:pt x="314544" y="529688"/>
                      <a:pt x="310227" y="534003"/>
                      <a:pt x="304900" y="534012"/>
                    </a:cubicBezTo>
                    <a:lnTo>
                      <a:pt x="24663" y="534012"/>
                    </a:lnTo>
                    <a:cubicBezTo>
                      <a:pt x="19336" y="534003"/>
                      <a:pt x="15020" y="529688"/>
                      <a:pt x="15013" y="524361"/>
                    </a:cubicBezTo>
                    <a:lnTo>
                      <a:pt x="15013" y="24663"/>
                    </a:lnTo>
                    <a:cubicBezTo>
                      <a:pt x="15020" y="19336"/>
                      <a:pt x="19336" y="15019"/>
                      <a:pt x="24663" y="15012"/>
                    </a:cubicBezTo>
                    <a:lnTo>
                      <a:pt x="67471" y="15012"/>
                    </a:lnTo>
                    <a:lnTo>
                      <a:pt x="95638" y="43163"/>
                    </a:lnTo>
                    <a:cubicBezTo>
                      <a:pt x="105072" y="52633"/>
                      <a:pt x="117898" y="57940"/>
                      <a:pt x="131265" y="57905"/>
                    </a:cubicBezTo>
                    <a:lnTo>
                      <a:pt x="198298" y="57905"/>
                    </a:lnTo>
                    <a:cubicBezTo>
                      <a:pt x="211665" y="57940"/>
                      <a:pt x="224492" y="52633"/>
                      <a:pt x="233925" y="43163"/>
                    </a:cubicBezTo>
                    <a:lnTo>
                      <a:pt x="262093" y="15012"/>
                    </a:lnTo>
                    <a:lnTo>
                      <a:pt x="304900" y="15012"/>
                    </a:lnTo>
                    <a:cubicBezTo>
                      <a:pt x="310227" y="15019"/>
                      <a:pt x="314544" y="19336"/>
                      <a:pt x="314551" y="24663"/>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b="0"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Calibri"/>
                </a:endParaRPr>
              </a:p>
            </p:txBody>
          </p:sp>
          <p:sp>
            <p:nvSpPr>
              <p:cNvPr id="1372" name="Google Shape;1372;p7"/>
              <p:cNvSpPr/>
              <p:nvPr/>
            </p:nvSpPr>
            <p:spPr>
              <a:xfrm>
                <a:off x="6732201" y="2110795"/>
                <a:ext cx="85786" cy="98653"/>
              </a:xfrm>
              <a:custGeom>
                <a:avLst/>
                <a:gdLst/>
                <a:ahLst/>
                <a:cxnLst/>
                <a:rect l="l" t="t" r="r" b="b"/>
                <a:pathLst>
                  <a:path w="85785" h="98652" extrusionOk="0">
                    <a:moveTo>
                      <a:pt x="5040" y="98734"/>
                    </a:moveTo>
                    <a:cubicBezTo>
                      <a:pt x="8946" y="100102"/>
                      <a:pt x="13221" y="98044"/>
                      <a:pt x="14588" y="94138"/>
                    </a:cubicBezTo>
                    <a:cubicBezTo>
                      <a:pt x="14591" y="94130"/>
                      <a:pt x="14594" y="94122"/>
                      <a:pt x="14597" y="94115"/>
                    </a:cubicBezTo>
                    <a:lnTo>
                      <a:pt x="27499" y="57081"/>
                    </a:lnTo>
                    <a:lnTo>
                      <a:pt x="62242" y="57081"/>
                    </a:lnTo>
                    <a:lnTo>
                      <a:pt x="75136" y="94115"/>
                    </a:lnTo>
                    <a:cubicBezTo>
                      <a:pt x="76715" y="97948"/>
                      <a:pt x="81102" y="99776"/>
                      <a:pt x="84935" y="98197"/>
                    </a:cubicBezTo>
                    <a:cubicBezTo>
                      <a:pt x="88471" y="96740"/>
                      <a:pt x="90347" y="92858"/>
                      <a:pt x="89290" y="89182"/>
                    </a:cubicBezTo>
                    <a:lnTo>
                      <a:pt x="59994" y="5040"/>
                    </a:lnTo>
                    <a:cubicBezTo>
                      <a:pt x="58944" y="2022"/>
                      <a:pt x="56099" y="0"/>
                      <a:pt x="52904" y="0"/>
                    </a:cubicBezTo>
                    <a:lnTo>
                      <a:pt x="36819" y="0"/>
                    </a:lnTo>
                    <a:cubicBezTo>
                      <a:pt x="33624" y="0"/>
                      <a:pt x="30779" y="2022"/>
                      <a:pt x="29729" y="5040"/>
                    </a:cubicBezTo>
                    <a:lnTo>
                      <a:pt x="420" y="89182"/>
                    </a:lnTo>
                    <a:cubicBezTo>
                      <a:pt x="-944" y="93092"/>
                      <a:pt x="1120" y="97367"/>
                      <a:pt x="5030" y="98731"/>
                    </a:cubicBezTo>
                    <a:cubicBezTo>
                      <a:pt x="5034" y="98732"/>
                      <a:pt x="5037" y="98733"/>
                      <a:pt x="5040" y="98734"/>
                    </a:cubicBezTo>
                    <a:close/>
                    <a:moveTo>
                      <a:pt x="42151" y="15012"/>
                    </a:moveTo>
                    <a:lnTo>
                      <a:pt x="47568" y="15012"/>
                    </a:lnTo>
                    <a:lnTo>
                      <a:pt x="57005" y="42069"/>
                    </a:lnTo>
                    <a:lnTo>
                      <a:pt x="32727" y="42069"/>
                    </a:ln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b="0"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Calibri"/>
                </a:endParaRPr>
              </a:p>
            </p:txBody>
          </p:sp>
          <p:sp>
            <p:nvSpPr>
              <p:cNvPr id="1373" name="Google Shape;1373;p7"/>
              <p:cNvSpPr/>
              <p:nvPr/>
            </p:nvSpPr>
            <p:spPr>
              <a:xfrm>
                <a:off x="6886259" y="2110795"/>
                <a:ext cx="85786" cy="98653"/>
              </a:xfrm>
              <a:custGeom>
                <a:avLst/>
                <a:gdLst/>
                <a:ahLst/>
                <a:cxnLst/>
                <a:rect l="l" t="t" r="r" b="b"/>
                <a:pathLst>
                  <a:path w="85785" h="98652" extrusionOk="0">
                    <a:moveTo>
                      <a:pt x="82213" y="24629"/>
                    </a:moveTo>
                    <a:lnTo>
                      <a:pt x="52368" y="24629"/>
                    </a:lnTo>
                    <a:lnTo>
                      <a:pt x="52368" y="7506"/>
                    </a:lnTo>
                    <a:cubicBezTo>
                      <a:pt x="52368" y="3361"/>
                      <a:pt x="49007" y="0"/>
                      <a:pt x="44862" y="0"/>
                    </a:cubicBezTo>
                    <a:cubicBezTo>
                      <a:pt x="40716" y="0"/>
                      <a:pt x="37355" y="3361"/>
                      <a:pt x="37355" y="7506"/>
                    </a:cubicBezTo>
                    <a:lnTo>
                      <a:pt x="37355" y="24629"/>
                    </a:lnTo>
                    <a:lnTo>
                      <a:pt x="7506" y="24629"/>
                    </a:lnTo>
                    <a:cubicBezTo>
                      <a:pt x="3361" y="24629"/>
                      <a:pt x="0" y="27990"/>
                      <a:pt x="0" y="32135"/>
                    </a:cubicBezTo>
                    <a:cubicBezTo>
                      <a:pt x="0" y="36281"/>
                      <a:pt x="3361" y="39641"/>
                      <a:pt x="7506" y="39641"/>
                    </a:cubicBezTo>
                    <a:lnTo>
                      <a:pt x="17873" y="39641"/>
                    </a:lnTo>
                    <a:lnTo>
                      <a:pt x="17873" y="41027"/>
                    </a:lnTo>
                    <a:cubicBezTo>
                      <a:pt x="17867" y="52418"/>
                      <a:pt x="22457" y="63330"/>
                      <a:pt x="30604" y="71292"/>
                    </a:cubicBezTo>
                    <a:lnTo>
                      <a:pt x="4066" y="84974"/>
                    </a:lnTo>
                    <a:cubicBezTo>
                      <a:pt x="456" y="87016"/>
                      <a:pt x="-816" y="91599"/>
                      <a:pt x="1226" y="95209"/>
                    </a:cubicBezTo>
                    <a:cubicBezTo>
                      <a:pt x="3154" y="98618"/>
                      <a:pt x="7378" y="99973"/>
                      <a:pt x="10929" y="98322"/>
                    </a:cubicBezTo>
                    <a:lnTo>
                      <a:pt x="44845" y="80831"/>
                    </a:lnTo>
                    <a:lnTo>
                      <a:pt x="78756" y="98322"/>
                    </a:lnTo>
                    <a:cubicBezTo>
                      <a:pt x="82366" y="100365"/>
                      <a:pt x="86948" y="99093"/>
                      <a:pt x="88990" y="95483"/>
                    </a:cubicBezTo>
                    <a:cubicBezTo>
                      <a:pt x="91032" y="91872"/>
                      <a:pt x="89761" y="87290"/>
                      <a:pt x="86151" y="85248"/>
                    </a:cubicBezTo>
                    <a:cubicBezTo>
                      <a:pt x="85977" y="85150"/>
                      <a:pt x="85800" y="85058"/>
                      <a:pt x="85619" y="84974"/>
                    </a:cubicBezTo>
                    <a:lnTo>
                      <a:pt x="59085" y="71292"/>
                    </a:lnTo>
                    <a:cubicBezTo>
                      <a:pt x="67232" y="63329"/>
                      <a:pt x="71821" y="52415"/>
                      <a:pt x="71811" y="41022"/>
                    </a:cubicBezTo>
                    <a:lnTo>
                      <a:pt x="71811" y="39641"/>
                    </a:lnTo>
                    <a:lnTo>
                      <a:pt x="82179" y="39641"/>
                    </a:lnTo>
                    <a:cubicBezTo>
                      <a:pt x="86324" y="39641"/>
                      <a:pt x="89685" y="36281"/>
                      <a:pt x="89685" y="32135"/>
                    </a:cubicBezTo>
                    <a:cubicBezTo>
                      <a:pt x="89685" y="27990"/>
                      <a:pt x="86324" y="24629"/>
                      <a:pt x="82179" y="24629"/>
                    </a:cubicBezTo>
                    <a:close/>
                    <a:moveTo>
                      <a:pt x="56833" y="41022"/>
                    </a:moveTo>
                    <a:cubicBezTo>
                      <a:pt x="56848" y="50092"/>
                      <a:pt x="52363" y="58580"/>
                      <a:pt x="44862" y="63678"/>
                    </a:cubicBezTo>
                    <a:cubicBezTo>
                      <a:pt x="37360" y="58580"/>
                      <a:pt x="32874" y="50093"/>
                      <a:pt x="32886" y="41022"/>
                    </a:cubicBezTo>
                    <a:lnTo>
                      <a:pt x="32886" y="39641"/>
                    </a:lnTo>
                    <a:lnTo>
                      <a:pt x="56833" y="39641"/>
                    </a:ln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b="0"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Calibri"/>
                </a:endParaRPr>
              </a:p>
            </p:txBody>
          </p:sp>
          <p:sp>
            <p:nvSpPr>
              <p:cNvPr id="1374" name="Google Shape;1374;p7"/>
              <p:cNvSpPr/>
              <p:nvPr/>
            </p:nvSpPr>
            <p:spPr>
              <a:xfrm>
                <a:off x="6832510" y="2152864"/>
                <a:ext cx="42893" cy="12868"/>
              </a:xfrm>
              <a:custGeom>
                <a:avLst/>
                <a:gdLst/>
                <a:ahLst/>
                <a:cxnLst/>
                <a:rect l="l" t="t" r="r" b="b"/>
                <a:pathLst>
                  <a:path w="42892" h="12867" extrusionOk="0">
                    <a:moveTo>
                      <a:pt x="7506" y="15012"/>
                    </a:moveTo>
                    <a:lnTo>
                      <a:pt x="35653" y="15012"/>
                    </a:lnTo>
                    <a:cubicBezTo>
                      <a:pt x="39798" y="15012"/>
                      <a:pt x="43159" y="11652"/>
                      <a:pt x="43159" y="7506"/>
                    </a:cubicBezTo>
                    <a:cubicBezTo>
                      <a:pt x="43159" y="3361"/>
                      <a:pt x="39798" y="0"/>
                      <a:pt x="35653" y="0"/>
                    </a:cubicBezTo>
                    <a:lnTo>
                      <a:pt x="7506" y="0"/>
                    </a:lnTo>
                    <a:cubicBezTo>
                      <a:pt x="3361" y="0"/>
                      <a:pt x="0" y="3361"/>
                      <a:pt x="0" y="7506"/>
                    </a:cubicBezTo>
                    <a:cubicBezTo>
                      <a:pt x="0" y="11652"/>
                      <a:pt x="3361" y="15012"/>
                      <a:pt x="7506" y="15012"/>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b="0"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Calibri"/>
                </a:endParaRPr>
              </a:p>
            </p:txBody>
          </p:sp>
          <p:sp>
            <p:nvSpPr>
              <p:cNvPr id="1375" name="Google Shape;1375;p7"/>
              <p:cNvSpPr/>
              <p:nvPr/>
            </p:nvSpPr>
            <p:spPr>
              <a:xfrm>
                <a:off x="6732201" y="223786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b="0"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Calibri"/>
                </a:endParaRPr>
              </a:p>
            </p:txBody>
          </p:sp>
          <p:sp>
            <p:nvSpPr>
              <p:cNvPr id="1376" name="Google Shape;1376;p7"/>
              <p:cNvSpPr/>
              <p:nvPr/>
            </p:nvSpPr>
            <p:spPr>
              <a:xfrm>
                <a:off x="6756508" y="2288113"/>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b="0"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Calibri"/>
                </a:endParaRPr>
              </a:p>
            </p:txBody>
          </p:sp>
          <p:sp>
            <p:nvSpPr>
              <p:cNvPr id="1377" name="Google Shape;1377;p7"/>
              <p:cNvSpPr/>
              <p:nvPr/>
            </p:nvSpPr>
            <p:spPr>
              <a:xfrm>
                <a:off x="6732201" y="2338361"/>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b="0"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Calibri"/>
                </a:endParaRPr>
              </a:p>
            </p:txBody>
          </p:sp>
          <p:sp>
            <p:nvSpPr>
              <p:cNvPr id="1378" name="Google Shape;1378;p7"/>
              <p:cNvSpPr/>
              <p:nvPr/>
            </p:nvSpPr>
            <p:spPr>
              <a:xfrm>
                <a:off x="6756508" y="2388606"/>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b="0"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Calibri"/>
                </a:endParaRPr>
              </a:p>
            </p:txBody>
          </p:sp>
          <p:sp>
            <p:nvSpPr>
              <p:cNvPr id="1379" name="Google Shape;1379;p7"/>
              <p:cNvSpPr/>
              <p:nvPr/>
            </p:nvSpPr>
            <p:spPr>
              <a:xfrm>
                <a:off x="6732201" y="243885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b="0"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Calibri"/>
                </a:endParaRPr>
              </a:p>
            </p:txBody>
          </p:sp>
          <p:sp>
            <p:nvSpPr>
              <p:cNvPr id="1380" name="Google Shape;1380;p7"/>
              <p:cNvSpPr/>
              <p:nvPr/>
            </p:nvSpPr>
            <p:spPr>
              <a:xfrm>
                <a:off x="6756508" y="2491764"/>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b="0"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Calibri"/>
                </a:endParaRPr>
              </a:p>
            </p:txBody>
          </p:sp>
        </p:grpSp>
      </p:grpSp>
      <p:sp>
        <p:nvSpPr>
          <p:cNvPr id="1381" name="Google Shape;1381;p7"/>
          <p:cNvSpPr txBox="1"/>
          <p:nvPr/>
        </p:nvSpPr>
        <p:spPr>
          <a:xfrm>
            <a:off x="8535322" y="5679511"/>
            <a:ext cx="1399253" cy="861774"/>
          </a:xfrm>
          <a:prstGeom prst="rect">
            <a:avLst/>
          </a:prstGeom>
          <a:noFill/>
          <a:ln>
            <a:noFill/>
          </a:ln>
        </p:spPr>
        <p:txBody>
          <a:bodyPr spcFirstLastPara="1" wrap="square" lIns="0" tIns="0" rIns="0" bIns="0" anchor="t" anchorCtr="0">
            <a:spAutoFit/>
          </a:bodyPr>
          <a:lstStyle/>
          <a:p>
            <a:pPr marL="0" marR="0" lvl="1" indent="0" algn="l" rtl="0">
              <a:lnSpc>
                <a:spcPct val="100000"/>
              </a:lnSpc>
              <a:spcBef>
                <a:spcPts val="0"/>
              </a:spcBef>
              <a:spcAft>
                <a:spcPts val="0"/>
              </a:spcAft>
              <a:buClr>
                <a:srgbClr val="000000"/>
              </a:buClr>
              <a:buSzPts val="1400"/>
              <a:buFont typeface="Arial"/>
              <a:buNone/>
            </a:pPr>
            <a:r>
              <a:rPr lang="en-US"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Language services</a:t>
            </a:r>
            <a:endParaRPr b="0" i="0" u="none" strike="noStrike" cap="none" dirty="0">
              <a:solidFill>
                <a:srgbClr val="000000"/>
              </a:solidFill>
              <a:latin typeface="Calibri" panose="020F0502020204030204" pitchFamily="34" charset="0"/>
              <a:ea typeface="Calibri" panose="020F0502020204030204" pitchFamily="34" charset="0"/>
              <a:cs typeface="Calibri" panose="020F0502020204030204" pitchFamily="34" charset="0"/>
              <a:sym typeface="Arial"/>
            </a:endParaRPr>
          </a:p>
          <a:p>
            <a:pPr marL="285750" marR="0" lvl="1" indent="-285750" algn="l" rtl="0">
              <a:lnSpc>
                <a:spcPct val="100000"/>
              </a:lnSpc>
              <a:spcBef>
                <a:spcPts val="0"/>
              </a:spcBef>
              <a:spcAft>
                <a:spcPts val="0"/>
              </a:spcAft>
              <a:buClr>
                <a:schemeClr val="dk2"/>
              </a:buClr>
              <a:buSzPts val="1440"/>
              <a:buFont typeface="Arial"/>
              <a:buChar char="•"/>
            </a:pPr>
            <a:r>
              <a:rPr lang="en-US"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English</a:t>
            </a:r>
            <a:endParaRPr b="0" i="0" u="none" strike="noStrike" cap="none" dirty="0">
              <a:solidFill>
                <a:srgbClr val="000000"/>
              </a:solidFill>
              <a:latin typeface="Calibri" panose="020F0502020204030204" pitchFamily="34" charset="0"/>
              <a:ea typeface="Calibri" panose="020F0502020204030204" pitchFamily="34" charset="0"/>
              <a:cs typeface="Calibri" panose="020F0502020204030204" pitchFamily="34" charset="0"/>
              <a:sym typeface="Arial"/>
            </a:endParaRPr>
          </a:p>
          <a:p>
            <a:pPr marL="285750" marR="0" lvl="1" indent="-285750" algn="l" rtl="0">
              <a:lnSpc>
                <a:spcPct val="100000"/>
              </a:lnSpc>
              <a:spcBef>
                <a:spcPts val="0"/>
              </a:spcBef>
              <a:spcAft>
                <a:spcPts val="0"/>
              </a:spcAft>
              <a:buClr>
                <a:schemeClr val="dk2"/>
              </a:buClr>
              <a:buSzPts val="1440"/>
              <a:buFont typeface="Arial"/>
              <a:buChar char="•"/>
            </a:pPr>
            <a:r>
              <a:rPr lang="en-US"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Arabic</a:t>
            </a:r>
            <a:endParaRPr b="0" i="0" u="none" strike="noStrike" cap="none" dirty="0">
              <a:solidFill>
                <a:srgbClr val="000000"/>
              </a:solidFill>
              <a:latin typeface="Calibri" panose="020F0502020204030204" pitchFamily="34" charset="0"/>
              <a:ea typeface="Calibri" panose="020F0502020204030204" pitchFamily="34" charset="0"/>
              <a:cs typeface="Calibri" panose="020F0502020204030204" pitchFamily="34" charset="0"/>
              <a:sym typeface="Arial"/>
            </a:endParaRPr>
          </a:p>
          <a:p>
            <a:pPr marL="285750" marR="0" lvl="1" indent="-285750" algn="l" rtl="0">
              <a:lnSpc>
                <a:spcPct val="100000"/>
              </a:lnSpc>
              <a:spcBef>
                <a:spcPts val="0"/>
              </a:spcBef>
              <a:spcAft>
                <a:spcPts val="0"/>
              </a:spcAft>
              <a:buClr>
                <a:schemeClr val="dk2"/>
              </a:buClr>
              <a:buSzPts val="1440"/>
              <a:buFont typeface="Arial"/>
              <a:buChar char="•"/>
            </a:pPr>
            <a:r>
              <a:rPr lang="en-US"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French</a:t>
            </a:r>
            <a:endParaRPr b="0" i="0" u="none" strike="noStrike" cap="none" dirty="0">
              <a:solidFill>
                <a:srgbClr val="000000"/>
              </a:solidFill>
              <a:latin typeface="Calibri" panose="020F0502020204030204" pitchFamily="34" charset="0"/>
              <a:ea typeface="Calibri" panose="020F0502020204030204" pitchFamily="34" charset="0"/>
              <a:cs typeface="Calibri" panose="020F0502020204030204" pitchFamily="34" charset="0"/>
              <a:sym typeface="Arial"/>
            </a:endParaRPr>
          </a:p>
        </p:txBody>
      </p:sp>
      <p:cxnSp>
        <p:nvCxnSpPr>
          <p:cNvPr id="1382" name="Google Shape;1382;p7"/>
          <p:cNvCxnSpPr>
            <a:cxnSpLocks/>
          </p:cNvCxnSpPr>
          <p:nvPr/>
        </p:nvCxnSpPr>
        <p:spPr>
          <a:xfrm rot="10800000" flipH="1">
            <a:off x="4325592" y="5309508"/>
            <a:ext cx="2024400" cy="189600"/>
          </a:xfrm>
          <a:prstGeom prst="straightConnector1">
            <a:avLst/>
          </a:prstGeom>
          <a:noFill/>
          <a:ln w="9525" cap="flat" cmpd="sng">
            <a:solidFill>
              <a:srgbClr val="7F7F7F"/>
            </a:solidFill>
            <a:prstDash val="dash"/>
            <a:miter lim="800000"/>
            <a:headEnd type="none" w="sm" len="sm"/>
            <a:tailEnd type="none" w="sm" len="sm"/>
          </a:ln>
        </p:spPr>
      </p:cxnSp>
      <p:cxnSp>
        <p:nvCxnSpPr>
          <p:cNvPr id="1383" name="Google Shape;1383;p7"/>
          <p:cNvCxnSpPr/>
          <p:nvPr/>
        </p:nvCxnSpPr>
        <p:spPr>
          <a:xfrm>
            <a:off x="8942070" y="5309487"/>
            <a:ext cx="2238103" cy="211118"/>
          </a:xfrm>
          <a:prstGeom prst="straightConnector1">
            <a:avLst/>
          </a:prstGeom>
          <a:noFill/>
          <a:ln w="9525" cap="flat" cmpd="sng">
            <a:solidFill>
              <a:srgbClr val="7F7F7F"/>
            </a:solidFill>
            <a:prstDash val="dash"/>
            <a:miter lim="800000"/>
            <a:headEnd type="none" w="sm" len="sm"/>
            <a:tailEnd type="none" w="sm" len="sm"/>
          </a:ln>
        </p:spPr>
      </p:cxnSp>
      <p:sp>
        <p:nvSpPr>
          <p:cNvPr id="2" name="Google Shape;670;p139">
            <a:extLst>
              <a:ext uri="{FF2B5EF4-FFF2-40B4-BE49-F238E27FC236}">
                <a16:creationId xmlns:a16="http://schemas.microsoft.com/office/drawing/2014/main" id="{0A0D4402-3CC5-60AE-B207-2DD499BA4814}"/>
              </a:ext>
            </a:extLst>
          </p:cNvPr>
          <p:cNvSpPr txBox="1"/>
          <p:nvPr/>
        </p:nvSpPr>
        <p:spPr>
          <a:xfrm>
            <a:off x="10852559" y="248808"/>
            <a:ext cx="1416140" cy="1077218"/>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1" indent="0" algn="l">
              <a:lnSpc>
                <a:spcPct val="100000"/>
              </a:lnSpc>
              <a:spcBef>
                <a:spcPts val="0"/>
              </a:spcBef>
              <a:spcAft>
                <a:spcPts val="0"/>
              </a:spcAft>
              <a:buClr>
                <a:srgbClr val="000000"/>
              </a:buClr>
              <a:buSzPts val="1400"/>
              <a:buFont typeface="Arial"/>
              <a:buNone/>
            </a:pPr>
            <a:r>
              <a:rPr lang="en-US" sz="1400" b="0" i="0" u="none" strike="noStrike" cap="none" dirty="0">
                <a:solidFill>
                  <a:schemeClr val="tx1"/>
                </a:solidFill>
                <a:latin typeface="Calibri" panose="020F0502020204030204" pitchFamily="34" charset="0"/>
                <a:ea typeface="Calibri"/>
                <a:cs typeface="Calibri" panose="020F0502020204030204" pitchFamily="34" charset="0"/>
                <a:sym typeface="Calibri"/>
              </a:rPr>
              <a:t>Data analytics</a:t>
            </a:r>
            <a:endParaRPr sz="1400" b="0" i="0" u="none" strike="noStrike" cap="none" dirty="0">
              <a:solidFill>
                <a:schemeClr val="tx1"/>
              </a:solidFill>
              <a:latin typeface="Calibri" panose="020F0502020204030204" pitchFamily="34" charset="0"/>
              <a:cs typeface="Calibri" panose="020F0502020204030204" pitchFamily="34" charset="0"/>
              <a:sym typeface="Arial"/>
            </a:endParaRPr>
          </a:p>
          <a:p>
            <a:pPr marL="173038" lvl="1" indent="-173038">
              <a:buClr>
                <a:schemeClr val="dk2"/>
              </a:buClr>
              <a:buSzPts val="1440"/>
              <a:buFont typeface="Wingdings" panose="05000000000000000000" pitchFamily="2" charset="2"/>
              <a:buChar char="§"/>
            </a:pPr>
            <a:r>
              <a:rPr lang="en-US" dirty="0">
                <a:solidFill>
                  <a:schemeClr val="tx1"/>
                </a:solidFill>
                <a:latin typeface="Calibri" panose="020F0502020204030204" pitchFamily="34" charset="0"/>
                <a:cs typeface="Calibri" panose="020F0502020204030204" pitchFamily="34" charset="0"/>
                <a:sym typeface="Calibri"/>
              </a:rPr>
              <a:t>Data transformation</a:t>
            </a:r>
          </a:p>
          <a:p>
            <a:pPr marL="173038" lvl="1" indent="-173038">
              <a:buClr>
                <a:schemeClr val="dk2"/>
              </a:buClr>
              <a:buSzPts val="1440"/>
              <a:buFont typeface="Wingdings" panose="05000000000000000000" pitchFamily="2" charset="2"/>
              <a:buChar char="§"/>
            </a:pPr>
            <a:r>
              <a:rPr lang="en-US" dirty="0">
                <a:solidFill>
                  <a:schemeClr val="tx1"/>
                </a:solidFill>
                <a:latin typeface="Calibri" panose="020F0502020204030204" pitchFamily="34" charset="0"/>
                <a:cs typeface="Calibri" panose="020F0502020204030204" pitchFamily="34" charset="0"/>
                <a:sym typeface="Calibri"/>
              </a:rPr>
              <a:t>Data science</a:t>
            </a:r>
          </a:p>
          <a:p>
            <a:pPr marL="173038" lvl="1" indent="-173038">
              <a:buClr>
                <a:schemeClr val="dk2"/>
              </a:buClr>
              <a:buSzPts val="1440"/>
              <a:buFont typeface="Wingdings" panose="05000000000000000000" pitchFamily="2" charset="2"/>
              <a:buChar char="§"/>
            </a:pPr>
            <a:r>
              <a:rPr lang="en-US" dirty="0">
                <a:solidFill>
                  <a:schemeClr val="tx1"/>
                </a:solidFill>
                <a:latin typeface="Calibri" panose="020F0502020204030204" pitchFamily="34" charset="0"/>
                <a:cs typeface="Calibri" panose="020F0502020204030204" pitchFamily="34" charset="0"/>
                <a:sym typeface="Calibri"/>
              </a:rPr>
              <a:t>Dashboarding</a:t>
            </a:r>
            <a:endParaRPr lang="en-US" dirty="0">
              <a:solidFill>
                <a:schemeClr val="tx1"/>
              </a:solidFill>
              <a:latin typeface="Calibri" panose="020F0502020204030204" pitchFamily="34" charset="0"/>
              <a:cs typeface="Calibri" panose="020F0502020204030204" pitchFamily="34" charset="0"/>
            </a:endParaRPr>
          </a:p>
        </p:txBody>
      </p:sp>
      <p:sp>
        <p:nvSpPr>
          <p:cNvPr id="19" name="Google Shape;1381;p7">
            <a:extLst>
              <a:ext uri="{FF2B5EF4-FFF2-40B4-BE49-F238E27FC236}">
                <a16:creationId xmlns:a16="http://schemas.microsoft.com/office/drawing/2014/main" id="{879CA87E-BCD8-41D2-29ED-096C9DE72E3C}"/>
              </a:ext>
            </a:extLst>
          </p:cNvPr>
          <p:cNvSpPr txBox="1"/>
          <p:nvPr/>
        </p:nvSpPr>
        <p:spPr>
          <a:xfrm>
            <a:off x="10595282" y="5679511"/>
            <a:ext cx="1672918" cy="1077218"/>
          </a:xfrm>
          <a:prstGeom prst="rect">
            <a:avLst/>
          </a:prstGeom>
          <a:noFill/>
          <a:ln>
            <a:noFill/>
          </a:ln>
        </p:spPr>
        <p:txBody>
          <a:bodyPr spcFirstLastPara="1" wrap="square" lIns="0" tIns="0" rIns="0" bIns="0" anchor="t" anchorCtr="0">
            <a:spAutoFit/>
          </a:bodyPr>
          <a:lstStyle/>
          <a:p>
            <a:pPr marL="0" marR="0" lvl="1" indent="0" algn="l" rtl="0">
              <a:lnSpc>
                <a:spcPct val="100000"/>
              </a:lnSpc>
              <a:spcBef>
                <a:spcPts val="0"/>
              </a:spcBef>
              <a:spcAft>
                <a:spcPts val="0"/>
              </a:spcAft>
              <a:buClr>
                <a:srgbClr val="000000"/>
              </a:buClr>
              <a:buSzPts val="1400"/>
              <a:buFont typeface="Arial"/>
              <a:buNone/>
            </a:pPr>
            <a:r>
              <a:rPr lang="en-US"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Data analytics</a:t>
            </a:r>
            <a:endParaRPr b="0" i="0" u="none" strike="noStrike" cap="none" dirty="0">
              <a:solidFill>
                <a:srgbClr val="000000"/>
              </a:solidFill>
              <a:latin typeface="Calibri" panose="020F0502020204030204" pitchFamily="34" charset="0"/>
              <a:ea typeface="Calibri" panose="020F0502020204030204" pitchFamily="34" charset="0"/>
              <a:cs typeface="Calibri" panose="020F0502020204030204" pitchFamily="34" charset="0"/>
              <a:sym typeface="Arial"/>
            </a:endParaRPr>
          </a:p>
          <a:p>
            <a:pPr marL="285750" marR="0" lvl="1" indent="-285750" algn="l" rtl="0">
              <a:lnSpc>
                <a:spcPct val="100000"/>
              </a:lnSpc>
              <a:spcBef>
                <a:spcPts val="0"/>
              </a:spcBef>
              <a:spcAft>
                <a:spcPts val="0"/>
              </a:spcAft>
              <a:buClr>
                <a:schemeClr val="dk2"/>
              </a:buClr>
              <a:buSzPts val="1440"/>
              <a:buFont typeface="Arial"/>
              <a:buChar char="•"/>
            </a:pPr>
            <a:r>
              <a:rPr lang="en-US"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Data Visualization</a:t>
            </a:r>
            <a:endParaRPr b="0" i="0" u="none" strike="noStrike" cap="none" dirty="0">
              <a:solidFill>
                <a:srgbClr val="000000"/>
              </a:solidFill>
              <a:latin typeface="Calibri" panose="020F0502020204030204" pitchFamily="34" charset="0"/>
              <a:ea typeface="Calibri" panose="020F0502020204030204" pitchFamily="34" charset="0"/>
              <a:cs typeface="Calibri" panose="020F0502020204030204" pitchFamily="34" charset="0"/>
              <a:sym typeface="Arial"/>
            </a:endParaRPr>
          </a:p>
          <a:p>
            <a:pPr marL="285750" marR="0" lvl="1" indent="-285750" algn="l" rtl="0">
              <a:lnSpc>
                <a:spcPct val="100000"/>
              </a:lnSpc>
              <a:spcBef>
                <a:spcPts val="0"/>
              </a:spcBef>
              <a:spcAft>
                <a:spcPts val="0"/>
              </a:spcAft>
              <a:buClr>
                <a:schemeClr val="dk2"/>
              </a:buClr>
              <a:buSzPts val="1440"/>
              <a:buFont typeface="Arial"/>
              <a:buChar char="•"/>
            </a:pPr>
            <a:r>
              <a:rPr lang="en-US"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Data Transformation</a:t>
            </a:r>
            <a:endParaRPr b="0" i="0" u="none" strike="noStrike" cap="none" dirty="0">
              <a:solidFill>
                <a:srgbClr val="000000"/>
              </a:solidFill>
              <a:latin typeface="Calibri" panose="020F0502020204030204" pitchFamily="34" charset="0"/>
              <a:ea typeface="Calibri" panose="020F0502020204030204" pitchFamily="34" charset="0"/>
              <a:cs typeface="Calibri" panose="020F0502020204030204" pitchFamily="34" charset="0"/>
              <a:sym typeface="Arial"/>
            </a:endParaRPr>
          </a:p>
          <a:p>
            <a:pPr marL="285750" marR="0" lvl="1" indent="-285750" algn="l" rtl="0">
              <a:lnSpc>
                <a:spcPct val="100000"/>
              </a:lnSpc>
              <a:spcBef>
                <a:spcPts val="0"/>
              </a:spcBef>
              <a:spcAft>
                <a:spcPts val="0"/>
              </a:spcAft>
              <a:buClr>
                <a:schemeClr val="dk2"/>
              </a:buClr>
              <a:buSzPts val="1440"/>
              <a:buFont typeface="Arial"/>
              <a:buChar char="•"/>
            </a:pPr>
            <a:r>
              <a:rPr lang="en-US"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Data Science</a:t>
            </a:r>
            <a:endParaRPr b="0" i="0" u="none" strike="noStrike" cap="none" dirty="0">
              <a:solidFill>
                <a:srgbClr val="000000"/>
              </a:solidFill>
              <a:latin typeface="Calibri" panose="020F0502020204030204" pitchFamily="34" charset="0"/>
              <a:ea typeface="Calibri" panose="020F0502020204030204" pitchFamily="34" charset="0"/>
              <a:cs typeface="Calibri" panose="020F0502020204030204" pitchFamily="34" charset="0"/>
              <a:sym typeface="Arial"/>
            </a:endParaRPr>
          </a:p>
        </p:txBody>
      </p:sp>
      <p:grpSp>
        <p:nvGrpSpPr>
          <p:cNvPr id="21" name="Group 20">
            <a:extLst>
              <a:ext uri="{FF2B5EF4-FFF2-40B4-BE49-F238E27FC236}">
                <a16:creationId xmlns:a16="http://schemas.microsoft.com/office/drawing/2014/main" id="{458A454F-9D1C-EA21-7E43-41BBE557087E}"/>
              </a:ext>
            </a:extLst>
          </p:cNvPr>
          <p:cNvGrpSpPr/>
          <p:nvPr/>
        </p:nvGrpSpPr>
        <p:grpSpPr>
          <a:xfrm>
            <a:off x="9996259" y="5519669"/>
            <a:ext cx="548640" cy="548640"/>
            <a:chOff x="11560629" y="4808631"/>
            <a:chExt cx="548640" cy="548640"/>
          </a:xfrm>
        </p:grpSpPr>
        <p:sp>
          <p:nvSpPr>
            <p:cNvPr id="7" name="Google Shape;1369;p7">
              <a:extLst>
                <a:ext uri="{FF2B5EF4-FFF2-40B4-BE49-F238E27FC236}">
                  <a16:creationId xmlns:a16="http://schemas.microsoft.com/office/drawing/2014/main" id="{E4C10499-06E0-EB23-9C68-1CFBB1BCAC18}"/>
                </a:ext>
              </a:extLst>
            </p:cNvPr>
            <p:cNvSpPr/>
            <p:nvPr/>
          </p:nvSpPr>
          <p:spPr>
            <a:xfrm>
              <a:off x="11560629" y="4808631"/>
              <a:ext cx="548640" cy="548640"/>
            </a:xfrm>
            <a:prstGeom prst="ellipse">
              <a:avLst/>
            </a:prstGeom>
            <a:noFill/>
            <a:ln w="9525" cap="flat" cmpd="sng">
              <a:solidFill>
                <a:srgbClr val="00B0F0"/>
              </a:solidFill>
              <a:prstDash val="solid"/>
              <a:round/>
              <a:headEnd type="none" w="sm" len="sm"/>
              <a:tailEnd type="none" w="sm" len="sm"/>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b="0" i="0" u="none" strike="noStrike" cap="none">
                <a:solidFill>
                  <a:schemeClr val="lt1"/>
                </a:solidFill>
                <a:latin typeface="Calibri" panose="020F0502020204030204" pitchFamily="34" charset="0"/>
                <a:ea typeface="Calibri" panose="020F0502020204030204" pitchFamily="34" charset="0"/>
                <a:cs typeface="Calibri" panose="020F0502020204030204" pitchFamily="34" charset="0"/>
                <a:sym typeface="Calibri"/>
              </a:endParaRPr>
            </a:p>
          </p:txBody>
        </p:sp>
        <p:pic>
          <p:nvPicPr>
            <p:cNvPr id="20" name="Picture 19">
              <a:extLst>
                <a:ext uri="{FF2B5EF4-FFF2-40B4-BE49-F238E27FC236}">
                  <a16:creationId xmlns:a16="http://schemas.microsoft.com/office/drawing/2014/main" id="{147EC222-6AD9-C2C6-378D-E1D1471FF88F}"/>
                </a:ext>
              </a:extLst>
            </p:cNvPr>
            <p:cNvPicPr>
              <a:picLocks noChangeAspect="1"/>
            </p:cNvPicPr>
            <p:nvPr/>
          </p:nvPicPr>
          <p:blipFill>
            <a:blip r:embed="rId6">
              <a:alphaModFix/>
              <a:duotone>
                <a:schemeClr val="accent2">
                  <a:shade val="45000"/>
                  <a:satMod val="135000"/>
                </a:schemeClr>
                <a:prstClr val="white"/>
              </a:duotone>
            </a:blip>
            <a:stretch>
              <a:fillRect/>
            </a:stretch>
          </p:blipFill>
          <p:spPr>
            <a:xfrm>
              <a:off x="11658796" y="4906798"/>
              <a:ext cx="352305" cy="352305"/>
            </a:xfrm>
            <a:prstGeom prst="rect">
              <a:avLst/>
            </a:prstGeom>
            <a:noFill/>
            <a:ln>
              <a:noFill/>
            </a:ln>
          </p:spPr>
        </p:pic>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387"/>
        <p:cNvGrpSpPr/>
        <p:nvPr/>
      </p:nvGrpSpPr>
      <p:grpSpPr>
        <a:xfrm>
          <a:off x="0" y="0"/>
          <a:ext cx="0" cy="0"/>
          <a:chOff x="0" y="0"/>
          <a:chExt cx="0" cy="0"/>
        </a:xfrm>
      </p:grpSpPr>
      <p:sp>
        <p:nvSpPr>
          <p:cNvPr id="1388" name="Google Shape;1388;p74"/>
          <p:cNvSpPr txBox="1">
            <a:spLocks noGrp="1"/>
          </p:cNvSpPr>
          <p:nvPr>
            <p:ph type="title"/>
          </p:nvPr>
        </p:nvSpPr>
        <p:spPr>
          <a:xfrm>
            <a:off x="737591" y="4477767"/>
            <a:ext cx="8494899" cy="830997"/>
          </a:xfrm>
          <a:prstGeom prst="rect">
            <a:avLst/>
          </a:prstGeom>
          <a:noFill/>
          <a:ln>
            <a:noFill/>
          </a:ln>
          <a:effectLst>
            <a:outerShdw blurRad="190500" algn="tl" rotWithShape="0">
              <a:srgbClr val="000000">
                <a:alpha val="27843"/>
              </a:srgbClr>
            </a:outerShdw>
          </a:effectLst>
        </p:spPr>
        <p:txBody>
          <a:bodyPr spcFirstLastPara="1" wrap="square" lIns="0" tIns="0" rIns="0" bIns="0" anchor="ctr" anchorCtr="0">
            <a:spAutoFit/>
          </a:bodyPr>
          <a:lstStyle/>
          <a:p>
            <a:pPr marL="0" lvl="0" indent="0" algn="l" rtl="0">
              <a:lnSpc>
                <a:spcPct val="90000"/>
              </a:lnSpc>
              <a:spcBef>
                <a:spcPts val="0"/>
              </a:spcBef>
              <a:spcAft>
                <a:spcPts val="0"/>
              </a:spcAft>
              <a:buClr>
                <a:schemeClr val="lt1"/>
              </a:buClr>
              <a:buSzPts val="6000"/>
              <a:buFont typeface="Franklin Gothic"/>
              <a:buNone/>
            </a:pPr>
            <a:r>
              <a:rPr lang="en-US"/>
              <a:t>Data Research</a:t>
            </a:r>
            <a:endParaRPr/>
          </a:p>
        </p:txBody>
      </p:sp>
      <p:sp>
        <p:nvSpPr>
          <p:cNvPr id="1389" name="Google Shape;1389;p74"/>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lvl="0" indent="0" algn="r" rtl="0">
              <a:lnSpc>
                <a:spcPct val="90000"/>
              </a:lnSpc>
              <a:spcBef>
                <a:spcPts val="0"/>
              </a:spcBef>
              <a:spcAft>
                <a:spcPts val="0"/>
              </a:spcAft>
              <a:buSzPts val="1000"/>
              <a:buNone/>
            </a:pPr>
            <a:fld id="{00000000-1234-1234-1234-123412341234}" type="slidenum">
              <a:rPr lang="en-US"/>
              <a:t>8</a:t>
            </a:fld>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393"/>
        <p:cNvGrpSpPr/>
        <p:nvPr/>
      </p:nvGrpSpPr>
      <p:grpSpPr>
        <a:xfrm>
          <a:off x="0" y="0"/>
          <a:ext cx="0" cy="0"/>
          <a:chOff x="0" y="0"/>
          <a:chExt cx="0" cy="0"/>
        </a:xfrm>
      </p:grpSpPr>
      <p:sp>
        <p:nvSpPr>
          <p:cNvPr id="1394" name="Google Shape;1394;p8"/>
          <p:cNvSpPr txBox="1">
            <a:spLocks noGrp="1"/>
          </p:cNvSpPr>
          <p:nvPr>
            <p:ph type="title"/>
          </p:nvPr>
        </p:nvSpPr>
        <p:spPr>
          <a:xfrm>
            <a:off x="539400" y="562841"/>
            <a:ext cx="5205071" cy="837152"/>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Infomineo has a unique</a:t>
            </a:r>
            <a:br>
              <a:rPr lang="en-US"/>
            </a:br>
            <a:r>
              <a:rPr lang="en-US"/>
              <a:t>approach to Research</a:t>
            </a:r>
            <a:endParaRPr/>
          </a:p>
        </p:txBody>
      </p:sp>
      <p:sp>
        <p:nvSpPr>
          <p:cNvPr id="1395" name="Google Shape;1395;p8"/>
          <p:cNvSpPr txBox="1"/>
          <p:nvPr/>
        </p:nvSpPr>
        <p:spPr>
          <a:xfrm>
            <a:off x="550863" y="2343394"/>
            <a:ext cx="5193608" cy="4185761"/>
          </a:xfrm>
          <a:prstGeom prst="rect">
            <a:avLst/>
          </a:prstGeom>
          <a:noFill/>
          <a:ln>
            <a:noFill/>
          </a:ln>
        </p:spPr>
        <p:txBody>
          <a:bodyPr spcFirstLastPara="1" wrap="square" lIns="0" tIns="0" rIns="0" bIns="0" anchor="t" anchorCtr="0">
            <a:spAutoFit/>
          </a:bodyPr>
          <a:lstStyle/>
          <a:p>
            <a:pPr marL="176213" marR="0" lvl="1" indent="-176213" algn="l" rtl="0">
              <a:lnSpc>
                <a:spcPct val="100000"/>
              </a:lnSpc>
              <a:spcBef>
                <a:spcPts val="0"/>
              </a:spcBef>
              <a:spcAft>
                <a:spcPts val="0"/>
              </a:spcAft>
              <a:buClr>
                <a:schemeClr val="dk2"/>
              </a:buClr>
              <a:buSzPts val="1440"/>
              <a:buFont typeface="Noto Sans Symbols"/>
              <a:buChar char="▪"/>
            </a:pPr>
            <a:r>
              <a:rPr lang="en-US" sz="1600" b="0" i="0" u="none" strike="noStrike" cap="none" dirty="0">
                <a:solidFill>
                  <a:schemeClr val="dk1"/>
                </a:solidFill>
                <a:latin typeface="Calibri"/>
                <a:ea typeface="Calibri"/>
                <a:cs typeface="Calibri"/>
                <a:sym typeface="Calibri"/>
              </a:rPr>
              <a:t>Researchers see themselves as “data gatherers”, they are experts are </a:t>
            </a:r>
            <a:r>
              <a:rPr lang="en-US" sz="1600" b="1" i="0" u="none" strike="noStrike" cap="none" dirty="0">
                <a:solidFill>
                  <a:schemeClr val="dk1"/>
                </a:solidFill>
                <a:latin typeface="Calibri"/>
                <a:ea typeface="Calibri"/>
                <a:cs typeface="Calibri"/>
                <a:sym typeface="Calibri"/>
              </a:rPr>
              <a:t>finding</a:t>
            </a:r>
            <a:r>
              <a:rPr lang="en-US" sz="1600" b="0" i="0" u="none" strike="noStrike" cap="none" dirty="0">
                <a:solidFill>
                  <a:schemeClr val="dk1"/>
                </a:solidFill>
                <a:latin typeface="Calibri"/>
                <a:ea typeface="Calibri"/>
                <a:cs typeface="Calibri"/>
                <a:sym typeface="Calibri"/>
              </a:rPr>
              <a:t> data</a:t>
            </a:r>
            <a:br>
              <a:rPr lang="en-US" sz="1600" b="0" i="0" u="none" strike="noStrike" cap="none" dirty="0">
                <a:solidFill>
                  <a:schemeClr val="dk1"/>
                </a:solidFill>
                <a:latin typeface="Calibri"/>
                <a:ea typeface="Calibri"/>
                <a:cs typeface="Calibri"/>
                <a:sym typeface="Calibri"/>
              </a:rPr>
            </a:br>
            <a:endParaRPr sz="1600" b="0" i="0" u="none" strike="noStrike" cap="none" dirty="0">
              <a:solidFill>
                <a:schemeClr val="dk1"/>
              </a:solidFill>
              <a:latin typeface="Calibri"/>
              <a:ea typeface="Calibri"/>
              <a:cs typeface="Calibri"/>
              <a:sym typeface="Calibri"/>
            </a:endParaRPr>
          </a:p>
          <a:p>
            <a:pPr marL="176213" marR="0" lvl="1" indent="-84773" algn="l" rtl="0">
              <a:lnSpc>
                <a:spcPct val="100000"/>
              </a:lnSpc>
              <a:spcBef>
                <a:spcPts val="0"/>
              </a:spcBef>
              <a:spcAft>
                <a:spcPts val="0"/>
              </a:spcAft>
              <a:buClr>
                <a:schemeClr val="dk2"/>
              </a:buClr>
              <a:buSzPts val="1440"/>
              <a:buFont typeface="Noto Sans Symbols"/>
              <a:buNone/>
            </a:pPr>
            <a:endParaRPr sz="1600" b="0" i="0" u="none" strike="noStrike" cap="none" dirty="0">
              <a:solidFill>
                <a:schemeClr val="dk1"/>
              </a:solidFill>
              <a:latin typeface="Calibri"/>
              <a:ea typeface="Calibri"/>
              <a:cs typeface="Calibri"/>
              <a:sym typeface="Calibri"/>
            </a:endParaRPr>
          </a:p>
          <a:p>
            <a:pPr marL="176213" marR="0" lvl="1" indent="-176213" algn="l" rtl="0">
              <a:lnSpc>
                <a:spcPct val="100000"/>
              </a:lnSpc>
              <a:spcBef>
                <a:spcPts val="0"/>
              </a:spcBef>
              <a:spcAft>
                <a:spcPts val="0"/>
              </a:spcAft>
              <a:buClr>
                <a:schemeClr val="dk2"/>
              </a:buClr>
              <a:buSzPts val="1440"/>
              <a:buFont typeface="Noto Sans Symbols"/>
              <a:buChar char="▪"/>
            </a:pPr>
            <a:r>
              <a:rPr lang="en-US" sz="1600" b="0" i="0" u="none" strike="noStrike" cap="none" dirty="0">
                <a:solidFill>
                  <a:schemeClr val="dk1"/>
                </a:solidFill>
                <a:latin typeface="Calibri"/>
                <a:ea typeface="Calibri"/>
                <a:cs typeface="Calibri"/>
                <a:sym typeface="Calibri"/>
              </a:rPr>
              <a:t>Most research providers focus on </a:t>
            </a:r>
            <a:r>
              <a:rPr lang="en-US" sz="1600" b="1" i="0" u="none" strike="noStrike" cap="none" dirty="0">
                <a:solidFill>
                  <a:schemeClr val="dk1"/>
                </a:solidFill>
                <a:latin typeface="Calibri"/>
                <a:ea typeface="Calibri"/>
                <a:cs typeface="Calibri"/>
                <a:sym typeface="Calibri"/>
              </a:rPr>
              <a:t>one approach </a:t>
            </a:r>
            <a:r>
              <a:rPr lang="en-US" sz="1600" b="0" i="0" u="none" strike="noStrike" cap="none" dirty="0">
                <a:solidFill>
                  <a:schemeClr val="dk1"/>
                </a:solidFill>
                <a:latin typeface="Calibri"/>
                <a:ea typeface="Calibri"/>
                <a:cs typeface="Calibri"/>
                <a:sym typeface="Calibri"/>
              </a:rPr>
              <a:t>– Expert interviews, market research, macro economic research...</a:t>
            </a:r>
            <a:br>
              <a:rPr lang="en-US" sz="1600" b="0" i="0" u="none" strike="noStrike" cap="none" dirty="0">
                <a:solidFill>
                  <a:schemeClr val="dk1"/>
                </a:solidFill>
                <a:latin typeface="Calibri"/>
                <a:ea typeface="Calibri"/>
                <a:cs typeface="Calibri"/>
                <a:sym typeface="Calibri"/>
              </a:rPr>
            </a:br>
            <a:br>
              <a:rPr lang="en-US" sz="1600" b="0" i="0" u="none" strike="noStrike" cap="none" dirty="0">
                <a:solidFill>
                  <a:schemeClr val="dk1"/>
                </a:solidFill>
                <a:latin typeface="Calibri"/>
                <a:ea typeface="Calibri"/>
                <a:cs typeface="Calibri"/>
                <a:sym typeface="Calibri"/>
              </a:rPr>
            </a:br>
            <a:endParaRPr sz="1600" b="0" i="0" u="none" strike="noStrike" cap="none" dirty="0">
              <a:solidFill>
                <a:schemeClr val="dk1"/>
              </a:solidFill>
              <a:latin typeface="Calibri"/>
              <a:ea typeface="Calibri"/>
              <a:cs typeface="Calibri"/>
              <a:sym typeface="Calibri"/>
            </a:endParaRPr>
          </a:p>
          <a:p>
            <a:pPr marL="176213" marR="0" lvl="1" indent="-84773" algn="l" rtl="0">
              <a:lnSpc>
                <a:spcPct val="100000"/>
              </a:lnSpc>
              <a:spcBef>
                <a:spcPts val="0"/>
              </a:spcBef>
              <a:spcAft>
                <a:spcPts val="0"/>
              </a:spcAft>
              <a:buClr>
                <a:schemeClr val="dk2"/>
              </a:buClr>
              <a:buSzPts val="1440"/>
              <a:buFont typeface="Noto Sans Symbols"/>
              <a:buNone/>
            </a:pPr>
            <a:endParaRPr sz="1600" b="0" i="0" u="none" strike="noStrike" cap="none" dirty="0">
              <a:solidFill>
                <a:schemeClr val="dk1"/>
              </a:solidFill>
              <a:latin typeface="Calibri"/>
              <a:ea typeface="Calibri"/>
              <a:cs typeface="Calibri"/>
              <a:sym typeface="Calibri"/>
            </a:endParaRPr>
          </a:p>
          <a:p>
            <a:pPr marL="176213" marR="0" lvl="1" indent="-176213" algn="l" rtl="0">
              <a:lnSpc>
                <a:spcPct val="100000"/>
              </a:lnSpc>
              <a:spcBef>
                <a:spcPts val="0"/>
              </a:spcBef>
              <a:spcAft>
                <a:spcPts val="0"/>
              </a:spcAft>
              <a:buClr>
                <a:schemeClr val="dk2"/>
              </a:buClr>
              <a:buSzPts val="1440"/>
              <a:buFont typeface="Noto Sans Symbols"/>
              <a:buChar char="▪"/>
            </a:pPr>
            <a:r>
              <a:rPr lang="en-US" sz="1600" b="0" i="0" u="none" strike="noStrike" cap="none" dirty="0">
                <a:solidFill>
                  <a:schemeClr val="dk1"/>
                </a:solidFill>
                <a:latin typeface="Calibri"/>
                <a:ea typeface="Calibri"/>
                <a:cs typeface="Calibri"/>
                <a:sym typeface="Calibri"/>
              </a:rPr>
              <a:t>Most providers work on a </a:t>
            </a:r>
            <a:r>
              <a:rPr lang="en-US" sz="1600" b="1" i="0" u="none" strike="noStrike" cap="none" dirty="0">
                <a:solidFill>
                  <a:schemeClr val="dk1"/>
                </a:solidFill>
                <a:latin typeface="Calibri"/>
                <a:ea typeface="Calibri"/>
                <a:cs typeface="Calibri"/>
                <a:sym typeface="Calibri"/>
              </a:rPr>
              <a:t>project basis </a:t>
            </a:r>
            <a:r>
              <a:rPr lang="en-US" sz="1600" b="0" i="0" u="none" strike="noStrike" cap="none" dirty="0">
                <a:solidFill>
                  <a:schemeClr val="dk1"/>
                </a:solidFill>
                <a:latin typeface="Calibri"/>
                <a:ea typeface="Calibri"/>
                <a:cs typeface="Calibri"/>
                <a:sym typeface="Calibri"/>
              </a:rPr>
              <a:t>– With a heavy </a:t>
            </a:r>
            <a:r>
              <a:rPr lang="en-US" sz="1600" b="0" i="0" u="none" strike="noStrike" cap="none" dirty="0" err="1">
                <a:solidFill>
                  <a:schemeClr val="dk1"/>
                </a:solidFill>
                <a:latin typeface="Calibri"/>
                <a:ea typeface="Calibri"/>
                <a:cs typeface="Calibri"/>
                <a:sym typeface="Calibri"/>
              </a:rPr>
              <a:t>RfP</a:t>
            </a:r>
            <a:r>
              <a:rPr lang="en-US" sz="1600" b="0" i="0" u="none" strike="noStrike" cap="none" dirty="0">
                <a:solidFill>
                  <a:schemeClr val="dk1"/>
                </a:solidFill>
                <a:latin typeface="Calibri"/>
                <a:ea typeface="Calibri"/>
                <a:cs typeface="Calibri"/>
                <a:sym typeface="Calibri"/>
              </a:rPr>
              <a:t> to contracting process and with the need to have a 100% defined upfront requirement</a:t>
            </a:r>
            <a:endParaRPr sz="1400" b="0" i="0" u="none" strike="noStrike" cap="none" dirty="0">
              <a:solidFill>
                <a:srgbClr val="000000"/>
              </a:solidFill>
              <a:latin typeface="Arial"/>
              <a:ea typeface="Arial"/>
              <a:cs typeface="Arial"/>
              <a:sym typeface="Arial"/>
            </a:endParaRPr>
          </a:p>
          <a:p>
            <a:pPr marL="176213" marR="0" lvl="1" indent="-84773" algn="l" rtl="0">
              <a:lnSpc>
                <a:spcPct val="100000"/>
              </a:lnSpc>
              <a:spcBef>
                <a:spcPts val="0"/>
              </a:spcBef>
              <a:spcAft>
                <a:spcPts val="0"/>
              </a:spcAft>
              <a:buClr>
                <a:schemeClr val="dk2"/>
              </a:buClr>
              <a:buSzPts val="1440"/>
              <a:buFont typeface="Noto Sans Symbols"/>
              <a:buNone/>
            </a:pPr>
            <a:endParaRPr sz="1600" b="0" i="0" u="none" strike="noStrike" cap="none" dirty="0">
              <a:solidFill>
                <a:schemeClr val="dk1"/>
              </a:solidFill>
              <a:latin typeface="Calibri"/>
              <a:ea typeface="Calibri"/>
              <a:cs typeface="Calibri"/>
              <a:sym typeface="Calibri"/>
            </a:endParaRPr>
          </a:p>
          <a:p>
            <a:pPr marL="176213" marR="0" lvl="1" indent="-84773" algn="l" rtl="0">
              <a:lnSpc>
                <a:spcPct val="100000"/>
              </a:lnSpc>
              <a:spcBef>
                <a:spcPts val="0"/>
              </a:spcBef>
              <a:spcAft>
                <a:spcPts val="0"/>
              </a:spcAft>
              <a:buClr>
                <a:schemeClr val="dk2"/>
              </a:buClr>
              <a:buSzPts val="1440"/>
              <a:buFont typeface="Noto Sans Symbols"/>
              <a:buNone/>
            </a:pPr>
            <a:endParaRPr sz="1600" b="0" i="0" u="none" strike="noStrike" cap="none" dirty="0">
              <a:solidFill>
                <a:schemeClr val="dk1"/>
              </a:solidFill>
              <a:latin typeface="Calibri"/>
              <a:ea typeface="Calibri"/>
              <a:cs typeface="Calibri"/>
              <a:sym typeface="Calibri"/>
            </a:endParaRPr>
          </a:p>
          <a:p>
            <a:pPr marL="176213" marR="0" lvl="1" indent="-176213" algn="l" rtl="0">
              <a:lnSpc>
                <a:spcPct val="100000"/>
              </a:lnSpc>
              <a:spcBef>
                <a:spcPts val="0"/>
              </a:spcBef>
              <a:spcAft>
                <a:spcPts val="0"/>
              </a:spcAft>
              <a:buClr>
                <a:schemeClr val="dk2"/>
              </a:buClr>
              <a:buSzPts val="1440"/>
              <a:buFont typeface="Noto Sans Symbols"/>
              <a:buChar char="▪"/>
            </a:pPr>
            <a:r>
              <a:rPr lang="en-US" sz="1600" b="0" i="0" u="none" strike="noStrike" cap="none" dirty="0">
                <a:solidFill>
                  <a:schemeClr val="dk1"/>
                </a:solidFill>
                <a:latin typeface="Calibri"/>
                <a:ea typeface="Calibri"/>
                <a:cs typeface="Calibri"/>
                <a:sym typeface="Calibri"/>
              </a:rPr>
              <a:t>The providers retain rights on the Intellectual property they generate</a:t>
            </a:r>
            <a:br>
              <a:rPr lang="en-US" sz="1600" b="0" i="0" u="none" strike="noStrike" cap="none" dirty="0">
                <a:solidFill>
                  <a:schemeClr val="dk1"/>
                </a:solidFill>
                <a:latin typeface="Calibri"/>
                <a:ea typeface="Calibri"/>
                <a:cs typeface="Calibri"/>
                <a:sym typeface="Calibri"/>
              </a:rPr>
            </a:br>
            <a:endParaRPr sz="1600" b="0" i="0" u="none" strike="noStrike" cap="none" dirty="0">
              <a:solidFill>
                <a:schemeClr val="dk1"/>
              </a:solidFill>
              <a:latin typeface="Calibri"/>
              <a:ea typeface="Calibri"/>
              <a:cs typeface="Calibri"/>
              <a:sym typeface="Calibri"/>
            </a:endParaRPr>
          </a:p>
        </p:txBody>
      </p:sp>
      <p:sp>
        <p:nvSpPr>
          <p:cNvPr id="1396" name="Google Shape;1396;p8"/>
          <p:cNvSpPr txBox="1"/>
          <p:nvPr/>
        </p:nvSpPr>
        <p:spPr>
          <a:xfrm>
            <a:off x="550863" y="1857375"/>
            <a:ext cx="5193608" cy="292388"/>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2000"/>
              <a:buFont typeface="Arial"/>
              <a:buNone/>
            </a:pPr>
            <a:r>
              <a:rPr lang="en-US" sz="2000" b="0" i="0" u="none" strike="noStrike" cap="none">
                <a:solidFill>
                  <a:schemeClr val="accent1"/>
                </a:solidFill>
                <a:latin typeface="Lato Black"/>
                <a:ea typeface="Lato Black"/>
                <a:cs typeface="Lato Black"/>
                <a:sym typeface="Lato Black"/>
              </a:rPr>
              <a:t>Traditional model</a:t>
            </a:r>
            <a:endParaRPr sz="1400" b="0" i="0" u="none" strike="noStrike" cap="none">
              <a:solidFill>
                <a:srgbClr val="000000"/>
              </a:solidFill>
              <a:latin typeface="Arial"/>
              <a:ea typeface="Arial"/>
              <a:cs typeface="Arial"/>
              <a:sym typeface="Arial"/>
            </a:endParaRPr>
          </a:p>
        </p:txBody>
      </p:sp>
      <p:sp>
        <p:nvSpPr>
          <p:cNvPr id="1397" name="Google Shape;1397;p8"/>
          <p:cNvSpPr txBox="1"/>
          <p:nvPr/>
        </p:nvSpPr>
        <p:spPr>
          <a:xfrm>
            <a:off x="6447529" y="2343394"/>
            <a:ext cx="5193608" cy="3939540"/>
          </a:xfrm>
          <a:prstGeom prst="rect">
            <a:avLst/>
          </a:prstGeom>
          <a:noFill/>
          <a:ln>
            <a:noFill/>
          </a:ln>
        </p:spPr>
        <p:txBody>
          <a:bodyPr spcFirstLastPara="1" wrap="square" lIns="0" tIns="0" rIns="0" bIns="0" anchor="t" anchorCtr="0">
            <a:spAutoFit/>
          </a:bodyPr>
          <a:lstStyle/>
          <a:p>
            <a:pPr marL="176213" marR="0" lvl="1" indent="-176213" algn="l" rtl="0">
              <a:lnSpc>
                <a:spcPct val="100000"/>
              </a:lnSpc>
              <a:spcBef>
                <a:spcPts val="0"/>
              </a:spcBef>
              <a:spcAft>
                <a:spcPts val="0"/>
              </a:spcAft>
              <a:buClr>
                <a:schemeClr val="accent1"/>
              </a:buClr>
              <a:buSzPts val="1440"/>
              <a:buFont typeface="Noto Sans Symbols"/>
              <a:buChar char="▪"/>
            </a:pPr>
            <a:r>
              <a:rPr lang="en-US" sz="1600" b="0" i="0" u="none" strike="noStrike" cap="none">
                <a:solidFill>
                  <a:schemeClr val="lt1"/>
                </a:solidFill>
                <a:latin typeface="Calibri"/>
                <a:ea typeface="Calibri"/>
                <a:cs typeface="Calibri"/>
                <a:sym typeface="Calibri"/>
              </a:rPr>
              <a:t>We are </a:t>
            </a:r>
            <a:r>
              <a:rPr lang="en-US" sz="1600" b="1" i="0" u="none" strike="noStrike" cap="none">
                <a:solidFill>
                  <a:schemeClr val="lt1"/>
                </a:solidFill>
                <a:latin typeface="Calibri"/>
                <a:ea typeface="Calibri"/>
                <a:cs typeface="Calibri"/>
                <a:sym typeface="Calibri"/>
              </a:rPr>
              <a:t>problem solvers</a:t>
            </a:r>
            <a:r>
              <a:rPr lang="en-US" sz="1600" b="0" i="0" u="none" strike="noStrike" cap="none">
                <a:solidFill>
                  <a:schemeClr val="lt1"/>
                </a:solidFill>
                <a:latin typeface="Calibri"/>
                <a:ea typeface="Calibri"/>
                <a:cs typeface="Calibri"/>
                <a:sym typeface="Calibri"/>
              </a:rPr>
              <a:t>, we need to understand your question or challenge and will find the data which answers your question – What matters is the insight, not the data</a:t>
            </a:r>
            <a:endParaRPr sz="1400" b="0" i="0" u="none" strike="noStrike" cap="none">
              <a:solidFill>
                <a:srgbClr val="000000"/>
              </a:solidFill>
              <a:latin typeface="Arial"/>
              <a:ea typeface="Arial"/>
              <a:cs typeface="Arial"/>
              <a:sym typeface="Arial"/>
            </a:endParaRPr>
          </a:p>
          <a:p>
            <a:pPr marL="176213" marR="0" lvl="1" indent="-84773" algn="l" rtl="0">
              <a:lnSpc>
                <a:spcPct val="100000"/>
              </a:lnSpc>
              <a:spcBef>
                <a:spcPts val="0"/>
              </a:spcBef>
              <a:spcAft>
                <a:spcPts val="0"/>
              </a:spcAft>
              <a:buClr>
                <a:schemeClr val="accent1"/>
              </a:buClr>
              <a:buSzPts val="1440"/>
              <a:buFont typeface="Noto Sans Symbols"/>
              <a:buNone/>
            </a:pPr>
            <a:endParaRPr sz="1600" b="0" i="0" u="none" strike="noStrike" cap="none">
              <a:solidFill>
                <a:schemeClr val="lt1"/>
              </a:solidFill>
              <a:latin typeface="Calibri"/>
              <a:ea typeface="Calibri"/>
              <a:cs typeface="Calibri"/>
              <a:sym typeface="Calibri"/>
            </a:endParaRPr>
          </a:p>
          <a:p>
            <a:pPr marL="176213" marR="0" lvl="1" indent="-176213" algn="l" rtl="0">
              <a:lnSpc>
                <a:spcPct val="100000"/>
              </a:lnSpc>
              <a:spcBef>
                <a:spcPts val="0"/>
              </a:spcBef>
              <a:spcAft>
                <a:spcPts val="0"/>
              </a:spcAft>
              <a:buClr>
                <a:schemeClr val="accent1"/>
              </a:buClr>
              <a:buSzPts val="1440"/>
              <a:buFont typeface="Noto Sans Symbols"/>
              <a:buChar char="▪"/>
            </a:pPr>
            <a:r>
              <a:rPr lang="en-US" sz="1600" b="0" i="0" u="none" strike="noStrike" cap="none">
                <a:solidFill>
                  <a:schemeClr val="lt1"/>
                </a:solidFill>
                <a:latin typeface="Calibri"/>
                <a:ea typeface="Calibri"/>
                <a:cs typeface="Calibri"/>
                <a:sym typeface="Calibri"/>
              </a:rPr>
              <a:t>We are a </a:t>
            </a:r>
            <a:r>
              <a:rPr lang="en-US" sz="1600" b="1" i="0" u="none" strike="noStrike" cap="none">
                <a:solidFill>
                  <a:schemeClr val="lt1"/>
                </a:solidFill>
                <a:latin typeface="Calibri"/>
                <a:ea typeface="Calibri"/>
                <a:cs typeface="Calibri"/>
                <a:sym typeface="Calibri"/>
              </a:rPr>
              <a:t>one stop shop</a:t>
            </a:r>
            <a:r>
              <a:rPr lang="en-US" sz="1600" b="0" i="0" u="none" strike="noStrike" cap="none">
                <a:solidFill>
                  <a:schemeClr val="lt1"/>
                </a:solidFill>
                <a:latin typeface="Calibri"/>
                <a:ea typeface="Calibri"/>
                <a:cs typeface="Calibri"/>
                <a:sym typeface="Calibri"/>
              </a:rPr>
              <a:t>, we will advise you reg. the best research methodology in our complete portfolio of approaches – In most cases we will triangulate different approaches</a:t>
            </a:r>
            <a:endParaRPr sz="1400" b="0" i="0" u="none" strike="noStrike" cap="none">
              <a:solidFill>
                <a:srgbClr val="000000"/>
              </a:solidFill>
              <a:latin typeface="Arial"/>
              <a:ea typeface="Arial"/>
              <a:cs typeface="Arial"/>
              <a:sym typeface="Arial"/>
            </a:endParaRPr>
          </a:p>
          <a:p>
            <a:pPr marL="176213" marR="0" lvl="1" indent="-84773" algn="l" rtl="0">
              <a:lnSpc>
                <a:spcPct val="100000"/>
              </a:lnSpc>
              <a:spcBef>
                <a:spcPts val="0"/>
              </a:spcBef>
              <a:spcAft>
                <a:spcPts val="0"/>
              </a:spcAft>
              <a:buClr>
                <a:schemeClr val="accent1"/>
              </a:buClr>
              <a:buSzPts val="1440"/>
              <a:buFont typeface="Noto Sans Symbols"/>
              <a:buNone/>
            </a:pPr>
            <a:endParaRPr sz="1600" b="0" i="0" u="none" strike="noStrike" cap="none">
              <a:solidFill>
                <a:schemeClr val="lt1"/>
              </a:solidFill>
              <a:latin typeface="Calibri"/>
              <a:ea typeface="Calibri"/>
              <a:cs typeface="Calibri"/>
              <a:sym typeface="Calibri"/>
            </a:endParaRPr>
          </a:p>
          <a:p>
            <a:pPr marL="176213" marR="0" lvl="1" indent="-176213" algn="l" rtl="0">
              <a:lnSpc>
                <a:spcPct val="100000"/>
              </a:lnSpc>
              <a:spcBef>
                <a:spcPts val="0"/>
              </a:spcBef>
              <a:spcAft>
                <a:spcPts val="0"/>
              </a:spcAft>
              <a:buClr>
                <a:schemeClr val="accent1"/>
              </a:buClr>
              <a:buSzPts val="1440"/>
              <a:buFont typeface="Noto Sans Symbols"/>
              <a:buChar char="▪"/>
            </a:pPr>
            <a:r>
              <a:rPr lang="en-US" sz="1600" b="0" i="0" u="none" strike="noStrike" cap="none">
                <a:solidFill>
                  <a:schemeClr val="lt1"/>
                </a:solidFill>
                <a:latin typeface="Calibri"/>
                <a:ea typeface="Calibri"/>
                <a:cs typeface="Calibri"/>
                <a:sym typeface="Calibri"/>
              </a:rPr>
              <a:t>We work on a </a:t>
            </a:r>
            <a:r>
              <a:rPr lang="en-US" sz="1600" b="1" i="0" u="none" strike="noStrike" cap="none">
                <a:solidFill>
                  <a:schemeClr val="lt1"/>
                </a:solidFill>
                <a:latin typeface="Calibri"/>
                <a:ea typeface="Calibri"/>
                <a:cs typeface="Calibri"/>
                <a:sym typeface="Calibri"/>
              </a:rPr>
              <a:t>retainer basis</a:t>
            </a:r>
            <a:r>
              <a:rPr lang="en-US" sz="1600" b="0" i="0" u="none" strike="noStrike" cap="none">
                <a:solidFill>
                  <a:schemeClr val="lt1"/>
                </a:solidFill>
                <a:latin typeface="Calibri"/>
                <a:ea typeface="Calibri"/>
                <a:cs typeface="Calibri"/>
                <a:sym typeface="Calibri"/>
              </a:rPr>
              <a:t>, we are an extension of your team, and make it easy to work with us, which 1/minimizes the time you spend on paperwork and 2/allows you to work with us on an iterative basis</a:t>
            </a:r>
            <a:endParaRPr sz="1400" b="0" i="0" u="none" strike="noStrike" cap="none">
              <a:solidFill>
                <a:srgbClr val="000000"/>
              </a:solidFill>
              <a:latin typeface="Arial"/>
              <a:ea typeface="Arial"/>
              <a:cs typeface="Arial"/>
              <a:sym typeface="Arial"/>
            </a:endParaRPr>
          </a:p>
          <a:p>
            <a:pPr marL="176213" marR="0" lvl="1" indent="-84773" algn="l" rtl="0">
              <a:lnSpc>
                <a:spcPct val="100000"/>
              </a:lnSpc>
              <a:spcBef>
                <a:spcPts val="0"/>
              </a:spcBef>
              <a:spcAft>
                <a:spcPts val="0"/>
              </a:spcAft>
              <a:buClr>
                <a:schemeClr val="accent1"/>
              </a:buClr>
              <a:buSzPts val="1440"/>
              <a:buFont typeface="Noto Sans Symbols"/>
              <a:buNone/>
            </a:pPr>
            <a:endParaRPr sz="1600" b="0" i="0" u="none" strike="noStrike" cap="none">
              <a:solidFill>
                <a:schemeClr val="lt1"/>
              </a:solidFill>
              <a:latin typeface="Calibri"/>
              <a:ea typeface="Calibri"/>
              <a:cs typeface="Calibri"/>
              <a:sym typeface="Calibri"/>
            </a:endParaRPr>
          </a:p>
          <a:p>
            <a:pPr marL="176213" marR="0" lvl="1" indent="-176213" algn="l" rtl="0">
              <a:lnSpc>
                <a:spcPct val="100000"/>
              </a:lnSpc>
              <a:spcBef>
                <a:spcPts val="0"/>
              </a:spcBef>
              <a:spcAft>
                <a:spcPts val="0"/>
              </a:spcAft>
              <a:buClr>
                <a:schemeClr val="accent1"/>
              </a:buClr>
              <a:buSzPts val="1440"/>
              <a:buFont typeface="Noto Sans Symbols"/>
              <a:buChar char="▪"/>
            </a:pPr>
            <a:r>
              <a:rPr lang="en-US" sz="1600" b="0" i="0" u="none" strike="noStrike" cap="none">
                <a:solidFill>
                  <a:schemeClr val="lt1"/>
                </a:solidFill>
                <a:latin typeface="Calibri"/>
                <a:ea typeface="Calibri"/>
                <a:cs typeface="Calibri"/>
                <a:sym typeface="Calibri"/>
              </a:rPr>
              <a:t>The output is exclusive to our clients and the IP belongs to them – Therefore is a source of competitive advantage</a:t>
            </a:r>
            <a:endParaRPr sz="1400" b="0" i="0" u="none" strike="noStrike" cap="none">
              <a:solidFill>
                <a:srgbClr val="000000"/>
              </a:solidFill>
              <a:latin typeface="Arial"/>
              <a:ea typeface="Arial"/>
              <a:cs typeface="Arial"/>
              <a:sym typeface="Arial"/>
            </a:endParaRPr>
          </a:p>
        </p:txBody>
      </p:sp>
      <p:sp>
        <p:nvSpPr>
          <p:cNvPr id="1398" name="Google Shape;1398;p8"/>
          <p:cNvSpPr txBox="1"/>
          <p:nvPr/>
        </p:nvSpPr>
        <p:spPr>
          <a:xfrm>
            <a:off x="6447529" y="1857375"/>
            <a:ext cx="5193608" cy="292388"/>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2000"/>
              <a:buFont typeface="Arial"/>
              <a:buNone/>
            </a:pPr>
            <a:r>
              <a:rPr lang="en-US" sz="2000" b="0" i="0" u="none" strike="noStrike" cap="none">
                <a:solidFill>
                  <a:schemeClr val="accent1"/>
                </a:solidFill>
                <a:latin typeface="Lato Black"/>
                <a:ea typeface="Lato Black"/>
                <a:cs typeface="Lato Black"/>
                <a:sym typeface="Lato Black"/>
              </a:rPr>
              <a:t>Infomineo model</a:t>
            </a:r>
            <a:endParaRPr sz="1400" b="0" i="0" u="none" strike="noStrike" cap="none">
              <a:solidFill>
                <a:srgbClr val="000000"/>
              </a:solidFill>
              <a:latin typeface="Arial"/>
              <a:ea typeface="Arial"/>
              <a:cs typeface="Arial"/>
              <a:sym typeface="Arial"/>
            </a:endParaRPr>
          </a:p>
        </p:txBody>
      </p:sp>
      <p:grpSp>
        <p:nvGrpSpPr>
          <p:cNvPr id="1399" name="Google Shape;1399;p8"/>
          <p:cNvGrpSpPr/>
          <p:nvPr/>
        </p:nvGrpSpPr>
        <p:grpSpPr>
          <a:xfrm>
            <a:off x="10976464" y="135255"/>
            <a:ext cx="1046733" cy="468742"/>
            <a:chOff x="10976464" y="135255"/>
            <a:chExt cx="1046733" cy="468742"/>
          </a:xfrm>
        </p:grpSpPr>
        <p:sp>
          <p:nvSpPr>
            <p:cNvPr id="1400" name="Google Shape;1400;p8"/>
            <p:cNvSpPr txBox="1"/>
            <p:nvPr/>
          </p:nvSpPr>
          <p:spPr>
            <a:xfrm>
              <a:off x="10976464" y="292682"/>
              <a:ext cx="533800" cy="153888"/>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lt1"/>
                  </a:solidFill>
                  <a:latin typeface="Franklin Gothic"/>
                  <a:ea typeface="Franklin Gothic"/>
                  <a:cs typeface="Franklin Gothic"/>
                  <a:sym typeface="Franklin Gothic"/>
                </a:rPr>
                <a:t>Research</a:t>
              </a:r>
              <a:endParaRPr sz="1400" b="0" i="0" u="none" strike="noStrike" cap="none">
                <a:solidFill>
                  <a:srgbClr val="000000"/>
                </a:solidFill>
                <a:latin typeface="Arial"/>
                <a:ea typeface="Arial"/>
                <a:cs typeface="Arial"/>
                <a:sym typeface="Arial"/>
              </a:endParaRPr>
            </a:p>
          </p:txBody>
        </p:sp>
        <p:sp>
          <p:nvSpPr>
            <p:cNvPr id="1401" name="Google Shape;1401;p8"/>
            <p:cNvSpPr/>
            <p:nvPr/>
          </p:nvSpPr>
          <p:spPr>
            <a:xfrm>
              <a:off x="11554453" y="135255"/>
              <a:ext cx="468744" cy="468742"/>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pic>
          <p:nvPicPr>
            <p:cNvPr id="1402" name="Google Shape;1402;p8"/>
            <p:cNvPicPr preferRelativeResize="0"/>
            <p:nvPr/>
          </p:nvPicPr>
          <p:blipFill rotWithShape="1">
            <a:blip r:embed="rId3">
              <a:alphaModFix/>
            </a:blip>
            <a:srcRect/>
            <a:stretch/>
          </p:blipFill>
          <p:spPr>
            <a:xfrm>
              <a:off x="11641138" y="237175"/>
              <a:ext cx="269974" cy="269974"/>
            </a:xfrm>
            <a:prstGeom prst="rect">
              <a:avLst/>
            </a:prstGeom>
            <a:noFill/>
            <a:ln>
              <a:noFill/>
            </a:ln>
          </p:spPr>
        </p:pic>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4</TotalTime>
  <Words>7602</Words>
  <Application>Microsoft Office PowerPoint</Application>
  <PresentationFormat>Widescreen</PresentationFormat>
  <Paragraphs>943</Paragraphs>
  <Slides>59</Slides>
  <Notes>5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59</vt:i4>
      </vt:variant>
    </vt:vector>
  </HeadingPairs>
  <TitlesOfParts>
    <vt:vector size="72" baseType="lpstr">
      <vt:lpstr>Franklin Gothic</vt:lpstr>
      <vt:lpstr>Lato</vt:lpstr>
      <vt:lpstr>Lato Black</vt:lpstr>
      <vt:lpstr>Calibri</vt:lpstr>
      <vt:lpstr>Arial</vt:lpstr>
      <vt:lpstr>Noto Sans Symbols</vt:lpstr>
      <vt:lpstr>Wingdings</vt:lpstr>
      <vt:lpstr>Trebuchet MS</vt:lpstr>
      <vt:lpstr>Libre Franklin</vt:lpstr>
      <vt:lpstr>Office Theme</vt:lpstr>
      <vt:lpstr>2_Office Theme</vt:lpstr>
      <vt:lpstr>1_Office Theme</vt:lpstr>
      <vt:lpstr>think-cell Slide</vt:lpstr>
      <vt:lpstr>Infomineo  presentation</vt:lpstr>
      <vt:lpstr>As a senior professional you face many challenges – here is what we hear from you</vt:lpstr>
      <vt:lpstr>To increase your performance, you need to focus on your core capabilities and outsource others</vt:lpstr>
      <vt:lpstr>Infomineo invented Brainshoring, a new generation of service outsourcing, to solve your problems</vt:lpstr>
      <vt:lpstr>Infomineo has grown into the leader of Brainshoring</vt:lpstr>
      <vt:lpstr>Infomineo offers a suite of Brainshoring services</vt:lpstr>
      <vt:lpstr>How Infomineo’s approach is different</vt:lpstr>
      <vt:lpstr>Data Research</vt:lpstr>
      <vt:lpstr>Infomineo has a unique approach to Research</vt:lpstr>
      <vt:lpstr>Infomineo offers a complete range of Research services</vt:lpstr>
      <vt:lpstr>Our approach to helping you</vt:lpstr>
      <vt:lpstr>Some databases and tools we subscribe to</vt:lpstr>
      <vt:lpstr>Examples of Requests - Research</vt:lpstr>
      <vt:lpstr>A few illustrations of the time required to deliver</vt:lpstr>
      <vt:lpstr>PowerPoint Presentation</vt:lpstr>
      <vt:lpstr>Why work with us</vt:lpstr>
      <vt:lpstr>Graphic design</vt:lpstr>
      <vt:lpstr>Infomineo has a unique approach to Graphic design</vt:lpstr>
      <vt:lpstr>Infomineo proposes three levels of value add</vt:lpstr>
      <vt:lpstr>Our approach to helping you</vt:lpstr>
      <vt:lpstr>Our work - Standard Design</vt:lpstr>
      <vt:lpstr>Our work - Creative Design</vt:lpstr>
      <vt:lpstr>Our work - Creative Design Before</vt:lpstr>
      <vt:lpstr>Our work -Creative Design Before</vt:lpstr>
      <vt:lpstr>Our work - Image Editing</vt:lpstr>
      <vt:lpstr>Our work - User journey maps</vt:lpstr>
      <vt:lpstr>Our work - Concept Illustrations</vt:lpstr>
      <vt:lpstr>Our work - Concept Illustrations</vt:lpstr>
      <vt:lpstr>Why work with us</vt:lpstr>
      <vt:lpstr>Language services</vt:lpstr>
      <vt:lpstr>Infomineo has a unique approach to Language services</vt:lpstr>
      <vt:lpstr>Infomineo Language services Capabilities</vt:lpstr>
      <vt:lpstr>Our approach to helping you</vt:lpstr>
      <vt:lpstr>Our work process</vt:lpstr>
      <vt:lpstr>Our work - Consulting Proposals</vt:lpstr>
      <vt:lpstr>Case Example:</vt:lpstr>
      <vt:lpstr>Our work - Client’s internal documents</vt:lpstr>
      <vt:lpstr>Case Example</vt:lpstr>
      <vt:lpstr>Our work - Requests/Projects  Support </vt:lpstr>
      <vt:lpstr>Case Example</vt:lpstr>
      <vt:lpstr>Our work - Questionnaire/Discussion  Guide   </vt:lpstr>
      <vt:lpstr>Case Example:</vt:lpstr>
      <vt:lpstr>Why work with us</vt:lpstr>
      <vt:lpstr>Data Analytics</vt:lpstr>
      <vt:lpstr>Infomineo has a unique approach to Data Analytics</vt:lpstr>
      <vt:lpstr>Infomineo offers a full suite of Data Analytics Services</vt:lpstr>
      <vt:lpstr>Our approach to helping you</vt:lpstr>
      <vt:lpstr>Technologies Infomineo can be handling  </vt:lpstr>
      <vt:lpstr>PowerPoint Presentation</vt:lpstr>
      <vt:lpstr>Why work with us</vt:lpstr>
      <vt:lpstr>Working with Infomineo</vt:lpstr>
      <vt:lpstr>Infomineo offers three relationship models</vt:lpstr>
      <vt:lpstr>How does a retainer work</vt:lpstr>
      <vt:lpstr>How does a service package work</vt:lpstr>
      <vt:lpstr>How does a project work</vt:lpstr>
      <vt:lpstr>What benefits are there in engaging Infomineo on a retainer basis?</vt:lpstr>
      <vt:lpstr>Why is Infomineo the best partner for you?</vt:lpstr>
      <vt:lpstr>Confidentiality and Securit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mineo  presentation</dc:title>
  <dc:creator>Samson Mathew</dc:creator>
  <cp:lastModifiedBy>Casa 2</cp:lastModifiedBy>
  <cp:revision>6</cp:revision>
  <dcterms:created xsi:type="dcterms:W3CDTF">2020-10-06T08:44:21Z</dcterms:created>
  <dcterms:modified xsi:type="dcterms:W3CDTF">2023-02-02T10:03:14Z</dcterms:modified>
</cp:coreProperties>
</file>